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ink/ink1.xml" ContentType="application/inkml+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8.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20.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7206" r:id="rId1"/>
    <p:sldMasterId id="2147487645" r:id="rId2"/>
  </p:sldMasterIdLst>
  <p:notesMasterIdLst>
    <p:notesMasterId r:id="rId108"/>
  </p:notesMasterIdLst>
  <p:handoutMasterIdLst>
    <p:handoutMasterId r:id="rId109"/>
  </p:handoutMasterIdLst>
  <p:sldIdLst>
    <p:sldId id="2147478578" r:id="rId3"/>
    <p:sldId id="2147480645" r:id="rId4"/>
    <p:sldId id="2147480777" r:id="rId5"/>
    <p:sldId id="2147480783" r:id="rId6"/>
    <p:sldId id="2147480702" r:id="rId7"/>
    <p:sldId id="2147480735" r:id="rId8"/>
    <p:sldId id="2147480724" r:id="rId9"/>
    <p:sldId id="2147480750" r:id="rId10"/>
    <p:sldId id="2147480706" r:id="rId11"/>
    <p:sldId id="2147480697" r:id="rId12"/>
    <p:sldId id="2147480752" r:id="rId13"/>
    <p:sldId id="2147480755" r:id="rId14"/>
    <p:sldId id="2147480751" r:id="rId15"/>
    <p:sldId id="2076136230" r:id="rId16"/>
    <p:sldId id="2147480753" r:id="rId17"/>
    <p:sldId id="2147480632" r:id="rId18"/>
    <p:sldId id="2147480756" r:id="rId19"/>
    <p:sldId id="2147480760" r:id="rId20"/>
    <p:sldId id="2147480757" r:id="rId21"/>
    <p:sldId id="2147470548" r:id="rId22"/>
    <p:sldId id="2147480763" r:id="rId23"/>
    <p:sldId id="2147480768" r:id="rId24"/>
    <p:sldId id="1850" r:id="rId25"/>
    <p:sldId id="1852" r:id="rId26"/>
    <p:sldId id="2147479636" r:id="rId27"/>
    <p:sldId id="1851" r:id="rId28"/>
    <p:sldId id="1853" r:id="rId29"/>
    <p:sldId id="1855" r:id="rId30"/>
    <p:sldId id="2147479637" r:id="rId31"/>
    <p:sldId id="2147480758" r:id="rId32"/>
    <p:sldId id="2147469490" r:id="rId33"/>
    <p:sldId id="2147480723" r:id="rId34"/>
    <p:sldId id="2147480767" r:id="rId35"/>
    <p:sldId id="8161" r:id="rId36"/>
    <p:sldId id="2147480770" r:id="rId37"/>
    <p:sldId id="8160" r:id="rId38"/>
    <p:sldId id="2147480771" r:id="rId39"/>
    <p:sldId id="2147480769" r:id="rId40"/>
    <p:sldId id="2147480798" r:id="rId41"/>
    <p:sldId id="2147480800" r:id="rId42"/>
    <p:sldId id="2147480804" r:id="rId43"/>
    <p:sldId id="2147480802" r:id="rId44"/>
    <p:sldId id="2147480795" r:id="rId45"/>
    <p:sldId id="2147480796" r:id="rId46"/>
    <p:sldId id="2147480797" r:id="rId47"/>
    <p:sldId id="2147480761" r:id="rId48"/>
    <p:sldId id="2147480646" r:id="rId49"/>
    <p:sldId id="2147480772" r:id="rId50"/>
    <p:sldId id="2147480773" r:id="rId51"/>
    <p:sldId id="2147480774" r:id="rId52"/>
    <p:sldId id="2147480775" r:id="rId53"/>
    <p:sldId id="2147480785" r:id="rId54"/>
    <p:sldId id="2147480794" r:id="rId55"/>
    <p:sldId id="2147480727" r:id="rId56"/>
    <p:sldId id="2147480728" r:id="rId57"/>
    <p:sldId id="2147480595" r:id="rId58"/>
    <p:sldId id="2147480600" r:id="rId59"/>
    <p:sldId id="2147480604" r:id="rId60"/>
    <p:sldId id="2147480605" r:id="rId61"/>
    <p:sldId id="2147480603" r:id="rId62"/>
    <p:sldId id="2147480606" r:id="rId63"/>
    <p:sldId id="2147480619" r:id="rId64"/>
    <p:sldId id="2147480598" r:id="rId65"/>
    <p:sldId id="2147480638" r:id="rId66"/>
    <p:sldId id="2147480635" r:id="rId67"/>
    <p:sldId id="2147480628" r:id="rId68"/>
    <p:sldId id="2147480639" r:id="rId69"/>
    <p:sldId id="2076138358" r:id="rId70"/>
    <p:sldId id="2147480659" r:id="rId71"/>
    <p:sldId id="2147480643" r:id="rId72"/>
    <p:sldId id="2147480808" r:id="rId73"/>
    <p:sldId id="2147480807" r:id="rId74"/>
    <p:sldId id="2147479832" r:id="rId75"/>
    <p:sldId id="2147480806" r:id="rId76"/>
    <p:sldId id="2147480648" r:id="rId77"/>
    <p:sldId id="2147480647" r:id="rId78"/>
    <p:sldId id="2147479828" r:id="rId79"/>
    <p:sldId id="2147479835" r:id="rId80"/>
    <p:sldId id="2147480650" r:id="rId81"/>
    <p:sldId id="2147479852" r:id="rId82"/>
    <p:sldId id="2147480651" r:id="rId83"/>
    <p:sldId id="2076138167" r:id="rId84"/>
    <p:sldId id="2147479822" r:id="rId85"/>
    <p:sldId id="2147480636" r:id="rId86"/>
    <p:sldId id="2147480786" r:id="rId87"/>
    <p:sldId id="2147480654" r:id="rId88"/>
    <p:sldId id="2147480655" r:id="rId89"/>
    <p:sldId id="2147480656" r:id="rId90"/>
    <p:sldId id="2147480700" r:id="rId91"/>
    <p:sldId id="2147480739" r:id="rId92"/>
    <p:sldId id="2147480733" r:id="rId93"/>
    <p:sldId id="2147480737" r:id="rId94"/>
    <p:sldId id="2147480738" r:id="rId95"/>
    <p:sldId id="2147480747" r:id="rId96"/>
    <p:sldId id="2147480740" r:id="rId97"/>
    <p:sldId id="2147480745" r:id="rId98"/>
    <p:sldId id="2147480746" r:id="rId99"/>
    <p:sldId id="2147480762" r:id="rId100"/>
    <p:sldId id="2147480805" r:id="rId101"/>
    <p:sldId id="2147480719" r:id="rId102"/>
    <p:sldId id="2147480741" r:id="rId103"/>
    <p:sldId id="2147480742" r:id="rId104"/>
    <p:sldId id="2147480781" r:id="rId105"/>
    <p:sldId id="2147470690" r:id="rId106"/>
    <p:sldId id="2076137366" r:id="rId10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B0533026-3E20-48A4-95E5-658249E4B427}">
          <p14:sldIdLst>
            <p14:sldId id="2147478578"/>
          </p14:sldIdLst>
        </p14:section>
        <p14:section name="Details" id="{74C75EED-F520-43F3-B3BE-8432DAB7E929}">
          <p14:sldIdLst>
            <p14:sldId id="2147480645"/>
            <p14:sldId id="2147480777"/>
            <p14:sldId id="2147480783"/>
            <p14:sldId id="2147480702"/>
            <p14:sldId id="2147480735"/>
            <p14:sldId id="2147480724"/>
            <p14:sldId id="2147480750"/>
            <p14:sldId id="2147480706"/>
          </p14:sldIdLst>
        </p14:section>
        <p14:section name="Index and Skill" id="{EB2D1467-C235-4B59-8EA4-E1BF721FE84A}">
          <p14:sldIdLst>
            <p14:sldId id="2147480697"/>
            <p14:sldId id="2147480752"/>
            <p14:sldId id="2147480755"/>
            <p14:sldId id="2147480751"/>
            <p14:sldId id="2076136230"/>
            <p14:sldId id="2147480753"/>
            <p14:sldId id="2147480632"/>
            <p14:sldId id="2147480756"/>
            <p14:sldId id="2147480760"/>
            <p14:sldId id="2147480757"/>
            <p14:sldId id="2147470548"/>
            <p14:sldId id="2147480763"/>
            <p14:sldId id="2147480768"/>
            <p14:sldId id="1850"/>
            <p14:sldId id="1852"/>
            <p14:sldId id="2147479636"/>
            <p14:sldId id="1851"/>
            <p14:sldId id="1853"/>
            <p14:sldId id="1855"/>
            <p14:sldId id="2147479637"/>
            <p14:sldId id="2147480758"/>
            <p14:sldId id="2147469490"/>
            <p14:sldId id="2147480723"/>
            <p14:sldId id="2147480767"/>
            <p14:sldId id="8161"/>
            <p14:sldId id="2147480770"/>
            <p14:sldId id="8160"/>
            <p14:sldId id="2147480771"/>
            <p14:sldId id="2147480769"/>
            <p14:sldId id="2147480798"/>
            <p14:sldId id="2147480800"/>
            <p14:sldId id="2147480804"/>
            <p14:sldId id="2147480802"/>
            <p14:sldId id="2147480795"/>
            <p14:sldId id="2147480796"/>
            <p14:sldId id="2147480797"/>
          </p14:sldIdLst>
        </p14:section>
        <p14:section name="Search" id="{63C227C3-CE4C-41D6-B31A-7F0F5BE1E31A}">
          <p14:sldIdLst>
            <p14:sldId id="2147480761"/>
            <p14:sldId id="2147480646"/>
            <p14:sldId id="2147480772"/>
            <p14:sldId id="2147480773"/>
            <p14:sldId id="2147480774"/>
            <p14:sldId id="2147480775"/>
          </p14:sldIdLst>
        </p14:section>
        <p14:section name="Vector Search" id="{4D4C35F8-3F84-44C8-9BC1-8A2F9BF29274}">
          <p14:sldIdLst>
            <p14:sldId id="2147480785"/>
            <p14:sldId id="2147480794"/>
            <p14:sldId id="2147480727"/>
            <p14:sldId id="2147480728"/>
            <p14:sldId id="2147480595"/>
            <p14:sldId id="2147480600"/>
            <p14:sldId id="2147480604"/>
            <p14:sldId id="2147480605"/>
            <p14:sldId id="2147480603"/>
            <p14:sldId id="2147480606"/>
            <p14:sldId id="2147480619"/>
            <p14:sldId id="2147480598"/>
            <p14:sldId id="2147480638"/>
            <p14:sldId id="2147480635"/>
            <p14:sldId id="2147480628"/>
            <p14:sldId id="2147480639"/>
            <p14:sldId id="2076138358"/>
            <p14:sldId id="2147480659"/>
            <p14:sldId id="2147480643"/>
            <p14:sldId id="2147480808"/>
            <p14:sldId id="2147480807"/>
            <p14:sldId id="2147479832"/>
            <p14:sldId id="2147480806"/>
            <p14:sldId id="2147480648"/>
            <p14:sldId id="2147480647"/>
            <p14:sldId id="2147479828"/>
            <p14:sldId id="2147479835"/>
            <p14:sldId id="2147480650"/>
            <p14:sldId id="2147479852"/>
            <p14:sldId id="2147480651"/>
            <p14:sldId id="2076138167"/>
            <p14:sldId id="2147479822"/>
            <p14:sldId id="2147480636"/>
            <p14:sldId id="2147480786"/>
            <p14:sldId id="2147480654"/>
            <p14:sldId id="2147480655"/>
            <p14:sldId id="2147480656"/>
          </p14:sldIdLst>
        </p14:section>
        <p14:section name="Security" id="{0E1FF51B-0A92-49C9-81C0-E4410889597D}">
          <p14:sldIdLst>
            <p14:sldId id="2147480700"/>
            <p14:sldId id="2147480739"/>
            <p14:sldId id="2147480733"/>
            <p14:sldId id="2147480737"/>
            <p14:sldId id="2147480738"/>
            <p14:sldId id="2147480747"/>
            <p14:sldId id="2147480740"/>
            <p14:sldId id="2147480745"/>
            <p14:sldId id="2147480746"/>
          </p14:sldIdLst>
        </p14:section>
        <p14:section name="Sample Architectures" id="{D5A1E7D6-883D-417F-84FC-AC803990B062}">
          <p14:sldIdLst>
            <p14:sldId id="2147480762"/>
            <p14:sldId id="2147480805"/>
          </p14:sldIdLst>
        </p14:section>
        <p14:section name="Infra" id="{D10AD95F-213A-4AC3-8462-C442046C96DB}">
          <p14:sldIdLst>
            <p14:sldId id="2147480719"/>
            <p14:sldId id="2147480741"/>
            <p14:sldId id="2147480742"/>
          </p14:sldIdLst>
        </p14:section>
        <p14:section name="End" id="{7AE2D383-33DD-4386-89A0-04A9C2064E08}">
          <p14:sldIdLst>
            <p14:sldId id="2147480781"/>
            <p14:sldId id="2147470690"/>
            <p14:sldId id="2076137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1A20"/>
    <a:srgbClr val="E6E6E6"/>
    <a:srgbClr val="091F2C"/>
    <a:srgbClr val="0078D4"/>
    <a:srgbClr val="7F7F7F"/>
    <a:srgbClr val="4472C4"/>
    <a:srgbClr val="50E6FF"/>
    <a:srgbClr val="243A5E"/>
    <a:srgbClr val="D83B01"/>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09DC8E-BB86-4323-BDA3-DAE6CF8C967B}" v="3750" dt="2023-11-16T07:30:01.638"/>
    <p1510:client id="{C425ABFE-ED53-4F43-AB75-2A145F89CCD1}" v="1028" dt="2023-11-16T06:24:35.2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47" autoAdjust="0"/>
    <p:restoredTop sz="72460" autoAdjust="0"/>
  </p:normalViewPr>
  <p:slideViewPr>
    <p:cSldViewPr snapToGrid="0">
      <p:cViewPr varScale="1">
        <p:scale>
          <a:sx n="91" d="100"/>
          <a:sy n="91" d="100"/>
        </p:scale>
        <p:origin x="44" y="22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6" d="100"/>
          <a:sy n="76" d="100"/>
        </p:scale>
        <p:origin x="2824" y="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viewProps" Target="viewProp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theme" Target="theme/theme1.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notesMaster" Target="notesMasters/notesMaster1.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handoutMaster" Target="handoutMasters/handoutMaster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commentAuthors" Target="commentAuthors.xml"/><Relationship Id="rId115" Type="http://schemas.microsoft.com/office/2015/10/relationships/revisionInfo" Target="revisionInfo.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microsoft.com/office/2018/10/relationships/authors" Target="authors.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svg"/><Relationship Id="rId1" Type="http://schemas.openxmlformats.org/officeDocument/2006/relationships/image" Target="../media/image58.png"/><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diagrams/_rels/data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1.png"/><Relationship Id="rId1" Type="http://schemas.openxmlformats.org/officeDocument/2006/relationships/hyperlink" Target="https://learn.microsoft.com/en-us/azure/search/cognitive-search-skill-textsplit" TargetMode="External"/><Relationship Id="rId4" Type="http://schemas.openxmlformats.org/officeDocument/2006/relationships/image" Target="../media/image172.png"/></Relationships>
</file>

<file path=ppt/diagrams/_rels/drawing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svg"/><Relationship Id="rId1" Type="http://schemas.openxmlformats.org/officeDocument/2006/relationships/image" Target="../media/image58.png"/><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diagrams/_rels/drawing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1.png"/><Relationship Id="rId1" Type="http://schemas.openxmlformats.org/officeDocument/2006/relationships/hyperlink" Target="https://learn.microsoft.com/en-us/azure/search/cognitive-search-skill-textsplit" TargetMode="External"/><Relationship Id="rId4" Type="http://schemas.openxmlformats.org/officeDocument/2006/relationships/image" Target="../media/image1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B3EB0C-7CC2-4EEC-8024-C626582534DC}"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46F2154-CC77-40CB-B7E5-E222B19F10B6}">
      <dgm:prSet custT="1"/>
      <dgm:spPr/>
      <dgm:t>
        <a:bodyPr/>
        <a:lstStyle/>
        <a:p>
          <a:pPr>
            <a:lnSpc>
              <a:spcPct val="100000"/>
            </a:lnSpc>
          </a:pPr>
          <a:r>
            <a:rPr lang="en-US" sz="1800" dirty="0"/>
            <a:t>Your searchable content available to the search engine</a:t>
          </a:r>
        </a:p>
      </dgm:t>
    </dgm:pt>
    <dgm:pt modelId="{536E7F40-C330-4145-8402-868ED9DC62FF}" type="parTrans" cxnId="{DF949BD6-10C6-4F28-9D7E-85172748AE47}">
      <dgm:prSet/>
      <dgm:spPr/>
      <dgm:t>
        <a:bodyPr/>
        <a:lstStyle/>
        <a:p>
          <a:endParaRPr lang="en-US"/>
        </a:p>
      </dgm:t>
    </dgm:pt>
    <dgm:pt modelId="{5C185C8D-C0E0-4F6A-8D53-5F2366857003}" type="sibTrans" cxnId="{DF949BD6-10C6-4F28-9D7E-85172748AE47}">
      <dgm:prSet/>
      <dgm:spPr/>
      <dgm:t>
        <a:bodyPr/>
        <a:lstStyle/>
        <a:p>
          <a:endParaRPr lang="en-US"/>
        </a:p>
      </dgm:t>
    </dgm:pt>
    <dgm:pt modelId="{B42A6785-BA00-41B2-82A7-10D205337FDF}">
      <dgm:prSet custT="1"/>
      <dgm:spPr/>
      <dgm:t>
        <a:bodyPr/>
        <a:lstStyle/>
        <a:p>
          <a:pPr>
            <a:lnSpc>
              <a:spcPct val="100000"/>
            </a:lnSpc>
          </a:pPr>
          <a:r>
            <a:rPr lang="en-US" sz="1800" dirty="0"/>
            <a:t>A table in general terms</a:t>
          </a:r>
        </a:p>
      </dgm:t>
    </dgm:pt>
    <dgm:pt modelId="{190FE51C-46CD-4FD6-AAEB-0B5DC981916F}" type="parTrans" cxnId="{92678E6D-051F-404B-BCE9-7EF1C0ECFE94}">
      <dgm:prSet/>
      <dgm:spPr/>
      <dgm:t>
        <a:bodyPr/>
        <a:lstStyle/>
        <a:p>
          <a:endParaRPr lang="en-US"/>
        </a:p>
      </dgm:t>
    </dgm:pt>
    <dgm:pt modelId="{DC6F50BD-7403-4C6E-AF76-747153331184}" type="sibTrans" cxnId="{92678E6D-051F-404B-BCE9-7EF1C0ECFE94}">
      <dgm:prSet/>
      <dgm:spPr/>
      <dgm:t>
        <a:bodyPr/>
        <a:lstStyle/>
        <a:p>
          <a:endParaRPr lang="en-US"/>
        </a:p>
      </dgm:t>
    </dgm:pt>
    <dgm:pt modelId="{1AF17187-2EAE-4624-A1D0-9A5ECA389660}">
      <dgm:prSet custT="1"/>
      <dgm:spPr/>
      <dgm:t>
        <a:bodyPr spcFirstLastPara="0" vert="horz" wrap="square" lIns="114300" tIns="57150" rIns="114300" bIns="57150" numCol="1" spcCol="1270" anchor="ctr" anchorCtr="0"/>
        <a:lstStyle/>
        <a:p>
          <a:pPr>
            <a:lnSpc>
              <a:spcPct val="100000"/>
            </a:lnSpc>
          </a:pPr>
          <a:r>
            <a:rPr lang="en-US" sz="2000">
              <a:latin typeface="Segoe UI"/>
              <a:ea typeface="+mn-ea"/>
              <a:cs typeface="+mn-cs"/>
            </a:rPr>
            <a:t>Data Source</a:t>
          </a:r>
        </a:p>
      </dgm:t>
    </dgm:pt>
    <dgm:pt modelId="{4264AD00-E00E-43F2-9E95-6153E657BBC5}" type="parTrans" cxnId="{57E3F332-615D-435A-AC7D-1DA6FB362695}">
      <dgm:prSet/>
      <dgm:spPr/>
      <dgm:t>
        <a:bodyPr/>
        <a:lstStyle/>
        <a:p>
          <a:endParaRPr lang="en-US"/>
        </a:p>
      </dgm:t>
    </dgm:pt>
    <dgm:pt modelId="{89474E0B-CE6F-4CF9-962D-6EE4D79FFD1B}" type="sibTrans" cxnId="{57E3F332-615D-435A-AC7D-1DA6FB362695}">
      <dgm:prSet/>
      <dgm:spPr/>
      <dgm:t>
        <a:bodyPr/>
        <a:lstStyle/>
        <a:p>
          <a:endParaRPr lang="en-US"/>
        </a:p>
      </dgm:t>
    </dgm:pt>
    <dgm:pt modelId="{4E803351-0F7F-475F-999B-48DA2EE0187D}">
      <dgm:prSet custT="1"/>
      <dgm:spPr/>
      <dgm:t>
        <a:bodyPr spcFirstLastPara="0" vert="horz" wrap="square" lIns="87630" tIns="43815" rIns="87630" bIns="43815" numCol="1" spcCol="1270" anchor="ctr" anchorCtr="0"/>
        <a:lstStyle/>
        <a:p>
          <a:pPr>
            <a:lnSpc>
              <a:spcPct val="100000"/>
            </a:lnSpc>
          </a:pPr>
          <a:r>
            <a:rPr lang="en-US" sz="1800" dirty="0">
              <a:latin typeface="+mn-lt"/>
              <a:ea typeface="+mn-ea"/>
              <a:cs typeface="+mn-cs"/>
            </a:rPr>
            <a:t>Sources for your Index</a:t>
          </a:r>
        </a:p>
      </dgm:t>
    </dgm:pt>
    <dgm:pt modelId="{622745DD-0354-4F83-88EF-7A508BAAB431}" type="parTrans" cxnId="{B2D27B50-0BD6-44E8-89D3-C2A4E3EFAE85}">
      <dgm:prSet/>
      <dgm:spPr/>
      <dgm:t>
        <a:bodyPr/>
        <a:lstStyle/>
        <a:p>
          <a:endParaRPr lang="en-US"/>
        </a:p>
      </dgm:t>
    </dgm:pt>
    <dgm:pt modelId="{ED92EFCF-88ED-4CD6-859B-9A3D393741CF}" type="sibTrans" cxnId="{B2D27B50-0BD6-44E8-89D3-C2A4E3EFAE85}">
      <dgm:prSet/>
      <dgm:spPr/>
      <dgm:t>
        <a:bodyPr/>
        <a:lstStyle/>
        <a:p>
          <a:endParaRPr lang="en-US"/>
        </a:p>
      </dgm:t>
    </dgm:pt>
    <dgm:pt modelId="{76CA39C6-9BDE-4F79-B28A-4B4C27EE2D73}">
      <dgm:prSet custT="1"/>
      <dgm:spPr/>
      <dgm:t>
        <a:bodyPr spcFirstLastPara="0" vert="horz" wrap="square" lIns="114300" tIns="57150" rIns="114300" bIns="57150" numCol="1" spcCol="1270" anchor="ctr" anchorCtr="0"/>
        <a:lstStyle/>
        <a:p>
          <a:pPr>
            <a:lnSpc>
              <a:spcPct val="100000"/>
            </a:lnSpc>
          </a:pPr>
          <a:r>
            <a:rPr lang="en-US" sz="2000">
              <a:latin typeface="Segoe UI"/>
              <a:ea typeface="+mn-ea"/>
              <a:cs typeface="+mn-cs"/>
            </a:rPr>
            <a:t>Indexer</a:t>
          </a:r>
        </a:p>
      </dgm:t>
    </dgm:pt>
    <dgm:pt modelId="{14D03121-F0CD-4D88-BC6F-1E97C0FC9461}" type="parTrans" cxnId="{16662D8F-C14C-4F95-9CC6-3BE5FB42F943}">
      <dgm:prSet/>
      <dgm:spPr/>
      <dgm:t>
        <a:bodyPr/>
        <a:lstStyle/>
        <a:p>
          <a:endParaRPr lang="en-US"/>
        </a:p>
      </dgm:t>
    </dgm:pt>
    <dgm:pt modelId="{ABA394CD-865D-4AC4-899F-DA0804B42C22}" type="sibTrans" cxnId="{16662D8F-C14C-4F95-9CC6-3BE5FB42F943}">
      <dgm:prSet/>
      <dgm:spPr/>
      <dgm:t>
        <a:bodyPr/>
        <a:lstStyle/>
        <a:p>
          <a:endParaRPr lang="en-US"/>
        </a:p>
      </dgm:t>
    </dgm:pt>
    <dgm:pt modelId="{BDC0632F-5B82-44B2-9D3E-77B18D4F7729}">
      <dgm:prSet custT="1"/>
      <dgm:spPr/>
      <dgm:t>
        <a:bodyPr/>
        <a:lstStyle/>
        <a:p>
          <a:pPr>
            <a:lnSpc>
              <a:spcPct val="100000"/>
            </a:lnSpc>
          </a:pPr>
          <a:r>
            <a:rPr lang="en-US" sz="1800" b="0" dirty="0">
              <a:latin typeface="+mn-lt"/>
            </a:rPr>
            <a:t>Automate data import from supported data sources</a:t>
          </a:r>
        </a:p>
      </dgm:t>
    </dgm:pt>
    <dgm:pt modelId="{D4129D30-4AC3-4796-B1F0-E2C095730BEC}" type="parTrans" cxnId="{93D1BF88-F149-4D22-A796-D234C4117E83}">
      <dgm:prSet/>
      <dgm:spPr/>
      <dgm:t>
        <a:bodyPr/>
        <a:lstStyle/>
        <a:p>
          <a:endParaRPr lang="en-US"/>
        </a:p>
      </dgm:t>
    </dgm:pt>
    <dgm:pt modelId="{EDBD5E88-DBCC-4803-B18E-D6A7DE3ECA06}" type="sibTrans" cxnId="{93D1BF88-F149-4D22-A796-D234C4117E83}">
      <dgm:prSet/>
      <dgm:spPr/>
      <dgm:t>
        <a:bodyPr/>
        <a:lstStyle/>
        <a:p>
          <a:endParaRPr lang="en-US"/>
        </a:p>
      </dgm:t>
    </dgm:pt>
    <dgm:pt modelId="{FAAA1DF5-7D5B-4691-826D-1F31DD64BD22}">
      <dgm:prSet custT="1"/>
      <dgm:spPr/>
      <dgm:t>
        <a:bodyPr spcFirstLastPara="0" vert="horz" wrap="square" lIns="114300" tIns="57150" rIns="114300" bIns="57150" numCol="1" spcCol="1270" anchor="ctr" anchorCtr="0"/>
        <a:lstStyle/>
        <a:p>
          <a:pPr>
            <a:lnSpc>
              <a:spcPct val="100000"/>
            </a:lnSpc>
          </a:pPr>
          <a:r>
            <a:rPr lang="en-US" sz="2000" dirty="0">
              <a:latin typeface="Segoe UI"/>
              <a:ea typeface="+mn-ea"/>
              <a:cs typeface="+mn-cs"/>
            </a:rPr>
            <a:t>Knowledge Store</a:t>
          </a:r>
        </a:p>
      </dgm:t>
    </dgm:pt>
    <dgm:pt modelId="{786983C0-F94A-467A-AD57-6802D61A6802}" type="parTrans" cxnId="{BF4C1077-B93F-409A-B4D5-412C05180E5B}">
      <dgm:prSet/>
      <dgm:spPr/>
      <dgm:t>
        <a:bodyPr/>
        <a:lstStyle/>
        <a:p>
          <a:endParaRPr lang="en-US"/>
        </a:p>
      </dgm:t>
    </dgm:pt>
    <dgm:pt modelId="{25C4E11E-BA27-4EBA-A6E0-055A72DEDB76}" type="sibTrans" cxnId="{BF4C1077-B93F-409A-B4D5-412C05180E5B}">
      <dgm:prSet/>
      <dgm:spPr/>
      <dgm:t>
        <a:bodyPr/>
        <a:lstStyle/>
        <a:p>
          <a:endParaRPr lang="en-US"/>
        </a:p>
      </dgm:t>
    </dgm:pt>
    <dgm:pt modelId="{9BB97296-F922-4788-A5CB-4A372004ADCB}">
      <dgm:prSet custT="1"/>
      <dgm:spPr/>
      <dgm:t>
        <a:bodyPr spcFirstLastPara="0" vert="horz" wrap="square" lIns="91440" tIns="45720" rIns="91440" bIns="45720" numCol="1" spcCol="1270" anchor="ctr" anchorCtr="0"/>
        <a:lstStyle/>
        <a:p>
          <a:pPr>
            <a:lnSpc>
              <a:spcPct val="100000"/>
            </a:lnSpc>
          </a:pPr>
          <a:r>
            <a:rPr lang="en-US" sz="1800" dirty="0">
              <a:latin typeface="+mn-lt"/>
              <a:ea typeface="+mn-ea"/>
              <a:cs typeface="+mn-cs"/>
            </a:rPr>
            <a:t>A data sink from the enrichment pipeline</a:t>
          </a:r>
        </a:p>
      </dgm:t>
    </dgm:pt>
    <dgm:pt modelId="{EE6EBAEC-A4AA-4D0E-A5FE-F9A19E40BA1F}" type="parTrans" cxnId="{518AE796-868F-4706-90DD-6A2DCA1BD1E6}">
      <dgm:prSet/>
      <dgm:spPr/>
      <dgm:t>
        <a:bodyPr/>
        <a:lstStyle/>
        <a:p>
          <a:endParaRPr lang="en-US"/>
        </a:p>
      </dgm:t>
    </dgm:pt>
    <dgm:pt modelId="{D6F20185-F531-4EA7-A5E3-90471A5064A4}" type="sibTrans" cxnId="{518AE796-868F-4706-90DD-6A2DCA1BD1E6}">
      <dgm:prSet/>
      <dgm:spPr/>
      <dgm:t>
        <a:bodyPr/>
        <a:lstStyle/>
        <a:p>
          <a:endParaRPr lang="en-US"/>
        </a:p>
      </dgm:t>
    </dgm:pt>
    <dgm:pt modelId="{66E85226-452F-41C0-ACB8-CBED756806A1}">
      <dgm:prSet custT="1"/>
      <dgm:spPr/>
      <dgm:t>
        <a:bodyPr spcFirstLastPara="0" vert="horz" wrap="square" lIns="114300" tIns="57150" rIns="114300" bIns="57150" numCol="1" spcCol="1270" anchor="ctr" anchorCtr="0"/>
        <a:lstStyle/>
        <a:p>
          <a:pPr>
            <a:lnSpc>
              <a:spcPct val="100000"/>
            </a:lnSpc>
          </a:pPr>
          <a:r>
            <a:rPr lang="en-US" sz="2000" dirty="0">
              <a:latin typeface="Segoe UI"/>
              <a:ea typeface="+mn-ea"/>
              <a:cs typeface="+mn-cs"/>
            </a:rPr>
            <a:t>Skillsets</a:t>
          </a:r>
        </a:p>
      </dgm:t>
    </dgm:pt>
    <dgm:pt modelId="{7689A3D3-6496-47F9-82F6-93CB44859BE3}" type="parTrans" cxnId="{7DEA625A-89B6-4BED-9CE6-1E05A5BBE3B0}">
      <dgm:prSet/>
      <dgm:spPr/>
      <dgm:t>
        <a:bodyPr/>
        <a:lstStyle/>
        <a:p>
          <a:endParaRPr lang="en-US"/>
        </a:p>
      </dgm:t>
    </dgm:pt>
    <dgm:pt modelId="{CE40F58E-E4CD-44F7-9169-259163EB3CC9}" type="sibTrans" cxnId="{7DEA625A-89B6-4BED-9CE6-1E05A5BBE3B0}">
      <dgm:prSet/>
      <dgm:spPr/>
      <dgm:t>
        <a:bodyPr/>
        <a:lstStyle/>
        <a:p>
          <a:endParaRPr lang="en-US"/>
        </a:p>
      </dgm:t>
    </dgm:pt>
    <dgm:pt modelId="{8FAA0020-3473-4550-8178-D8D790885A2B}">
      <dgm:prSet custT="1"/>
      <dgm:spPr/>
      <dgm:t>
        <a:bodyPr/>
        <a:lstStyle/>
        <a:p>
          <a:pPr>
            <a:lnSpc>
              <a:spcPct val="100000"/>
            </a:lnSpc>
          </a:pPr>
          <a:r>
            <a:rPr lang="en-US" sz="1800" dirty="0">
              <a:latin typeface="+mn-lt"/>
            </a:rPr>
            <a:t>A set of AI Enrichments</a:t>
          </a:r>
        </a:p>
      </dgm:t>
    </dgm:pt>
    <dgm:pt modelId="{1A94FF66-172C-4D82-A26D-065DB37C7ACD}" type="parTrans" cxnId="{616DF516-FF4B-41E8-845A-875D2A4B0D35}">
      <dgm:prSet/>
      <dgm:spPr/>
      <dgm:t>
        <a:bodyPr/>
        <a:lstStyle/>
        <a:p>
          <a:endParaRPr lang="en-US"/>
        </a:p>
      </dgm:t>
    </dgm:pt>
    <dgm:pt modelId="{84D6C3F5-BED2-4133-BB17-A1FABE638798}" type="sibTrans" cxnId="{616DF516-FF4B-41E8-845A-875D2A4B0D35}">
      <dgm:prSet/>
      <dgm:spPr/>
      <dgm:t>
        <a:bodyPr/>
        <a:lstStyle/>
        <a:p>
          <a:endParaRPr lang="en-US"/>
        </a:p>
      </dgm:t>
    </dgm:pt>
    <dgm:pt modelId="{010DBBF9-1B6B-4D6E-8163-E8835A890F34}">
      <dgm:prSet custT="1"/>
      <dgm:spPr/>
      <dgm:t>
        <a:bodyPr/>
        <a:lstStyle/>
        <a:p>
          <a:pPr>
            <a:lnSpc>
              <a:spcPct val="100000"/>
            </a:lnSpc>
          </a:pPr>
          <a:r>
            <a:rPr lang="en-US" sz="2000" dirty="0"/>
            <a:t>Index</a:t>
          </a:r>
        </a:p>
      </dgm:t>
    </dgm:pt>
    <dgm:pt modelId="{CD36B77B-F2DD-4DB3-B85E-548F0125B16C}" type="sibTrans" cxnId="{FF7DCAE8-CB07-4920-AFF4-6CEA0378D5BD}">
      <dgm:prSet/>
      <dgm:spPr/>
      <dgm:t>
        <a:bodyPr/>
        <a:lstStyle/>
        <a:p>
          <a:endParaRPr lang="en-US"/>
        </a:p>
      </dgm:t>
    </dgm:pt>
    <dgm:pt modelId="{1DEA1C34-6249-4A0F-8D0E-9E927C1DBEF4}" type="parTrans" cxnId="{FF7DCAE8-CB07-4920-AFF4-6CEA0378D5BD}">
      <dgm:prSet/>
      <dgm:spPr/>
      <dgm:t>
        <a:bodyPr/>
        <a:lstStyle/>
        <a:p>
          <a:endParaRPr lang="en-US"/>
        </a:p>
      </dgm:t>
    </dgm:pt>
    <dgm:pt modelId="{3EF24AC2-8EA4-4A36-8C6F-C80A12591BA4}" type="pres">
      <dgm:prSet presAssocID="{E8B3EB0C-7CC2-4EEC-8024-C626582534DC}" presName="root" presStyleCnt="0">
        <dgm:presLayoutVars>
          <dgm:dir/>
          <dgm:resizeHandles val="exact"/>
        </dgm:presLayoutVars>
      </dgm:prSet>
      <dgm:spPr/>
    </dgm:pt>
    <dgm:pt modelId="{4F59381A-F51C-4B07-A2C7-32E42AEDB900}" type="pres">
      <dgm:prSet presAssocID="{010DBBF9-1B6B-4D6E-8163-E8835A890F34}" presName="compNode" presStyleCnt="0"/>
      <dgm:spPr/>
    </dgm:pt>
    <dgm:pt modelId="{FC056DA8-7CEF-443E-9790-344D91ABCDF3}" type="pres">
      <dgm:prSet presAssocID="{010DBBF9-1B6B-4D6E-8163-E8835A890F34}" presName="bgRect" presStyleLbl="bgShp" presStyleIdx="0" presStyleCnt="5"/>
      <dgm:spPr/>
    </dgm:pt>
    <dgm:pt modelId="{FE2BEA15-3034-4D14-B7AC-3CBEE091C165}" type="pres">
      <dgm:prSet presAssocID="{010DBBF9-1B6B-4D6E-8163-E8835A890F34}"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307553FB-498E-4AD5-A4C3-8274DDD827A6}" type="pres">
      <dgm:prSet presAssocID="{010DBBF9-1B6B-4D6E-8163-E8835A890F34}" presName="spaceRect" presStyleCnt="0"/>
      <dgm:spPr/>
    </dgm:pt>
    <dgm:pt modelId="{5DA0DD93-87A6-4FF7-88D0-1AD941E81FD3}" type="pres">
      <dgm:prSet presAssocID="{010DBBF9-1B6B-4D6E-8163-E8835A890F34}" presName="parTx" presStyleLbl="revTx" presStyleIdx="0" presStyleCnt="10">
        <dgm:presLayoutVars>
          <dgm:chMax val="0"/>
          <dgm:chPref val="0"/>
        </dgm:presLayoutVars>
      </dgm:prSet>
      <dgm:spPr/>
    </dgm:pt>
    <dgm:pt modelId="{62BB9C98-84F0-45E9-B290-86B340CD2A3E}" type="pres">
      <dgm:prSet presAssocID="{010DBBF9-1B6B-4D6E-8163-E8835A890F34}" presName="desTx" presStyleLbl="revTx" presStyleIdx="1" presStyleCnt="10" custScaleX="129654" custLinFactNeighborX="-28540">
        <dgm:presLayoutVars/>
      </dgm:prSet>
      <dgm:spPr/>
    </dgm:pt>
    <dgm:pt modelId="{B6FDA287-0527-4111-8724-BC6B318E7918}" type="pres">
      <dgm:prSet presAssocID="{CD36B77B-F2DD-4DB3-B85E-548F0125B16C}" presName="sibTrans" presStyleCnt="0"/>
      <dgm:spPr/>
    </dgm:pt>
    <dgm:pt modelId="{1350118F-924B-4F07-9525-0A8663EB8CC4}" type="pres">
      <dgm:prSet presAssocID="{1AF17187-2EAE-4624-A1D0-9A5ECA389660}" presName="compNode" presStyleCnt="0"/>
      <dgm:spPr/>
    </dgm:pt>
    <dgm:pt modelId="{9F5FD2E5-A169-46F1-BF9C-FAC171A72E61}" type="pres">
      <dgm:prSet presAssocID="{1AF17187-2EAE-4624-A1D0-9A5ECA389660}" presName="bgRect" presStyleLbl="bgShp" presStyleIdx="1" presStyleCnt="5"/>
      <dgm:spPr/>
    </dgm:pt>
    <dgm:pt modelId="{DF8A252A-B56F-4C26-93E2-13541EEFC143}" type="pres">
      <dgm:prSet presAssocID="{1AF17187-2EAE-4624-A1D0-9A5ECA389660}"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4DE3BB73-F032-4543-B9D2-3DF2216C90C9}" type="pres">
      <dgm:prSet presAssocID="{1AF17187-2EAE-4624-A1D0-9A5ECA389660}" presName="spaceRect" presStyleCnt="0"/>
      <dgm:spPr/>
    </dgm:pt>
    <dgm:pt modelId="{5111E240-DE5D-4585-B16E-65868A725FB2}" type="pres">
      <dgm:prSet presAssocID="{1AF17187-2EAE-4624-A1D0-9A5ECA389660}" presName="parTx" presStyleLbl="revTx" presStyleIdx="2" presStyleCnt="10">
        <dgm:presLayoutVars>
          <dgm:chMax val="0"/>
          <dgm:chPref val="0"/>
        </dgm:presLayoutVars>
      </dgm:prSet>
      <dgm:spPr/>
    </dgm:pt>
    <dgm:pt modelId="{60EF9148-0FE7-4DEC-8BBC-4F182B9B99B4}" type="pres">
      <dgm:prSet presAssocID="{1AF17187-2EAE-4624-A1D0-9A5ECA389660}" presName="desTx" presStyleLbl="revTx" presStyleIdx="3" presStyleCnt="10" custLinFactNeighborX="-44263">
        <dgm:presLayoutVars/>
      </dgm:prSet>
      <dgm:spPr/>
    </dgm:pt>
    <dgm:pt modelId="{4C642BA1-660A-4DA5-9348-E82DC7514FAE}" type="pres">
      <dgm:prSet presAssocID="{89474E0B-CE6F-4CF9-962D-6EE4D79FFD1B}" presName="sibTrans" presStyleCnt="0"/>
      <dgm:spPr/>
    </dgm:pt>
    <dgm:pt modelId="{0DEB1357-3BB4-42B8-9C34-9F64DB3D742D}" type="pres">
      <dgm:prSet presAssocID="{76CA39C6-9BDE-4F79-B28A-4B4C27EE2D73}" presName="compNode" presStyleCnt="0"/>
      <dgm:spPr/>
    </dgm:pt>
    <dgm:pt modelId="{DC2B4AAA-55BC-4C8F-9DE0-857B82E6865D}" type="pres">
      <dgm:prSet presAssocID="{76CA39C6-9BDE-4F79-B28A-4B4C27EE2D73}" presName="bgRect" presStyleLbl="bgShp" presStyleIdx="2" presStyleCnt="5"/>
      <dgm:spPr/>
    </dgm:pt>
    <dgm:pt modelId="{3194E6D8-B336-4EC8-BDB0-8CBD023CAEEB}" type="pres">
      <dgm:prSet presAssocID="{76CA39C6-9BDE-4F79-B28A-4B4C27EE2D73}"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542ADE38-2E68-408E-B148-D4493A195027}" type="pres">
      <dgm:prSet presAssocID="{76CA39C6-9BDE-4F79-B28A-4B4C27EE2D73}" presName="spaceRect" presStyleCnt="0"/>
      <dgm:spPr/>
    </dgm:pt>
    <dgm:pt modelId="{813F30E2-0424-47E5-A286-49EB956263B3}" type="pres">
      <dgm:prSet presAssocID="{76CA39C6-9BDE-4F79-B28A-4B4C27EE2D73}" presName="parTx" presStyleLbl="revTx" presStyleIdx="4" presStyleCnt="10">
        <dgm:presLayoutVars>
          <dgm:chMax val="0"/>
          <dgm:chPref val="0"/>
        </dgm:presLayoutVars>
      </dgm:prSet>
      <dgm:spPr/>
    </dgm:pt>
    <dgm:pt modelId="{47605955-2A11-4889-91BB-1433F3AB69CF}" type="pres">
      <dgm:prSet presAssocID="{76CA39C6-9BDE-4F79-B28A-4B4C27EE2D73}" presName="desTx" presStyleLbl="revTx" presStyleIdx="5" presStyleCnt="10" custLinFactNeighborX="-43646" custLinFactNeighborY="4075">
        <dgm:presLayoutVars/>
      </dgm:prSet>
      <dgm:spPr/>
    </dgm:pt>
    <dgm:pt modelId="{A60CFB28-25E7-41FC-B5DE-4834B19A2484}" type="pres">
      <dgm:prSet presAssocID="{ABA394CD-865D-4AC4-899F-DA0804B42C22}" presName="sibTrans" presStyleCnt="0"/>
      <dgm:spPr/>
    </dgm:pt>
    <dgm:pt modelId="{535A7B9A-6E2B-462E-AFC2-A87969B991F3}" type="pres">
      <dgm:prSet presAssocID="{FAAA1DF5-7D5B-4691-826D-1F31DD64BD22}" presName="compNode" presStyleCnt="0"/>
      <dgm:spPr/>
    </dgm:pt>
    <dgm:pt modelId="{F92BE202-B20A-49AD-A212-1A443FBB2DF6}" type="pres">
      <dgm:prSet presAssocID="{FAAA1DF5-7D5B-4691-826D-1F31DD64BD22}" presName="bgRect" presStyleLbl="bgShp" presStyleIdx="3" presStyleCnt="5" custLinFactNeighborX="-2093"/>
      <dgm:spPr/>
    </dgm:pt>
    <dgm:pt modelId="{5148645D-ECCA-473F-B34F-DED3E7B1C959}" type="pres">
      <dgm:prSet presAssocID="{FAAA1DF5-7D5B-4691-826D-1F31DD64BD22}"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rain in head"/>
        </a:ext>
      </dgm:extLst>
    </dgm:pt>
    <dgm:pt modelId="{89259B7D-4CAF-485F-B632-D771041B6184}" type="pres">
      <dgm:prSet presAssocID="{FAAA1DF5-7D5B-4691-826D-1F31DD64BD22}" presName="spaceRect" presStyleCnt="0"/>
      <dgm:spPr/>
    </dgm:pt>
    <dgm:pt modelId="{D0D89D0F-4FE8-4BD2-9E2D-133CFD2C4A1A}" type="pres">
      <dgm:prSet presAssocID="{FAAA1DF5-7D5B-4691-826D-1F31DD64BD22}" presName="parTx" presStyleLbl="revTx" presStyleIdx="6" presStyleCnt="10">
        <dgm:presLayoutVars>
          <dgm:chMax val="0"/>
          <dgm:chPref val="0"/>
        </dgm:presLayoutVars>
      </dgm:prSet>
      <dgm:spPr/>
    </dgm:pt>
    <dgm:pt modelId="{69CFE44F-5DE5-412D-AEF9-5D9D01DE7B8A}" type="pres">
      <dgm:prSet presAssocID="{FAAA1DF5-7D5B-4691-826D-1F31DD64BD22}" presName="desTx" presStyleLbl="revTx" presStyleIdx="7" presStyleCnt="10" custScaleX="101265" custLinFactNeighborX="-43161">
        <dgm:presLayoutVars/>
      </dgm:prSet>
      <dgm:spPr/>
    </dgm:pt>
    <dgm:pt modelId="{C965DE1C-73DA-4F99-9C04-6521A6EBD28F}" type="pres">
      <dgm:prSet presAssocID="{25C4E11E-BA27-4EBA-A6E0-055A72DEDB76}" presName="sibTrans" presStyleCnt="0"/>
      <dgm:spPr/>
    </dgm:pt>
    <dgm:pt modelId="{3714CD47-71D1-4F4D-95A4-D3427F9FA136}" type="pres">
      <dgm:prSet presAssocID="{66E85226-452F-41C0-ACB8-CBED756806A1}" presName="compNode" presStyleCnt="0"/>
      <dgm:spPr/>
    </dgm:pt>
    <dgm:pt modelId="{12A587D3-FB48-4C6D-B839-46EF41E03B16}" type="pres">
      <dgm:prSet presAssocID="{66E85226-452F-41C0-ACB8-CBED756806A1}" presName="bgRect" presStyleLbl="bgShp" presStyleIdx="4" presStyleCnt="5"/>
      <dgm:spPr/>
    </dgm:pt>
    <dgm:pt modelId="{B1C7D6B5-BCD0-4B47-9C99-F274DB254793}" type="pres">
      <dgm:prSet presAssocID="{66E85226-452F-41C0-ACB8-CBED756806A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agnifying glass"/>
        </a:ext>
      </dgm:extLst>
    </dgm:pt>
    <dgm:pt modelId="{9160A06A-B31F-4713-AC20-BFEFACC2E450}" type="pres">
      <dgm:prSet presAssocID="{66E85226-452F-41C0-ACB8-CBED756806A1}" presName="spaceRect" presStyleCnt="0"/>
      <dgm:spPr/>
    </dgm:pt>
    <dgm:pt modelId="{8B13FF80-C9DA-410A-A934-C23E1F91027E}" type="pres">
      <dgm:prSet presAssocID="{66E85226-452F-41C0-ACB8-CBED756806A1}" presName="parTx" presStyleLbl="revTx" presStyleIdx="8" presStyleCnt="10">
        <dgm:presLayoutVars>
          <dgm:chMax val="0"/>
          <dgm:chPref val="0"/>
        </dgm:presLayoutVars>
      </dgm:prSet>
      <dgm:spPr/>
    </dgm:pt>
    <dgm:pt modelId="{3C776ACA-40D9-498D-8CEA-94E38236727E}" type="pres">
      <dgm:prSet presAssocID="{66E85226-452F-41C0-ACB8-CBED756806A1}" presName="desTx" presStyleLbl="revTx" presStyleIdx="9" presStyleCnt="10" custScaleX="104421" custLinFactNeighborX="-41316">
        <dgm:presLayoutVars/>
      </dgm:prSet>
      <dgm:spPr/>
    </dgm:pt>
  </dgm:ptLst>
  <dgm:cxnLst>
    <dgm:cxn modelId="{F5FC1308-C1A6-4D58-8F03-6BEA58AEBCA7}" type="presOf" srcId="{8FAA0020-3473-4550-8178-D8D790885A2B}" destId="{3C776ACA-40D9-498D-8CEA-94E38236727E}" srcOrd="0" destOrd="0" presId="urn:microsoft.com/office/officeart/2018/2/layout/IconVerticalSolidList"/>
    <dgm:cxn modelId="{616DF516-FF4B-41E8-845A-875D2A4B0D35}" srcId="{66E85226-452F-41C0-ACB8-CBED756806A1}" destId="{8FAA0020-3473-4550-8178-D8D790885A2B}" srcOrd="0" destOrd="0" parTransId="{1A94FF66-172C-4D82-A26D-065DB37C7ACD}" sibTransId="{84D6C3F5-BED2-4133-BB17-A1FABE638798}"/>
    <dgm:cxn modelId="{3EB83820-D14D-4B25-9FD3-E8EDDB302CB0}" type="presOf" srcId="{BDC0632F-5B82-44B2-9D3E-77B18D4F7729}" destId="{47605955-2A11-4889-91BB-1433F3AB69CF}" srcOrd="0" destOrd="0" presId="urn:microsoft.com/office/officeart/2018/2/layout/IconVerticalSolidList"/>
    <dgm:cxn modelId="{57E3F332-615D-435A-AC7D-1DA6FB362695}" srcId="{E8B3EB0C-7CC2-4EEC-8024-C626582534DC}" destId="{1AF17187-2EAE-4624-A1D0-9A5ECA389660}" srcOrd="1" destOrd="0" parTransId="{4264AD00-E00E-43F2-9E95-6153E657BBC5}" sibTransId="{89474E0B-CE6F-4CF9-962D-6EE4D79FFD1B}"/>
    <dgm:cxn modelId="{DD767F5D-A6C9-4170-B2F7-CF2E8B843345}" type="presOf" srcId="{9BB97296-F922-4788-A5CB-4A372004ADCB}" destId="{69CFE44F-5DE5-412D-AEF9-5D9D01DE7B8A}" srcOrd="0" destOrd="0" presId="urn:microsoft.com/office/officeart/2018/2/layout/IconVerticalSolidList"/>
    <dgm:cxn modelId="{4CD83F41-A6FF-4034-8AE5-32884F8FC81B}" type="presOf" srcId="{010DBBF9-1B6B-4D6E-8163-E8835A890F34}" destId="{5DA0DD93-87A6-4FF7-88D0-1AD941E81FD3}" srcOrd="0" destOrd="0" presId="urn:microsoft.com/office/officeart/2018/2/layout/IconVerticalSolidList"/>
    <dgm:cxn modelId="{CB555A44-6EEF-4253-A1CB-37074A3C936F}" type="presOf" srcId="{B42A6785-BA00-41B2-82A7-10D205337FDF}" destId="{62BB9C98-84F0-45E9-B290-86B340CD2A3E}" srcOrd="0" destOrd="1" presId="urn:microsoft.com/office/officeart/2018/2/layout/IconVerticalSolidList"/>
    <dgm:cxn modelId="{92678E6D-051F-404B-BCE9-7EF1C0ECFE94}" srcId="{010DBBF9-1B6B-4D6E-8163-E8835A890F34}" destId="{B42A6785-BA00-41B2-82A7-10D205337FDF}" srcOrd="1" destOrd="0" parTransId="{190FE51C-46CD-4FD6-AAEB-0B5DC981916F}" sibTransId="{DC6F50BD-7403-4C6E-AF76-747153331184}"/>
    <dgm:cxn modelId="{E69EDC4D-C5C2-4CB3-B1B8-051674100260}" type="presOf" srcId="{FAAA1DF5-7D5B-4691-826D-1F31DD64BD22}" destId="{D0D89D0F-4FE8-4BD2-9E2D-133CFD2C4A1A}" srcOrd="0" destOrd="0" presId="urn:microsoft.com/office/officeart/2018/2/layout/IconVerticalSolidList"/>
    <dgm:cxn modelId="{B2D27B50-0BD6-44E8-89D3-C2A4E3EFAE85}" srcId="{1AF17187-2EAE-4624-A1D0-9A5ECA389660}" destId="{4E803351-0F7F-475F-999B-48DA2EE0187D}" srcOrd="0" destOrd="0" parTransId="{622745DD-0354-4F83-88EF-7A508BAAB431}" sibTransId="{ED92EFCF-88ED-4CD6-859B-9A3D393741CF}"/>
    <dgm:cxn modelId="{FA3B3971-D872-4CCD-ABE1-0F449921D02E}" type="presOf" srcId="{4E803351-0F7F-475F-999B-48DA2EE0187D}" destId="{60EF9148-0FE7-4DEC-8BBC-4F182B9B99B4}" srcOrd="0" destOrd="0" presId="urn:microsoft.com/office/officeart/2018/2/layout/IconVerticalSolidList"/>
    <dgm:cxn modelId="{BF4C1077-B93F-409A-B4D5-412C05180E5B}" srcId="{E8B3EB0C-7CC2-4EEC-8024-C626582534DC}" destId="{FAAA1DF5-7D5B-4691-826D-1F31DD64BD22}" srcOrd="3" destOrd="0" parTransId="{786983C0-F94A-467A-AD57-6802D61A6802}" sibTransId="{25C4E11E-BA27-4EBA-A6E0-055A72DEDB76}"/>
    <dgm:cxn modelId="{B3E27358-8D96-4953-995B-C1CB7DB67FAD}" type="presOf" srcId="{F46F2154-CC77-40CB-B7E5-E222B19F10B6}" destId="{62BB9C98-84F0-45E9-B290-86B340CD2A3E}" srcOrd="0" destOrd="0" presId="urn:microsoft.com/office/officeart/2018/2/layout/IconVerticalSolidList"/>
    <dgm:cxn modelId="{7DEA625A-89B6-4BED-9CE6-1E05A5BBE3B0}" srcId="{E8B3EB0C-7CC2-4EEC-8024-C626582534DC}" destId="{66E85226-452F-41C0-ACB8-CBED756806A1}" srcOrd="4" destOrd="0" parTransId="{7689A3D3-6496-47F9-82F6-93CB44859BE3}" sibTransId="{CE40F58E-E4CD-44F7-9169-259163EB3CC9}"/>
    <dgm:cxn modelId="{93D1BF88-F149-4D22-A796-D234C4117E83}" srcId="{76CA39C6-9BDE-4F79-B28A-4B4C27EE2D73}" destId="{BDC0632F-5B82-44B2-9D3E-77B18D4F7729}" srcOrd="0" destOrd="0" parTransId="{D4129D30-4AC3-4796-B1F0-E2C095730BEC}" sibTransId="{EDBD5E88-DBCC-4803-B18E-D6A7DE3ECA06}"/>
    <dgm:cxn modelId="{48ED528B-4DD0-43EA-ADA7-9FB4C8089A06}" type="presOf" srcId="{66E85226-452F-41C0-ACB8-CBED756806A1}" destId="{8B13FF80-C9DA-410A-A934-C23E1F91027E}" srcOrd="0" destOrd="0" presId="urn:microsoft.com/office/officeart/2018/2/layout/IconVerticalSolidList"/>
    <dgm:cxn modelId="{16662D8F-C14C-4F95-9CC6-3BE5FB42F943}" srcId="{E8B3EB0C-7CC2-4EEC-8024-C626582534DC}" destId="{76CA39C6-9BDE-4F79-B28A-4B4C27EE2D73}" srcOrd="2" destOrd="0" parTransId="{14D03121-F0CD-4D88-BC6F-1E97C0FC9461}" sibTransId="{ABA394CD-865D-4AC4-899F-DA0804B42C22}"/>
    <dgm:cxn modelId="{518AE796-868F-4706-90DD-6A2DCA1BD1E6}" srcId="{FAAA1DF5-7D5B-4691-826D-1F31DD64BD22}" destId="{9BB97296-F922-4788-A5CB-4A372004ADCB}" srcOrd="0" destOrd="0" parTransId="{EE6EBAEC-A4AA-4D0E-A5FE-F9A19E40BA1F}" sibTransId="{D6F20185-F531-4EA7-A5E3-90471A5064A4}"/>
    <dgm:cxn modelId="{BAE8B299-E843-461F-829B-8BCE35B4A88F}" type="presOf" srcId="{1AF17187-2EAE-4624-A1D0-9A5ECA389660}" destId="{5111E240-DE5D-4585-B16E-65868A725FB2}" srcOrd="0" destOrd="0" presId="urn:microsoft.com/office/officeart/2018/2/layout/IconVerticalSolidList"/>
    <dgm:cxn modelId="{465F05B7-A44B-443B-AB2B-975687DA5A3D}" type="presOf" srcId="{76CA39C6-9BDE-4F79-B28A-4B4C27EE2D73}" destId="{813F30E2-0424-47E5-A286-49EB956263B3}" srcOrd="0" destOrd="0" presId="urn:microsoft.com/office/officeart/2018/2/layout/IconVerticalSolidList"/>
    <dgm:cxn modelId="{DF949BD6-10C6-4F28-9D7E-85172748AE47}" srcId="{010DBBF9-1B6B-4D6E-8163-E8835A890F34}" destId="{F46F2154-CC77-40CB-B7E5-E222B19F10B6}" srcOrd="0" destOrd="0" parTransId="{536E7F40-C330-4145-8402-868ED9DC62FF}" sibTransId="{5C185C8D-C0E0-4F6A-8D53-5F2366857003}"/>
    <dgm:cxn modelId="{FF7DCAE8-CB07-4920-AFF4-6CEA0378D5BD}" srcId="{E8B3EB0C-7CC2-4EEC-8024-C626582534DC}" destId="{010DBBF9-1B6B-4D6E-8163-E8835A890F34}" srcOrd="0" destOrd="0" parTransId="{1DEA1C34-6249-4A0F-8D0E-9E927C1DBEF4}" sibTransId="{CD36B77B-F2DD-4DB3-B85E-548F0125B16C}"/>
    <dgm:cxn modelId="{7A8652F9-9A1D-4009-9787-275CF4E39555}" type="presOf" srcId="{E8B3EB0C-7CC2-4EEC-8024-C626582534DC}" destId="{3EF24AC2-8EA4-4A36-8C6F-C80A12591BA4}" srcOrd="0" destOrd="0" presId="urn:microsoft.com/office/officeart/2018/2/layout/IconVerticalSolidList"/>
    <dgm:cxn modelId="{6CC301F7-42D3-44C1-9648-20DE3C83AE79}" type="presParOf" srcId="{3EF24AC2-8EA4-4A36-8C6F-C80A12591BA4}" destId="{4F59381A-F51C-4B07-A2C7-32E42AEDB900}" srcOrd="0" destOrd="0" presId="urn:microsoft.com/office/officeart/2018/2/layout/IconVerticalSolidList"/>
    <dgm:cxn modelId="{8B0F28C3-7CD6-4BAD-AC0E-A60982DF142D}" type="presParOf" srcId="{4F59381A-F51C-4B07-A2C7-32E42AEDB900}" destId="{FC056DA8-7CEF-443E-9790-344D91ABCDF3}" srcOrd="0" destOrd="0" presId="urn:microsoft.com/office/officeart/2018/2/layout/IconVerticalSolidList"/>
    <dgm:cxn modelId="{23B9FE28-20E7-4291-A0B7-62AA9B6F5216}" type="presParOf" srcId="{4F59381A-F51C-4B07-A2C7-32E42AEDB900}" destId="{FE2BEA15-3034-4D14-B7AC-3CBEE091C165}" srcOrd="1" destOrd="0" presId="urn:microsoft.com/office/officeart/2018/2/layout/IconVerticalSolidList"/>
    <dgm:cxn modelId="{7E50D554-0057-41DA-89BF-0FF235E2EEAD}" type="presParOf" srcId="{4F59381A-F51C-4B07-A2C7-32E42AEDB900}" destId="{307553FB-498E-4AD5-A4C3-8274DDD827A6}" srcOrd="2" destOrd="0" presId="urn:microsoft.com/office/officeart/2018/2/layout/IconVerticalSolidList"/>
    <dgm:cxn modelId="{4C800BB0-B236-402F-9E86-2C073AB5F287}" type="presParOf" srcId="{4F59381A-F51C-4B07-A2C7-32E42AEDB900}" destId="{5DA0DD93-87A6-4FF7-88D0-1AD941E81FD3}" srcOrd="3" destOrd="0" presId="urn:microsoft.com/office/officeart/2018/2/layout/IconVerticalSolidList"/>
    <dgm:cxn modelId="{CB376496-310F-4EB6-AC6A-5927C8217DAD}" type="presParOf" srcId="{4F59381A-F51C-4B07-A2C7-32E42AEDB900}" destId="{62BB9C98-84F0-45E9-B290-86B340CD2A3E}" srcOrd="4" destOrd="0" presId="urn:microsoft.com/office/officeart/2018/2/layout/IconVerticalSolidList"/>
    <dgm:cxn modelId="{CD446CE4-9312-4D18-A0E7-0CF3207E59F1}" type="presParOf" srcId="{3EF24AC2-8EA4-4A36-8C6F-C80A12591BA4}" destId="{B6FDA287-0527-4111-8724-BC6B318E7918}" srcOrd="1" destOrd="0" presId="urn:microsoft.com/office/officeart/2018/2/layout/IconVerticalSolidList"/>
    <dgm:cxn modelId="{34DF9A44-1ED0-45A8-AAFA-9F7E2D86EBA2}" type="presParOf" srcId="{3EF24AC2-8EA4-4A36-8C6F-C80A12591BA4}" destId="{1350118F-924B-4F07-9525-0A8663EB8CC4}" srcOrd="2" destOrd="0" presId="urn:microsoft.com/office/officeart/2018/2/layout/IconVerticalSolidList"/>
    <dgm:cxn modelId="{6D07C5B7-22F9-4F90-95F4-5187A313E516}" type="presParOf" srcId="{1350118F-924B-4F07-9525-0A8663EB8CC4}" destId="{9F5FD2E5-A169-46F1-BF9C-FAC171A72E61}" srcOrd="0" destOrd="0" presId="urn:microsoft.com/office/officeart/2018/2/layout/IconVerticalSolidList"/>
    <dgm:cxn modelId="{002BC327-2A17-4CB5-9026-8AA083388B7C}" type="presParOf" srcId="{1350118F-924B-4F07-9525-0A8663EB8CC4}" destId="{DF8A252A-B56F-4C26-93E2-13541EEFC143}" srcOrd="1" destOrd="0" presId="urn:microsoft.com/office/officeart/2018/2/layout/IconVerticalSolidList"/>
    <dgm:cxn modelId="{7CD08047-D384-4856-A650-3C34E1414BA9}" type="presParOf" srcId="{1350118F-924B-4F07-9525-0A8663EB8CC4}" destId="{4DE3BB73-F032-4543-B9D2-3DF2216C90C9}" srcOrd="2" destOrd="0" presId="urn:microsoft.com/office/officeart/2018/2/layout/IconVerticalSolidList"/>
    <dgm:cxn modelId="{96115905-8139-4388-AAE3-98120BD0F463}" type="presParOf" srcId="{1350118F-924B-4F07-9525-0A8663EB8CC4}" destId="{5111E240-DE5D-4585-B16E-65868A725FB2}" srcOrd="3" destOrd="0" presId="urn:microsoft.com/office/officeart/2018/2/layout/IconVerticalSolidList"/>
    <dgm:cxn modelId="{3C7F6DA8-5168-4429-A715-DE05A8C98050}" type="presParOf" srcId="{1350118F-924B-4F07-9525-0A8663EB8CC4}" destId="{60EF9148-0FE7-4DEC-8BBC-4F182B9B99B4}" srcOrd="4" destOrd="0" presId="urn:microsoft.com/office/officeart/2018/2/layout/IconVerticalSolidList"/>
    <dgm:cxn modelId="{3F7745B6-59BF-48FC-96C4-A62A65312A79}" type="presParOf" srcId="{3EF24AC2-8EA4-4A36-8C6F-C80A12591BA4}" destId="{4C642BA1-660A-4DA5-9348-E82DC7514FAE}" srcOrd="3" destOrd="0" presId="urn:microsoft.com/office/officeart/2018/2/layout/IconVerticalSolidList"/>
    <dgm:cxn modelId="{287599DB-702D-4921-BA65-0D25474CFEB6}" type="presParOf" srcId="{3EF24AC2-8EA4-4A36-8C6F-C80A12591BA4}" destId="{0DEB1357-3BB4-42B8-9C34-9F64DB3D742D}" srcOrd="4" destOrd="0" presId="urn:microsoft.com/office/officeart/2018/2/layout/IconVerticalSolidList"/>
    <dgm:cxn modelId="{0F30A7AF-4BC3-4785-B69A-D0490AEB0722}" type="presParOf" srcId="{0DEB1357-3BB4-42B8-9C34-9F64DB3D742D}" destId="{DC2B4AAA-55BC-4C8F-9DE0-857B82E6865D}" srcOrd="0" destOrd="0" presId="urn:microsoft.com/office/officeart/2018/2/layout/IconVerticalSolidList"/>
    <dgm:cxn modelId="{5268360D-E125-489F-8625-AEEDF89A3037}" type="presParOf" srcId="{0DEB1357-3BB4-42B8-9C34-9F64DB3D742D}" destId="{3194E6D8-B336-4EC8-BDB0-8CBD023CAEEB}" srcOrd="1" destOrd="0" presId="urn:microsoft.com/office/officeart/2018/2/layout/IconVerticalSolidList"/>
    <dgm:cxn modelId="{A3156B34-F6C8-4F47-8A7B-BFD75D30C230}" type="presParOf" srcId="{0DEB1357-3BB4-42B8-9C34-9F64DB3D742D}" destId="{542ADE38-2E68-408E-B148-D4493A195027}" srcOrd="2" destOrd="0" presId="urn:microsoft.com/office/officeart/2018/2/layout/IconVerticalSolidList"/>
    <dgm:cxn modelId="{1E69EEFD-F0EE-4F54-A7A4-37DA1613AFCE}" type="presParOf" srcId="{0DEB1357-3BB4-42B8-9C34-9F64DB3D742D}" destId="{813F30E2-0424-47E5-A286-49EB956263B3}" srcOrd="3" destOrd="0" presId="urn:microsoft.com/office/officeart/2018/2/layout/IconVerticalSolidList"/>
    <dgm:cxn modelId="{DAE35E57-355D-46F6-998E-E9DE9B10C0F7}" type="presParOf" srcId="{0DEB1357-3BB4-42B8-9C34-9F64DB3D742D}" destId="{47605955-2A11-4889-91BB-1433F3AB69CF}" srcOrd="4" destOrd="0" presId="urn:microsoft.com/office/officeart/2018/2/layout/IconVerticalSolidList"/>
    <dgm:cxn modelId="{68415133-E206-4CD6-9094-70DDE6146663}" type="presParOf" srcId="{3EF24AC2-8EA4-4A36-8C6F-C80A12591BA4}" destId="{A60CFB28-25E7-41FC-B5DE-4834B19A2484}" srcOrd="5" destOrd="0" presId="urn:microsoft.com/office/officeart/2018/2/layout/IconVerticalSolidList"/>
    <dgm:cxn modelId="{36A78B70-7E72-43A1-87A7-AA7FCB70EEAA}" type="presParOf" srcId="{3EF24AC2-8EA4-4A36-8C6F-C80A12591BA4}" destId="{535A7B9A-6E2B-462E-AFC2-A87969B991F3}" srcOrd="6" destOrd="0" presId="urn:microsoft.com/office/officeart/2018/2/layout/IconVerticalSolidList"/>
    <dgm:cxn modelId="{118A5131-2A89-4A23-9644-09BFC495F3CE}" type="presParOf" srcId="{535A7B9A-6E2B-462E-AFC2-A87969B991F3}" destId="{F92BE202-B20A-49AD-A212-1A443FBB2DF6}" srcOrd="0" destOrd="0" presId="urn:microsoft.com/office/officeart/2018/2/layout/IconVerticalSolidList"/>
    <dgm:cxn modelId="{F494422C-B943-4E45-83AF-29BF93233300}" type="presParOf" srcId="{535A7B9A-6E2B-462E-AFC2-A87969B991F3}" destId="{5148645D-ECCA-473F-B34F-DED3E7B1C959}" srcOrd="1" destOrd="0" presId="urn:microsoft.com/office/officeart/2018/2/layout/IconVerticalSolidList"/>
    <dgm:cxn modelId="{D674C458-6036-4070-AA7C-1C88D0F3E813}" type="presParOf" srcId="{535A7B9A-6E2B-462E-AFC2-A87969B991F3}" destId="{89259B7D-4CAF-485F-B632-D771041B6184}" srcOrd="2" destOrd="0" presId="urn:microsoft.com/office/officeart/2018/2/layout/IconVerticalSolidList"/>
    <dgm:cxn modelId="{9B9D08BD-B0E4-47F6-A79A-B6AFABFFBCC3}" type="presParOf" srcId="{535A7B9A-6E2B-462E-AFC2-A87969B991F3}" destId="{D0D89D0F-4FE8-4BD2-9E2D-133CFD2C4A1A}" srcOrd="3" destOrd="0" presId="urn:microsoft.com/office/officeart/2018/2/layout/IconVerticalSolidList"/>
    <dgm:cxn modelId="{CC2618CF-929D-42EF-BC6C-653CCCB338F2}" type="presParOf" srcId="{535A7B9A-6E2B-462E-AFC2-A87969B991F3}" destId="{69CFE44F-5DE5-412D-AEF9-5D9D01DE7B8A}" srcOrd="4" destOrd="0" presId="urn:microsoft.com/office/officeart/2018/2/layout/IconVerticalSolidList"/>
    <dgm:cxn modelId="{667C7FFA-49C2-443D-80B3-A5C5FD5FD30E}" type="presParOf" srcId="{3EF24AC2-8EA4-4A36-8C6F-C80A12591BA4}" destId="{C965DE1C-73DA-4F99-9C04-6521A6EBD28F}" srcOrd="7" destOrd="0" presId="urn:microsoft.com/office/officeart/2018/2/layout/IconVerticalSolidList"/>
    <dgm:cxn modelId="{05C8E029-375C-4004-A4F2-C51EA14DAC13}" type="presParOf" srcId="{3EF24AC2-8EA4-4A36-8C6F-C80A12591BA4}" destId="{3714CD47-71D1-4F4D-95A4-D3427F9FA136}" srcOrd="8" destOrd="0" presId="urn:microsoft.com/office/officeart/2018/2/layout/IconVerticalSolidList"/>
    <dgm:cxn modelId="{C698C60B-84B0-4A9E-A81E-8826B21741DE}" type="presParOf" srcId="{3714CD47-71D1-4F4D-95A4-D3427F9FA136}" destId="{12A587D3-FB48-4C6D-B839-46EF41E03B16}" srcOrd="0" destOrd="0" presId="urn:microsoft.com/office/officeart/2018/2/layout/IconVerticalSolidList"/>
    <dgm:cxn modelId="{484C55B0-1986-4367-BA18-C6E01A6641D6}" type="presParOf" srcId="{3714CD47-71D1-4F4D-95A4-D3427F9FA136}" destId="{B1C7D6B5-BCD0-4B47-9C99-F274DB254793}" srcOrd="1" destOrd="0" presId="urn:microsoft.com/office/officeart/2018/2/layout/IconVerticalSolidList"/>
    <dgm:cxn modelId="{43D62C59-1EE6-46E1-9FF3-70DB3568567A}" type="presParOf" srcId="{3714CD47-71D1-4F4D-95A4-D3427F9FA136}" destId="{9160A06A-B31F-4713-AC20-BFEFACC2E450}" srcOrd="2" destOrd="0" presId="urn:microsoft.com/office/officeart/2018/2/layout/IconVerticalSolidList"/>
    <dgm:cxn modelId="{0E38A8F4-0C9B-4584-9577-E666CD80B050}" type="presParOf" srcId="{3714CD47-71D1-4F4D-95A4-D3427F9FA136}" destId="{8B13FF80-C9DA-410A-A934-C23E1F91027E}" srcOrd="3" destOrd="0" presId="urn:microsoft.com/office/officeart/2018/2/layout/IconVerticalSolidList"/>
    <dgm:cxn modelId="{0BE376A9-757F-4ECB-8FE3-B90716C598C8}" type="presParOf" srcId="{3714CD47-71D1-4F4D-95A4-D3427F9FA136}" destId="{3C776ACA-40D9-498D-8CEA-94E38236727E}"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1165A1-9820-4D3D-AEB1-11881DC66D62}" type="doc">
      <dgm:prSet loTypeId="urn:microsoft.com/office/officeart/2005/8/layout/hList2" loCatId="list" qsTypeId="urn:microsoft.com/office/officeart/2005/8/quickstyle/simple1" qsCatId="simple" csTypeId="urn:microsoft.com/office/officeart/2005/8/colors/accent0_3" csCatId="mainScheme" phldr="1"/>
      <dgm:spPr/>
      <dgm:t>
        <a:bodyPr/>
        <a:lstStyle/>
        <a:p>
          <a:endParaRPr lang="en-US"/>
        </a:p>
      </dgm:t>
    </dgm:pt>
    <dgm:pt modelId="{43BDE452-C40C-422A-B7AC-211E904E592C}">
      <dgm:prSet/>
      <dgm:spPr/>
      <dgm:t>
        <a:bodyPr/>
        <a:lstStyle/>
        <a:p>
          <a:pPr algn="ctr"/>
          <a:r>
            <a:rPr lang="en-US" baseline="0"/>
            <a:t>Chunking</a:t>
          </a:r>
          <a:endParaRPr lang="en-US"/>
        </a:p>
      </dgm:t>
    </dgm:pt>
    <dgm:pt modelId="{9C8894C2-8860-43CD-A70F-228563625599}" type="parTrans" cxnId="{2FEF5889-0216-44FD-A451-F490E2A3585E}">
      <dgm:prSet/>
      <dgm:spPr/>
      <dgm:t>
        <a:bodyPr/>
        <a:lstStyle/>
        <a:p>
          <a:endParaRPr lang="en-US"/>
        </a:p>
      </dgm:t>
    </dgm:pt>
    <dgm:pt modelId="{868EE78C-FC12-4C67-9896-793877AA07D2}" type="sibTrans" cxnId="{2FEF5889-0216-44FD-A451-F490E2A3585E}">
      <dgm:prSet/>
      <dgm:spPr/>
      <dgm:t>
        <a:bodyPr/>
        <a:lstStyle/>
        <a:p>
          <a:endParaRPr lang="en-US"/>
        </a:p>
      </dgm:t>
    </dgm:pt>
    <dgm:pt modelId="{44F1F9F6-428A-45FF-B949-AA75334F5F1F}">
      <dgm:prSet custT="1"/>
      <dgm:spPr>
        <a:ln>
          <a:noFill/>
        </a:ln>
      </dgm:spPr>
      <dgm:t>
        <a:bodyPr/>
        <a:lstStyle/>
        <a:p>
          <a:r>
            <a:rPr lang="en-US" sz="2000" baseline="0" dirty="0"/>
            <a:t>Built-in Chunking Skill </a:t>
          </a:r>
          <a:r>
            <a:rPr lang="en-US" sz="2000" dirty="0">
              <a:latin typeface="Segoe UI"/>
              <a:cs typeface="Segoe UI"/>
            </a:rPr>
            <a:t>(updates to </a:t>
          </a:r>
          <a:r>
            <a:rPr lang="en-US" sz="2000" dirty="0">
              <a:solidFill>
                <a:srgbClr val="FFFFFF"/>
              </a:solidFill>
              <a:latin typeface="Segoe UI"/>
              <a:cs typeface="Segoe UI"/>
              <a:hlinkClick xmlns:r="http://schemas.openxmlformats.org/officeDocument/2006/relationships" r:id="rId1"/>
            </a:rPr>
            <a:t>split skill</a:t>
          </a:r>
          <a:r>
            <a:rPr lang="en-US" sz="2000" dirty="0">
              <a:latin typeface="Segoe UI"/>
              <a:cs typeface="Segoe UI"/>
            </a:rPr>
            <a:t>) and updates to index to manage chunks vs. full documents.</a:t>
          </a:r>
          <a:endParaRPr lang="en-US" sz="2000" dirty="0"/>
        </a:p>
      </dgm:t>
    </dgm:pt>
    <dgm:pt modelId="{DFFF8B39-6362-4DBF-8BE3-9D93A8629633}" type="parTrans" cxnId="{1586D698-C8F4-459F-9503-7EC8583C4678}">
      <dgm:prSet/>
      <dgm:spPr/>
      <dgm:t>
        <a:bodyPr/>
        <a:lstStyle/>
        <a:p>
          <a:endParaRPr lang="en-US"/>
        </a:p>
      </dgm:t>
    </dgm:pt>
    <dgm:pt modelId="{B7790DF0-70EE-425E-AEB2-D40282DBAC69}" type="sibTrans" cxnId="{1586D698-C8F4-459F-9503-7EC8583C4678}">
      <dgm:prSet/>
      <dgm:spPr/>
      <dgm:t>
        <a:bodyPr/>
        <a:lstStyle/>
        <a:p>
          <a:endParaRPr lang="en-US"/>
        </a:p>
      </dgm:t>
    </dgm:pt>
    <dgm:pt modelId="{E55A0AE6-8847-411C-8165-E4015484329C}">
      <dgm:prSet custT="1"/>
      <dgm:spPr>
        <a:ln>
          <a:noFill/>
        </a:ln>
      </dgm:spPr>
      <dgm:t>
        <a:bodyPr/>
        <a:lstStyle/>
        <a:p>
          <a:r>
            <a:rPr lang="en-US" sz="2000" baseline="0"/>
            <a:t>Configure Chunking parameters (e.g. </a:t>
          </a:r>
          <a:r>
            <a:rPr lang="en-US" sz="2000" baseline="0">
              <a:latin typeface="Segoe UI Semibold"/>
            </a:rPr>
            <a:t>pages</a:t>
          </a:r>
          <a:r>
            <a:rPr lang="en-US" sz="2000" baseline="0"/>
            <a:t>, overlap window, etc)</a:t>
          </a:r>
          <a:endParaRPr lang="en-US" sz="2000"/>
        </a:p>
      </dgm:t>
    </dgm:pt>
    <dgm:pt modelId="{0890D6D7-8899-4D09-945C-B83E6610D958}" type="parTrans" cxnId="{2894AECC-4D5B-4239-8C47-72E362E9396E}">
      <dgm:prSet/>
      <dgm:spPr/>
      <dgm:t>
        <a:bodyPr/>
        <a:lstStyle/>
        <a:p>
          <a:endParaRPr lang="en-US"/>
        </a:p>
      </dgm:t>
    </dgm:pt>
    <dgm:pt modelId="{44C26A7E-EBF8-434C-B1E2-58E2D0C4660F}" type="sibTrans" cxnId="{2894AECC-4D5B-4239-8C47-72E362E9396E}">
      <dgm:prSet/>
      <dgm:spPr/>
      <dgm:t>
        <a:bodyPr/>
        <a:lstStyle/>
        <a:p>
          <a:endParaRPr lang="en-US"/>
        </a:p>
      </dgm:t>
    </dgm:pt>
    <dgm:pt modelId="{35046D4C-7BD7-48C1-AB78-DF68F258A26B}">
      <dgm:prSet custT="1"/>
      <dgm:spPr>
        <a:ln>
          <a:noFill/>
        </a:ln>
      </dgm:spPr>
      <dgm:t>
        <a:bodyPr/>
        <a:lstStyle/>
        <a:p>
          <a:r>
            <a:rPr lang="en-US" sz="2000" baseline="0"/>
            <a:t>Automated via Indexer orchestration</a:t>
          </a:r>
          <a:endParaRPr lang="en-US" sz="2000"/>
        </a:p>
      </dgm:t>
    </dgm:pt>
    <dgm:pt modelId="{86381874-8CD8-4AEA-BC58-706CFF23F6E5}" type="parTrans" cxnId="{1E66A30E-3B67-4331-993A-264FF594A830}">
      <dgm:prSet/>
      <dgm:spPr/>
      <dgm:t>
        <a:bodyPr/>
        <a:lstStyle/>
        <a:p>
          <a:endParaRPr lang="en-US"/>
        </a:p>
      </dgm:t>
    </dgm:pt>
    <dgm:pt modelId="{381C426F-48BB-4E60-80C2-F6FCE4604984}" type="sibTrans" cxnId="{1E66A30E-3B67-4331-993A-264FF594A830}">
      <dgm:prSet/>
      <dgm:spPr/>
      <dgm:t>
        <a:bodyPr/>
        <a:lstStyle/>
        <a:p>
          <a:endParaRPr lang="en-US"/>
        </a:p>
      </dgm:t>
    </dgm:pt>
    <dgm:pt modelId="{B95300D6-E400-4037-9EA7-F7244E0C3B03}">
      <dgm:prSet/>
      <dgm:spPr/>
      <dgm:t>
        <a:bodyPr/>
        <a:lstStyle/>
        <a:p>
          <a:pPr algn="ctr"/>
          <a:r>
            <a:rPr lang="en-US" baseline="0"/>
            <a:t>Vectorization</a:t>
          </a:r>
          <a:endParaRPr lang="en-US"/>
        </a:p>
      </dgm:t>
    </dgm:pt>
    <dgm:pt modelId="{1A909D43-2C3C-4C9A-BF09-04330F8A2C21}" type="parTrans" cxnId="{8D475C45-783F-43A5-B180-EC726EFC6F95}">
      <dgm:prSet/>
      <dgm:spPr/>
      <dgm:t>
        <a:bodyPr/>
        <a:lstStyle/>
        <a:p>
          <a:endParaRPr lang="en-US"/>
        </a:p>
      </dgm:t>
    </dgm:pt>
    <dgm:pt modelId="{37468FB3-77CD-4056-AFD2-2A670E751961}" type="sibTrans" cxnId="{8D475C45-783F-43A5-B180-EC726EFC6F95}">
      <dgm:prSet/>
      <dgm:spPr/>
      <dgm:t>
        <a:bodyPr/>
        <a:lstStyle/>
        <a:p>
          <a:endParaRPr lang="en-US"/>
        </a:p>
      </dgm:t>
    </dgm:pt>
    <dgm:pt modelId="{7A3BAC6D-8F7E-49C5-B106-888D4ABEF97A}">
      <dgm:prSet custT="1"/>
      <dgm:spPr>
        <a:ln>
          <a:noFill/>
        </a:ln>
      </dgm:spPr>
      <dgm:t>
        <a:bodyPr/>
        <a:lstStyle/>
        <a:p>
          <a:r>
            <a:rPr lang="en-US" sz="2000" baseline="0"/>
            <a:t>Bring-Your-Own Azure OpenAI Endpoint</a:t>
          </a:r>
          <a:endParaRPr lang="en-US" sz="2000"/>
        </a:p>
      </dgm:t>
    </dgm:pt>
    <dgm:pt modelId="{5FB53E3B-7410-4F70-B018-BE5D35A2749C}" type="parTrans" cxnId="{8B363069-5051-44B9-B7E2-9C602ABFE99E}">
      <dgm:prSet/>
      <dgm:spPr/>
      <dgm:t>
        <a:bodyPr/>
        <a:lstStyle/>
        <a:p>
          <a:endParaRPr lang="en-US"/>
        </a:p>
      </dgm:t>
    </dgm:pt>
    <dgm:pt modelId="{154E1DA0-8970-4AC8-8859-E216C9890D72}" type="sibTrans" cxnId="{8B363069-5051-44B9-B7E2-9C602ABFE99E}">
      <dgm:prSet/>
      <dgm:spPr/>
      <dgm:t>
        <a:bodyPr/>
        <a:lstStyle/>
        <a:p>
          <a:endParaRPr lang="en-US"/>
        </a:p>
      </dgm:t>
    </dgm:pt>
    <dgm:pt modelId="{1EEF72FA-C254-4033-BE19-1FD68899541E}">
      <dgm:prSet custT="1"/>
      <dgm:spPr>
        <a:ln>
          <a:noFill/>
        </a:ln>
      </dgm:spPr>
      <dgm:t>
        <a:bodyPr/>
        <a:lstStyle/>
        <a:p>
          <a:r>
            <a:rPr lang="en-US" sz="2000" baseline="0" dirty="0"/>
            <a:t>Support for other embedding model REST endpoints through custom skill</a:t>
          </a:r>
          <a:endParaRPr lang="en-US" sz="2000" dirty="0"/>
        </a:p>
      </dgm:t>
    </dgm:pt>
    <dgm:pt modelId="{377F954F-9666-48C6-818F-37A99D541EFC}" type="parTrans" cxnId="{C7B0D40C-3E31-4BE3-99B5-28AC6C3047F1}">
      <dgm:prSet/>
      <dgm:spPr/>
      <dgm:t>
        <a:bodyPr/>
        <a:lstStyle/>
        <a:p>
          <a:endParaRPr lang="en-US"/>
        </a:p>
      </dgm:t>
    </dgm:pt>
    <dgm:pt modelId="{47E1C1B0-CC2F-4C0C-A94E-CB16DC3BB979}" type="sibTrans" cxnId="{C7B0D40C-3E31-4BE3-99B5-28AC6C3047F1}">
      <dgm:prSet/>
      <dgm:spPr/>
      <dgm:t>
        <a:bodyPr/>
        <a:lstStyle/>
        <a:p>
          <a:endParaRPr lang="en-US"/>
        </a:p>
      </dgm:t>
    </dgm:pt>
    <dgm:pt modelId="{47E2559C-D093-43E6-B2B8-C01A1910299F}">
      <dgm:prSet custT="1"/>
      <dgm:spPr>
        <a:ln>
          <a:noFill/>
        </a:ln>
      </dgm:spPr>
      <dgm:t>
        <a:bodyPr/>
        <a:lstStyle/>
        <a:p>
          <a:r>
            <a:rPr lang="en-US" sz="2000" baseline="0"/>
            <a:t>Query Vectorization capability</a:t>
          </a:r>
          <a:endParaRPr lang="en-US" sz="2000"/>
        </a:p>
      </dgm:t>
    </dgm:pt>
    <dgm:pt modelId="{C110D535-9238-4B62-8FBD-90BADF27D74E}" type="parTrans" cxnId="{9C7E0B54-9061-4755-AD2C-D8E4A4FFBA80}">
      <dgm:prSet/>
      <dgm:spPr/>
      <dgm:t>
        <a:bodyPr/>
        <a:lstStyle/>
        <a:p>
          <a:endParaRPr lang="en-US"/>
        </a:p>
      </dgm:t>
    </dgm:pt>
    <dgm:pt modelId="{7E096495-6BA1-4897-9B67-94F7FD96C99C}" type="sibTrans" cxnId="{9C7E0B54-9061-4755-AD2C-D8E4A4FFBA80}">
      <dgm:prSet/>
      <dgm:spPr/>
      <dgm:t>
        <a:bodyPr/>
        <a:lstStyle/>
        <a:p>
          <a:endParaRPr lang="en-US"/>
        </a:p>
      </dgm:t>
    </dgm:pt>
    <dgm:pt modelId="{E74113AB-B74C-45B3-A893-46219B56FE46}" type="pres">
      <dgm:prSet presAssocID="{641165A1-9820-4D3D-AEB1-11881DC66D62}" presName="linearFlow" presStyleCnt="0">
        <dgm:presLayoutVars>
          <dgm:dir/>
          <dgm:animLvl val="lvl"/>
          <dgm:resizeHandles/>
        </dgm:presLayoutVars>
      </dgm:prSet>
      <dgm:spPr/>
    </dgm:pt>
    <dgm:pt modelId="{B5EC7CBD-11C6-4F5A-82F5-DF7F326421DA}" type="pres">
      <dgm:prSet presAssocID="{43BDE452-C40C-422A-B7AC-211E904E592C}" presName="compositeNode" presStyleCnt="0">
        <dgm:presLayoutVars>
          <dgm:bulletEnabled val="1"/>
        </dgm:presLayoutVars>
      </dgm:prSet>
      <dgm:spPr/>
    </dgm:pt>
    <dgm:pt modelId="{D6263E4A-1CDC-4A9A-AA58-0538BE8650CA}" type="pres">
      <dgm:prSet presAssocID="{43BDE452-C40C-422A-B7AC-211E904E592C}" presName="image" presStyleLbl="fgImgPlace1" presStyleIdx="0" presStyleCnt="2" custLinFactNeighborX="11441" custLinFactNeighborY="6231"/>
      <dgm:spPr>
        <a:blipFill rotWithShape="1">
          <a:blip xmlns:r="http://schemas.openxmlformats.org/officeDocument/2006/relationships" r:embed="rId2">
            <a:extLst>
              <a:ext uri="{BEBA8EAE-BF5A-486C-A8C5-ECC9F3942E4B}">
                <a14:imgProps xmlns:a14="http://schemas.microsoft.com/office/drawing/2010/main">
                  <a14:imgLayer r:embed="rId3">
                    <a14:imgEffect>
                      <a14:saturation sat="200000"/>
                    </a14:imgEffect>
                    <a14:imgEffect>
                      <a14:brightnessContrast contrast="20000"/>
                    </a14:imgEffect>
                  </a14:imgLayer>
                </a14:imgProps>
              </a:ext>
            </a:extLst>
          </a:blip>
          <a:srcRect/>
          <a:stretch>
            <a:fillRect l="-1000" r="-1000"/>
          </a:stretch>
        </a:blipFill>
        <a:ln>
          <a:noFill/>
        </a:ln>
      </dgm:spPr>
    </dgm:pt>
    <dgm:pt modelId="{0C69D717-E286-43AC-976A-2738E2B9143C}" type="pres">
      <dgm:prSet presAssocID="{43BDE452-C40C-422A-B7AC-211E904E592C}" presName="childNode" presStyleLbl="node1" presStyleIdx="0" presStyleCnt="2" custScaleX="118711">
        <dgm:presLayoutVars>
          <dgm:bulletEnabled val="1"/>
        </dgm:presLayoutVars>
      </dgm:prSet>
      <dgm:spPr/>
    </dgm:pt>
    <dgm:pt modelId="{26B58EE5-A84B-48EF-B6BA-1C504B9DEAAF}" type="pres">
      <dgm:prSet presAssocID="{43BDE452-C40C-422A-B7AC-211E904E592C}" presName="parentNode" presStyleLbl="revTx" presStyleIdx="0" presStyleCnt="2" custAng="5400000" custScaleY="128205" custLinFactX="200000" custLinFactNeighborX="246333" custLinFactNeighborY="-62448">
        <dgm:presLayoutVars>
          <dgm:chMax val="0"/>
          <dgm:bulletEnabled val="1"/>
        </dgm:presLayoutVars>
      </dgm:prSet>
      <dgm:spPr/>
    </dgm:pt>
    <dgm:pt modelId="{B09FDCB4-E876-4B4C-943D-BC6A193C871E}" type="pres">
      <dgm:prSet presAssocID="{868EE78C-FC12-4C67-9896-793877AA07D2}" presName="sibTrans" presStyleCnt="0"/>
      <dgm:spPr/>
    </dgm:pt>
    <dgm:pt modelId="{697A17C5-5981-4E9D-9D13-E2F5A788F370}" type="pres">
      <dgm:prSet presAssocID="{B95300D6-E400-4037-9EA7-F7244E0C3B03}" presName="compositeNode" presStyleCnt="0">
        <dgm:presLayoutVars>
          <dgm:bulletEnabled val="1"/>
        </dgm:presLayoutVars>
      </dgm:prSet>
      <dgm:spPr/>
    </dgm:pt>
    <dgm:pt modelId="{5A8D4875-269C-4A83-AE19-FC69050331F0}" type="pres">
      <dgm:prSet presAssocID="{B95300D6-E400-4037-9EA7-F7244E0C3B03}" presName="image" presStyleLbl="fgImgPlace1" presStyleIdx="1" presStyleCnt="2" custLinFactNeighborX="2233" custLinFactNeighborY="2877"/>
      <dgm:spPr>
        <a:blipFill rotWithShape="1">
          <a:blip xmlns:r="http://schemas.openxmlformats.org/officeDocument/2006/relationships" r:embed="rId4"/>
          <a:srcRect/>
          <a:stretch>
            <a:fillRect/>
          </a:stretch>
        </a:blipFill>
        <a:ln>
          <a:noFill/>
        </a:ln>
      </dgm:spPr>
    </dgm:pt>
    <dgm:pt modelId="{2BDBA104-BE42-4D74-AC7F-7BDD0EDC6A6A}" type="pres">
      <dgm:prSet presAssocID="{B95300D6-E400-4037-9EA7-F7244E0C3B03}" presName="childNode" presStyleLbl="node1" presStyleIdx="1" presStyleCnt="2" custScaleX="119263">
        <dgm:presLayoutVars>
          <dgm:bulletEnabled val="1"/>
        </dgm:presLayoutVars>
      </dgm:prSet>
      <dgm:spPr/>
    </dgm:pt>
    <dgm:pt modelId="{9F415048-7820-4B9D-BCF2-0D34BE8ED1F0}" type="pres">
      <dgm:prSet presAssocID="{B95300D6-E400-4037-9EA7-F7244E0C3B03}" presName="parentNode" presStyleLbl="revTx" presStyleIdx="1" presStyleCnt="2" custAng="5400000" custScaleY="123087" custLinFactX="200000" custLinFactNeighborX="244673" custLinFactNeighborY="-62626">
        <dgm:presLayoutVars>
          <dgm:chMax val="0"/>
          <dgm:bulletEnabled val="1"/>
        </dgm:presLayoutVars>
      </dgm:prSet>
      <dgm:spPr/>
    </dgm:pt>
  </dgm:ptLst>
  <dgm:cxnLst>
    <dgm:cxn modelId="{C7B0D40C-3E31-4BE3-99B5-28AC6C3047F1}" srcId="{B95300D6-E400-4037-9EA7-F7244E0C3B03}" destId="{1EEF72FA-C254-4033-BE19-1FD68899541E}" srcOrd="1" destOrd="0" parTransId="{377F954F-9666-48C6-818F-37A99D541EFC}" sibTransId="{47E1C1B0-CC2F-4C0C-A94E-CB16DC3BB979}"/>
    <dgm:cxn modelId="{1E66A30E-3B67-4331-993A-264FF594A830}" srcId="{43BDE452-C40C-422A-B7AC-211E904E592C}" destId="{35046D4C-7BD7-48C1-AB78-DF68F258A26B}" srcOrd="2" destOrd="0" parTransId="{86381874-8CD8-4AEA-BC58-706CFF23F6E5}" sibTransId="{381C426F-48BB-4E60-80C2-F6FCE4604984}"/>
    <dgm:cxn modelId="{760EFA31-1260-4367-90C4-0E96944E5068}" type="presOf" srcId="{641165A1-9820-4D3D-AEB1-11881DC66D62}" destId="{E74113AB-B74C-45B3-A893-46219B56FE46}" srcOrd="0" destOrd="0" presId="urn:microsoft.com/office/officeart/2005/8/layout/hList2"/>
    <dgm:cxn modelId="{8D475C45-783F-43A5-B180-EC726EFC6F95}" srcId="{641165A1-9820-4D3D-AEB1-11881DC66D62}" destId="{B95300D6-E400-4037-9EA7-F7244E0C3B03}" srcOrd="1" destOrd="0" parTransId="{1A909D43-2C3C-4C9A-BF09-04330F8A2C21}" sibTransId="{37468FB3-77CD-4056-AFD2-2A670E751961}"/>
    <dgm:cxn modelId="{8B363069-5051-44B9-B7E2-9C602ABFE99E}" srcId="{B95300D6-E400-4037-9EA7-F7244E0C3B03}" destId="{7A3BAC6D-8F7E-49C5-B106-888D4ABEF97A}" srcOrd="0" destOrd="0" parTransId="{5FB53E3B-7410-4F70-B018-BE5D35A2749C}" sibTransId="{154E1DA0-8970-4AC8-8859-E216C9890D72}"/>
    <dgm:cxn modelId="{A908C669-13D6-4F36-BE2B-B664DE207860}" type="presOf" srcId="{35046D4C-7BD7-48C1-AB78-DF68F258A26B}" destId="{0C69D717-E286-43AC-976A-2738E2B9143C}" srcOrd="0" destOrd="2" presId="urn:microsoft.com/office/officeart/2005/8/layout/hList2"/>
    <dgm:cxn modelId="{E4C8744E-A9A5-427D-AB11-852074AA0BB7}" type="presOf" srcId="{1EEF72FA-C254-4033-BE19-1FD68899541E}" destId="{2BDBA104-BE42-4D74-AC7F-7BDD0EDC6A6A}" srcOrd="0" destOrd="1" presId="urn:microsoft.com/office/officeart/2005/8/layout/hList2"/>
    <dgm:cxn modelId="{18D2F86E-92CD-4DD0-A1B8-F879096DD6F2}" type="presOf" srcId="{47E2559C-D093-43E6-B2B8-C01A1910299F}" destId="{2BDBA104-BE42-4D74-AC7F-7BDD0EDC6A6A}" srcOrd="0" destOrd="2" presId="urn:microsoft.com/office/officeart/2005/8/layout/hList2"/>
    <dgm:cxn modelId="{93479072-A2C5-4011-A95F-701338131A72}" type="presOf" srcId="{44F1F9F6-428A-45FF-B949-AA75334F5F1F}" destId="{0C69D717-E286-43AC-976A-2738E2B9143C}" srcOrd="0" destOrd="0" presId="urn:microsoft.com/office/officeart/2005/8/layout/hList2"/>
    <dgm:cxn modelId="{9C7E0B54-9061-4755-AD2C-D8E4A4FFBA80}" srcId="{B95300D6-E400-4037-9EA7-F7244E0C3B03}" destId="{47E2559C-D093-43E6-B2B8-C01A1910299F}" srcOrd="2" destOrd="0" parTransId="{C110D535-9238-4B62-8FBD-90BADF27D74E}" sibTransId="{7E096495-6BA1-4897-9B67-94F7FD96C99C}"/>
    <dgm:cxn modelId="{22F0E557-10D4-49FA-824B-3C5409752FDC}" type="presOf" srcId="{E55A0AE6-8847-411C-8165-E4015484329C}" destId="{0C69D717-E286-43AC-976A-2738E2B9143C}" srcOrd="0" destOrd="1" presId="urn:microsoft.com/office/officeart/2005/8/layout/hList2"/>
    <dgm:cxn modelId="{2FEF5889-0216-44FD-A451-F490E2A3585E}" srcId="{641165A1-9820-4D3D-AEB1-11881DC66D62}" destId="{43BDE452-C40C-422A-B7AC-211E904E592C}" srcOrd="0" destOrd="0" parTransId="{9C8894C2-8860-43CD-A70F-228563625599}" sibTransId="{868EE78C-FC12-4C67-9896-793877AA07D2}"/>
    <dgm:cxn modelId="{1586D698-C8F4-459F-9503-7EC8583C4678}" srcId="{43BDE452-C40C-422A-B7AC-211E904E592C}" destId="{44F1F9F6-428A-45FF-B949-AA75334F5F1F}" srcOrd="0" destOrd="0" parTransId="{DFFF8B39-6362-4DBF-8BE3-9D93A8629633}" sibTransId="{B7790DF0-70EE-425E-AEB2-D40282DBAC69}"/>
    <dgm:cxn modelId="{01B882B4-B916-460F-8EA5-E410E91A4B4E}" type="presOf" srcId="{43BDE452-C40C-422A-B7AC-211E904E592C}" destId="{26B58EE5-A84B-48EF-B6BA-1C504B9DEAAF}" srcOrd="0" destOrd="0" presId="urn:microsoft.com/office/officeart/2005/8/layout/hList2"/>
    <dgm:cxn modelId="{834E32C8-8E80-4053-8E1E-4162E51D8B6D}" type="presOf" srcId="{B95300D6-E400-4037-9EA7-F7244E0C3B03}" destId="{9F415048-7820-4B9D-BCF2-0D34BE8ED1F0}" srcOrd="0" destOrd="0" presId="urn:microsoft.com/office/officeart/2005/8/layout/hList2"/>
    <dgm:cxn modelId="{105AC5CA-2162-4259-BBB8-049B020B1B9F}" type="presOf" srcId="{7A3BAC6D-8F7E-49C5-B106-888D4ABEF97A}" destId="{2BDBA104-BE42-4D74-AC7F-7BDD0EDC6A6A}" srcOrd="0" destOrd="0" presId="urn:microsoft.com/office/officeart/2005/8/layout/hList2"/>
    <dgm:cxn modelId="{2894AECC-4D5B-4239-8C47-72E362E9396E}" srcId="{43BDE452-C40C-422A-B7AC-211E904E592C}" destId="{E55A0AE6-8847-411C-8165-E4015484329C}" srcOrd="1" destOrd="0" parTransId="{0890D6D7-8899-4D09-945C-B83E6610D958}" sibTransId="{44C26A7E-EBF8-434C-B1E2-58E2D0C4660F}"/>
    <dgm:cxn modelId="{34EFEB71-390A-4DCC-B5A5-4E0FC97F486F}" type="presParOf" srcId="{E74113AB-B74C-45B3-A893-46219B56FE46}" destId="{B5EC7CBD-11C6-4F5A-82F5-DF7F326421DA}" srcOrd="0" destOrd="0" presId="urn:microsoft.com/office/officeart/2005/8/layout/hList2"/>
    <dgm:cxn modelId="{ECA241D7-DF18-4C43-929F-3E27AD6585FF}" type="presParOf" srcId="{B5EC7CBD-11C6-4F5A-82F5-DF7F326421DA}" destId="{D6263E4A-1CDC-4A9A-AA58-0538BE8650CA}" srcOrd="0" destOrd="0" presId="urn:microsoft.com/office/officeart/2005/8/layout/hList2"/>
    <dgm:cxn modelId="{79E14809-A6CA-4921-93C4-E48E4D5EDDE0}" type="presParOf" srcId="{B5EC7CBD-11C6-4F5A-82F5-DF7F326421DA}" destId="{0C69D717-E286-43AC-976A-2738E2B9143C}" srcOrd="1" destOrd="0" presId="urn:microsoft.com/office/officeart/2005/8/layout/hList2"/>
    <dgm:cxn modelId="{9C1CC583-27E9-4FB2-948E-3E673934B249}" type="presParOf" srcId="{B5EC7CBD-11C6-4F5A-82F5-DF7F326421DA}" destId="{26B58EE5-A84B-48EF-B6BA-1C504B9DEAAF}" srcOrd="2" destOrd="0" presId="urn:microsoft.com/office/officeart/2005/8/layout/hList2"/>
    <dgm:cxn modelId="{8A21FF80-A2D3-4394-AE49-771FFE165D5B}" type="presParOf" srcId="{E74113AB-B74C-45B3-A893-46219B56FE46}" destId="{B09FDCB4-E876-4B4C-943D-BC6A193C871E}" srcOrd="1" destOrd="0" presId="urn:microsoft.com/office/officeart/2005/8/layout/hList2"/>
    <dgm:cxn modelId="{D0F77384-F35D-4939-96E2-5EF1DE803042}" type="presParOf" srcId="{E74113AB-B74C-45B3-A893-46219B56FE46}" destId="{697A17C5-5981-4E9D-9D13-E2F5A788F370}" srcOrd="2" destOrd="0" presId="urn:microsoft.com/office/officeart/2005/8/layout/hList2"/>
    <dgm:cxn modelId="{9ACC90E7-BEA2-46B6-9292-71E2C48ED4BA}" type="presParOf" srcId="{697A17C5-5981-4E9D-9D13-E2F5A788F370}" destId="{5A8D4875-269C-4A83-AE19-FC69050331F0}" srcOrd="0" destOrd="0" presId="urn:microsoft.com/office/officeart/2005/8/layout/hList2"/>
    <dgm:cxn modelId="{E4EFF395-F9F9-4E07-896F-15493DCA1695}" type="presParOf" srcId="{697A17C5-5981-4E9D-9D13-E2F5A788F370}" destId="{2BDBA104-BE42-4D74-AC7F-7BDD0EDC6A6A}" srcOrd="1" destOrd="0" presId="urn:microsoft.com/office/officeart/2005/8/layout/hList2"/>
    <dgm:cxn modelId="{A7A2CBF4-EE1D-4D5F-AAE1-53322B92A9FF}" type="presParOf" srcId="{697A17C5-5981-4E9D-9D13-E2F5A788F370}" destId="{9F415048-7820-4B9D-BCF2-0D34BE8ED1F0}" srcOrd="2" destOrd="0" presId="urn:microsoft.com/office/officeart/2005/8/layout/h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056DA8-7CEF-443E-9790-344D91ABCDF3}">
      <dsp:nvSpPr>
        <dsp:cNvPr id="0" name=""/>
        <dsp:cNvSpPr/>
      </dsp:nvSpPr>
      <dsp:spPr>
        <a:xfrm>
          <a:off x="-381395" y="10555"/>
          <a:ext cx="11018837" cy="7810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2BEA15-3034-4D14-B7AC-3CBEE091C165}">
      <dsp:nvSpPr>
        <dsp:cNvPr id="0" name=""/>
        <dsp:cNvSpPr/>
      </dsp:nvSpPr>
      <dsp:spPr>
        <a:xfrm>
          <a:off x="-145134" y="186286"/>
          <a:ext cx="429565" cy="42956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A0DD93-87A6-4FF7-88D0-1AD941E81FD3}">
      <dsp:nvSpPr>
        <dsp:cNvPr id="0" name=""/>
        <dsp:cNvSpPr/>
      </dsp:nvSpPr>
      <dsp:spPr>
        <a:xfrm>
          <a:off x="520692" y="10555"/>
          <a:ext cx="4958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659" tIns="82659" rIns="82659" bIns="82659" numCol="1" spcCol="1270" anchor="ctr" anchorCtr="0">
          <a:noAutofit/>
        </a:bodyPr>
        <a:lstStyle/>
        <a:p>
          <a:pPr marL="0" lvl="0" indent="0" algn="l" defTabSz="889000">
            <a:lnSpc>
              <a:spcPct val="100000"/>
            </a:lnSpc>
            <a:spcBef>
              <a:spcPct val="0"/>
            </a:spcBef>
            <a:spcAft>
              <a:spcPct val="35000"/>
            </a:spcAft>
            <a:buNone/>
          </a:pPr>
          <a:r>
            <a:rPr lang="en-US" sz="2000" kern="1200" dirty="0"/>
            <a:t>Index</a:t>
          </a:r>
        </a:p>
      </dsp:txBody>
      <dsp:txXfrm>
        <a:off x="520692" y="10555"/>
        <a:ext cx="4958477" cy="781028"/>
      </dsp:txXfrm>
    </dsp:sp>
    <dsp:sp modelId="{62BB9C98-84F0-45E9-B290-86B340CD2A3E}">
      <dsp:nvSpPr>
        <dsp:cNvPr id="0" name=""/>
        <dsp:cNvSpPr/>
      </dsp:nvSpPr>
      <dsp:spPr>
        <a:xfrm>
          <a:off x="3242946" y="10555"/>
          <a:ext cx="6685619"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659" tIns="82659" rIns="82659" bIns="82659" numCol="1" spcCol="1270" anchor="ctr" anchorCtr="0">
          <a:noAutofit/>
        </a:bodyPr>
        <a:lstStyle/>
        <a:p>
          <a:pPr marL="0" lvl="0" indent="0" algn="l" defTabSz="800100">
            <a:lnSpc>
              <a:spcPct val="100000"/>
            </a:lnSpc>
            <a:spcBef>
              <a:spcPct val="0"/>
            </a:spcBef>
            <a:spcAft>
              <a:spcPct val="35000"/>
            </a:spcAft>
            <a:buNone/>
          </a:pPr>
          <a:r>
            <a:rPr lang="en-US" sz="1800" kern="1200" dirty="0"/>
            <a:t>Your searchable content available to the search engine</a:t>
          </a:r>
        </a:p>
        <a:p>
          <a:pPr marL="0" lvl="0" indent="0" algn="l" defTabSz="800100">
            <a:lnSpc>
              <a:spcPct val="100000"/>
            </a:lnSpc>
            <a:spcBef>
              <a:spcPct val="0"/>
            </a:spcBef>
            <a:spcAft>
              <a:spcPct val="35000"/>
            </a:spcAft>
            <a:buNone/>
          </a:pPr>
          <a:r>
            <a:rPr lang="en-US" sz="1800" kern="1200" dirty="0"/>
            <a:t>A table in general terms</a:t>
          </a:r>
        </a:p>
      </dsp:txBody>
      <dsp:txXfrm>
        <a:off x="3242946" y="10555"/>
        <a:ext cx="6685619" cy="781028"/>
      </dsp:txXfrm>
    </dsp:sp>
    <dsp:sp modelId="{9F5FD2E5-A169-46F1-BF9C-FAC171A72E61}">
      <dsp:nvSpPr>
        <dsp:cNvPr id="0" name=""/>
        <dsp:cNvSpPr/>
      </dsp:nvSpPr>
      <dsp:spPr>
        <a:xfrm>
          <a:off x="-381395" y="986841"/>
          <a:ext cx="11018837" cy="7810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8A252A-B56F-4C26-93E2-13541EEFC143}">
      <dsp:nvSpPr>
        <dsp:cNvPr id="0" name=""/>
        <dsp:cNvSpPr/>
      </dsp:nvSpPr>
      <dsp:spPr>
        <a:xfrm>
          <a:off x="-145134" y="1162572"/>
          <a:ext cx="429565" cy="42956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11E240-DE5D-4585-B16E-65868A725FB2}">
      <dsp:nvSpPr>
        <dsp:cNvPr id="0" name=""/>
        <dsp:cNvSpPr/>
      </dsp:nvSpPr>
      <dsp:spPr>
        <a:xfrm>
          <a:off x="520692" y="986841"/>
          <a:ext cx="4958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0" lvl="0" indent="0" algn="l" defTabSz="889000">
            <a:lnSpc>
              <a:spcPct val="100000"/>
            </a:lnSpc>
            <a:spcBef>
              <a:spcPct val="0"/>
            </a:spcBef>
            <a:spcAft>
              <a:spcPct val="35000"/>
            </a:spcAft>
            <a:buNone/>
          </a:pPr>
          <a:r>
            <a:rPr lang="en-US" sz="2000" kern="1200">
              <a:latin typeface="Segoe UI"/>
              <a:ea typeface="+mn-ea"/>
              <a:cs typeface="+mn-cs"/>
            </a:rPr>
            <a:t>Data Source</a:t>
          </a:r>
        </a:p>
      </dsp:txBody>
      <dsp:txXfrm>
        <a:off x="520692" y="986841"/>
        <a:ext cx="4958477" cy="781028"/>
      </dsp:txXfrm>
    </dsp:sp>
    <dsp:sp modelId="{60EF9148-0FE7-4DEC-8BBC-4F182B9B99B4}">
      <dsp:nvSpPr>
        <dsp:cNvPr id="0" name=""/>
        <dsp:cNvSpPr/>
      </dsp:nvSpPr>
      <dsp:spPr>
        <a:xfrm>
          <a:off x="3196744" y="986841"/>
          <a:ext cx="5156508"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43815" rIns="87630" bIns="43815"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mn-lt"/>
              <a:ea typeface="+mn-ea"/>
              <a:cs typeface="+mn-cs"/>
            </a:rPr>
            <a:t>Sources for your Index</a:t>
          </a:r>
        </a:p>
      </dsp:txBody>
      <dsp:txXfrm>
        <a:off x="3196744" y="986841"/>
        <a:ext cx="5156508" cy="781028"/>
      </dsp:txXfrm>
    </dsp:sp>
    <dsp:sp modelId="{DC2B4AAA-55BC-4C8F-9DE0-857B82E6865D}">
      <dsp:nvSpPr>
        <dsp:cNvPr id="0" name=""/>
        <dsp:cNvSpPr/>
      </dsp:nvSpPr>
      <dsp:spPr>
        <a:xfrm>
          <a:off x="-381395" y="1963127"/>
          <a:ext cx="11018837" cy="7810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94E6D8-B336-4EC8-BDB0-8CBD023CAEEB}">
      <dsp:nvSpPr>
        <dsp:cNvPr id="0" name=""/>
        <dsp:cNvSpPr/>
      </dsp:nvSpPr>
      <dsp:spPr>
        <a:xfrm>
          <a:off x="-145134" y="2138858"/>
          <a:ext cx="429565" cy="42956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3F30E2-0424-47E5-A286-49EB956263B3}">
      <dsp:nvSpPr>
        <dsp:cNvPr id="0" name=""/>
        <dsp:cNvSpPr/>
      </dsp:nvSpPr>
      <dsp:spPr>
        <a:xfrm>
          <a:off x="520692" y="1963127"/>
          <a:ext cx="4958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0" lvl="0" indent="0" algn="l" defTabSz="889000">
            <a:lnSpc>
              <a:spcPct val="100000"/>
            </a:lnSpc>
            <a:spcBef>
              <a:spcPct val="0"/>
            </a:spcBef>
            <a:spcAft>
              <a:spcPct val="35000"/>
            </a:spcAft>
            <a:buNone/>
          </a:pPr>
          <a:r>
            <a:rPr lang="en-US" sz="2000" kern="1200">
              <a:latin typeface="Segoe UI"/>
              <a:ea typeface="+mn-ea"/>
              <a:cs typeface="+mn-cs"/>
            </a:rPr>
            <a:t>Indexer</a:t>
          </a:r>
        </a:p>
      </dsp:txBody>
      <dsp:txXfrm>
        <a:off x="520692" y="1963127"/>
        <a:ext cx="4958477" cy="781028"/>
      </dsp:txXfrm>
    </dsp:sp>
    <dsp:sp modelId="{47605955-2A11-4889-91BB-1433F3AB69CF}">
      <dsp:nvSpPr>
        <dsp:cNvPr id="0" name=""/>
        <dsp:cNvSpPr/>
      </dsp:nvSpPr>
      <dsp:spPr>
        <a:xfrm>
          <a:off x="3228560" y="1994954"/>
          <a:ext cx="5156508"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659" tIns="82659" rIns="82659" bIns="82659" numCol="1" spcCol="1270" anchor="ctr" anchorCtr="0">
          <a:noAutofit/>
        </a:bodyPr>
        <a:lstStyle/>
        <a:p>
          <a:pPr marL="0" lvl="0" indent="0" algn="l" defTabSz="800100">
            <a:lnSpc>
              <a:spcPct val="100000"/>
            </a:lnSpc>
            <a:spcBef>
              <a:spcPct val="0"/>
            </a:spcBef>
            <a:spcAft>
              <a:spcPct val="35000"/>
            </a:spcAft>
            <a:buNone/>
          </a:pPr>
          <a:r>
            <a:rPr lang="en-US" sz="1800" b="0" kern="1200" dirty="0">
              <a:latin typeface="+mn-lt"/>
            </a:rPr>
            <a:t>Automate data import from supported data sources</a:t>
          </a:r>
        </a:p>
      </dsp:txBody>
      <dsp:txXfrm>
        <a:off x="3228560" y="1994954"/>
        <a:ext cx="5156508" cy="781028"/>
      </dsp:txXfrm>
    </dsp:sp>
    <dsp:sp modelId="{F92BE202-B20A-49AD-A212-1A443FBB2DF6}">
      <dsp:nvSpPr>
        <dsp:cNvPr id="0" name=""/>
        <dsp:cNvSpPr/>
      </dsp:nvSpPr>
      <dsp:spPr>
        <a:xfrm>
          <a:off x="-381395" y="2939412"/>
          <a:ext cx="11018837" cy="7810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48645D-ECCA-473F-B34F-DED3E7B1C959}">
      <dsp:nvSpPr>
        <dsp:cNvPr id="0" name=""/>
        <dsp:cNvSpPr/>
      </dsp:nvSpPr>
      <dsp:spPr>
        <a:xfrm>
          <a:off x="-145134" y="3115144"/>
          <a:ext cx="429565" cy="42956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0D89D0F-4FE8-4BD2-9E2D-133CFD2C4A1A}">
      <dsp:nvSpPr>
        <dsp:cNvPr id="0" name=""/>
        <dsp:cNvSpPr/>
      </dsp:nvSpPr>
      <dsp:spPr>
        <a:xfrm>
          <a:off x="520692" y="2939412"/>
          <a:ext cx="4958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0" lvl="0" indent="0" algn="l" defTabSz="889000">
            <a:lnSpc>
              <a:spcPct val="100000"/>
            </a:lnSpc>
            <a:spcBef>
              <a:spcPct val="0"/>
            </a:spcBef>
            <a:spcAft>
              <a:spcPct val="35000"/>
            </a:spcAft>
            <a:buNone/>
          </a:pPr>
          <a:r>
            <a:rPr lang="en-US" sz="2000" kern="1200" dirty="0">
              <a:latin typeface="Segoe UI"/>
              <a:ea typeface="+mn-ea"/>
              <a:cs typeface="+mn-cs"/>
            </a:rPr>
            <a:t>Knowledge Store</a:t>
          </a:r>
        </a:p>
      </dsp:txBody>
      <dsp:txXfrm>
        <a:off x="520692" y="2939412"/>
        <a:ext cx="4958477" cy="781028"/>
      </dsp:txXfrm>
    </dsp:sp>
    <dsp:sp modelId="{69CFE44F-5DE5-412D-AEF9-5D9D01DE7B8A}">
      <dsp:nvSpPr>
        <dsp:cNvPr id="0" name=""/>
        <dsp:cNvSpPr/>
      </dsp:nvSpPr>
      <dsp:spPr>
        <a:xfrm>
          <a:off x="3220954" y="2939412"/>
          <a:ext cx="5221738"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45720" rIns="91440" bIns="45720"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mn-lt"/>
              <a:ea typeface="+mn-ea"/>
              <a:cs typeface="+mn-cs"/>
            </a:rPr>
            <a:t>A data sink from the enrichment pipeline</a:t>
          </a:r>
        </a:p>
      </dsp:txBody>
      <dsp:txXfrm>
        <a:off x="3220954" y="2939412"/>
        <a:ext cx="5221738" cy="781028"/>
      </dsp:txXfrm>
    </dsp:sp>
    <dsp:sp modelId="{12A587D3-FB48-4C6D-B839-46EF41E03B16}">
      <dsp:nvSpPr>
        <dsp:cNvPr id="0" name=""/>
        <dsp:cNvSpPr/>
      </dsp:nvSpPr>
      <dsp:spPr>
        <a:xfrm>
          <a:off x="-381395" y="3915698"/>
          <a:ext cx="11018837" cy="7810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C7D6B5-BCD0-4B47-9C99-F274DB254793}">
      <dsp:nvSpPr>
        <dsp:cNvPr id="0" name=""/>
        <dsp:cNvSpPr/>
      </dsp:nvSpPr>
      <dsp:spPr>
        <a:xfrm>
          <a:off x="-145134" y="4091430"/>
          <a:ext cx="429565" cy="42956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B13FF80-C9DA-410A-A934-C23E1F91027E}">
      <dsp:nvSpPr>
        <dsp:cNvPr id="0" name=""/>
        <dsp:cNvSpPr/>
      </dsp:nvSpPr>
      <dsp:spPr>
        <a:xfrm>
          <a:off x="520692" y="3915698"/>
          <a:ext cx="4958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0" lvl="0" indent="0" algn="l" defTabSz="889000">
            <a:lnSpc>
              <a:spcPct val="100000"/>
            </a:lnSpc>
            <a:spcBef>
              <a:spcPct val="0"/>
            </a:spcBef>
            <a:spcAft>
              <a:spcPct val="35000"/>
            </a:spcAft>
            <a:buNone/>
          </a:pPr>
          <a:r>
            <a:rPr lang="en-US" sz="2000" kern="1200" dirty="0">
              <a:latin typeface="Segoe UI"/>
              <a:ea typeface="+mn-ea"/>
              <a:cs typeface="+mn-cs"/>
            </a:rPr>
            <a:t>Skillsets</a:t>
          </a:r>
        </a:p>
      </dsp:txBody>
      <dsp:txXfrm>
        <a:off x="520692" y="3915698"/>
        <a:ext cx="4958477" cy="781028"/>
      </dsp:txXfrm>
    </dsp:sp>
    <dsp:sp modelId="{3C776ACA-40D9-498D-8CEA-94E38236727E}">
      <dsp:nvSpPr>
        <dsp:cNvPr id="0" name=""/>
        <dsp:cNvSpPr/>
      </dsp:nvSpPr>
      <dsp:spPr>
        <a:xfrm>
          <a:off x="3234722" y="3915698"/>
          <a:ext cx="5384477" cy="781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659" tIns="82659" rIns="82659" bIns="82659" numCol="1" spcCol="1270" anchor="ctr" anchorCtr="0">
          <a:noAutofit/>
        </a:bodyPr>
        <a:lstStyle/>
        <a:p>
          <a:pPr marL="0" lvl="0" indent="0" algn="l" defTabSz="800100">
            <a:lnSpc>
              <a:spcPct val="100000"/>
            </a:lnSpc>
            <a:spcBef>
              <a:spcPct val="0"/>
            </a:spcBef>
            <a:spcAft>
              <a:spcPct val="35000"/>
            </a:spcAft>
            <a:buNone/>
          </a:pPr>
          <a:r>
            <a:rPr lang="en-US" sz="1800" kern="1200" dirty="0">
              <a:latin typeface="+mn-lt"/>
            </a:rPr>
            <a:t>A set of AI Enrichments</a:t>
          </a:r>
        </a:p>
      </dsp:txBody>
      <dsp:txXfrm>
        <a:off x="3234722" y="3915698"/>
        <a:ext cx="5384477" cy="7810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B58EE5-A84B-48EF-B6BA-1C504B9DEAAF}">
      <dsp:nvSpPr>
        <dsp:cNvPr id="0" name=""/>
        <dsp:cNvSpPr/>
      </dsp:nvSpPr>
      <dsp:spPr>
        <a:xfrm>
          <a:off x="1450538" y="0"/>
          <a:ext cx="3416546" cy="5637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97179" bIns="0" numCol="1" spcCol="1270" anchor="t" anchorCtr="0">
          <a:noAutofit/>
        </a:bodyPr>
        <a:lstStyle/>
        <a:p>
          <a:pPr marL="0" lvl="0" indent="0" algn="ctr" defTabSz="1555750">
            <a:lnSpc>
              <a:spcPct val="90000"/>
            </a:lnSpc>
            <a:spcBef>
              <a:spcPct val="0"/>
            </a:spcBef>
            <a:spcAft>
              <a:spcPct val="35000"/>
            </a:spcAft>
            <a:buNone/>
          </a:pPr>
          <a:r>
            <a:rPr lang="en-US" sz="3500" kern="1200" baseline="0"/>
            <a:t>Chunking</a:t>
          </a:r>
          <a:endParaRPr lang="en-US" sz="3500" kern="1200"/>
        </a:p>
      </dsp:txBody>
      <dsp:txXfrm>
        <a:off x="1450538" y="0"/>
        <a:ext cx="3416546" cy="563730"/>
      </dsp:txXfrm>
    </dsp:sp>
    <dsp:sp modelId="{0C69D717-E286-43AC-976A-2738E2B9143C}">
      <dsp:nvSpPr>
        <dsp:cNvPr id="0" name=""/>
        <dsp:cNvSpPr/>
      </dsp:nvSpPr>
      <dsp:spPr>
        <a:xfrm>
          <a:off x="549046" y="559973"/>
          <a:ext cx="4764866" cy="2664909"/>
        </a:xfrm>
        <a:prstGeom prst="rect">
          <a:avLst/>
        </a:prstGeom>
        <a:solidFill>
          <a:schemeClr val="dk2">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497179" rIns="142240"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Built-in Chunking Skill </a:t>
          </a:r>
          <a:r>
            <a:rPr lang="en-US" sz="2000" kern="1200" dirty="0">
              <a:latin typeface="Segoe UI"/>
              <a:cs typeface="Segoe UI"/>
            </a:rPr>
            <a:t>(updates to </a:t>
          </a:r>
          <a:r>
            <a:rPr lang="en-US" sz="2000" kern="1200" dirty="0">
              <a:solidFill>
                <a:srgbClr val="FFFFFF"/>
              </a:solidFill>
              <a:latin typeface="Segoe UI"/>
              <a:cs typeface="Segoe UI"/>
              <a:hlinkClick xmlns:r="http://schemas.openxmlformats.org/officeDocument/2006/relationships" r:id="rId1"/>
            </a:rPr>
            <a:t>split skill</a:t>
          </a:r>
          <a:r>
            <a:rPr lang="en-US" sz="2000" kern="1200" dirty="0">
              <a:latin typeface="Segoe UI"/>
              <a:cs typeface="Segoe UI"/>
            </a:rPr>
            <a:t>) and updates to index to manage chunks vs. full documents.</a:t>
          </a:r>
          <a:endParaRPr lang="en-US" sz="2000" kern="1200" dirty="0"/>
        </a:p>
        <a:p>
          <a:pPr marL="228600" lvl="1" indent="-228600" algn="l" defTabSz="889000">
            <a:lnSpc>
              <a:spcPct val="90000"/>
            </a:lnSpc>
            <a:spcBef>
              <a:spcPct val="0"/>
            </a:spcBef>
            <a:spcAft>
              <a:spcPct val="15000"/>
            </a:spcAft>
            <a:buChar char="•"/>
          </a:pPr>
          <a:r>
            <a:rPr lang="en-US" sz="2000" kern="1200" baseline="0"/>
            <a:t>Configure Chunking parameters (e.g. </a:t>
          </a:r>
          <a:r>
            <a:rPr lang="en-US" sz="2000" kern="1200" baseline="0">
              <a:latin typeface="Segoe UI Semibold"/>
            </a:rPr>
            <a:t>pages</a:t>
          </a:r>
          <a:r>
            <a:rPr lang="en-US" sz="2000" kern="1200" baseline="0"/>
            <a:t>, overlap window, etc)</a:t>
          </a:r>
          <a:endParaRPr lang="en-US" sz="2000" kern="1200"/>
        </a:p>
        <a:p>
          <a:pPr marL="228600" lvl="1" indent="-228600" algn="l" defTabSz="889000">
            <a:lnSpc>
              <a:spcPct val="90000"/>
            </a:lnSpc>
            <a:spcBef>
              <a:spcPct val="0"/>
            </a:spcBef>
            <a:spcAft>
              <a:spcPct val="15000"/>
            </a:spcAft>
            <a:buChar char="•"/>
          </a:pPr>
          <a:r>
            <a:rPr lang="en-US" sz="2000" kern="1200" baseline="0"/>
            <a:t>Automated via Indexer orchestration</a:t>
          </a:r>
          <a:endParaRPr lang="en-US" sz="2000" kern="1200"/>
        </a:p>
      </dsp:txBody>
      <dsp:txXfrm>
        <a:off x="549046" y="559973"/>
        <a:ext cx="4764866" cy="2664909"/>
      </dsp:txXfrm>
    </dsp:sp>
    <dsp:sp modelId="{D6263E4A-1CDC-4A9A-AA58-0538BE8650CA}">
      <dsp:nvSpPr>
        <dsp:cNvPr id="0" name=""/>
        <dsp:cNvSpPr/>
      </dsp:nvSpPr>
      <dsp:spPr>
        <a:xfrm>
          <a:off x="489823" y="-113899"/>
          <a:ext cx="1127461" cy="1127461"/>
        </a:xfrm>
        <a:prstGeom prst="rect">
          <a:avLst/>
        </a:prstGeom>
        <a:blipFill rotWithShape="1">
          <a:blip xmlns:r="http://schemas.openxmlformats.org/officeDocument/2006/relationships" r:embed="rId2">
            <a:extLst>
              <a:ext uri="{BEBA8EAE-BF5A-486C-A8C5-ECC9F3942E4B}">
                <a14:imgProps xmlns:a14="http://schemas.microsoft.com/office/drawing/2010/main">
                  <a14:imgLayer r:embed="rId3">
                    <a14:imgEffect>
                      <a14:saturation sat="200000"/>
                    </a14:imgEffect>
                    <a14:imgEffect>
                      <a14:brightnessContrast contrast="20000"/>
                    </a14:imgEffect>
                  </a14:imgLayer>
                </a14:imgProps>
              </a:ext>
            </a:extLst>
          </a:blip>
          <a:srcRect/>
          <a:stretch>
            <a:fillRect l="-1000" r="-1000"/>
          </a:stretch>
        </a:blipFill>
        <a:ln w="10795" cap="flat" cmpd="sng" algn="ctr">
          <a:noFill/>
          <a:prstDash val="solid"/>
        </a:ln>
        <a:effectLst/>
      </dsp:spPr>
      <dsp:style>
        <a:lnRef idx="2">
          <a:scrgbClr r="0" g="0" b="0"/>
        </a:lnRef>
        <a:fillRef idx="1">
          <a:scrgbClr r="0" g="0" b="0"/>
        </a:fillRef>
        <a:effectRef idx="0">
          <a:scrgbClr r="0" g="0" b="0"/>
        </a:effectRef>
        <a:fontRef idx="minor"/>
      </dsp:style>
    </dsp:sp>
    <dsp:sp modelId="{9F415048-7820-4B9D-BCF2-0D34BE8ED1F0}">
      <dsp:nvSpPr>
        <dsp:cNvPr id="0" name=""/>
        <dsp:cNvSpPr/>
      </dsp:nvSpPr>
      <dsp:spPr>
        <a:xfrm>
          <a:off x="7513905" y="0"/>
          <a:ext cx="3280156" cy="5637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97179" bIns="0" numCol="1" spcCol="1270" anchor="t" anchorCtr="0">
          <a:noAutofit/>
        </a:bodyPr>
        <a:lstStyle/>
        <a:p>
          <a:pPr marL="0" lvl="0" indent="0" algn="ctr" defTabSz="1555750">
            <a:lnSpc>
              <a:spcPct val="90000"/>
            </a:lnSpc>
            <a:spcBef>
              <a:spcPct val="0"/>
            </a:spcBef>
            <a:spcAft>
              <a:spcPct val="35000"/>
            </a:spcAft>
            <a:buNone/>
          </a:pPr>
          <a:r>
            <a:rPr lang="en-US" sz="3500" kern="1200" baseline="0"/>
            <a:t>Vectorization</a:t>
          </a:r>
          <a:endParaRPr lang="en-US" sz="3500" kern="1200"/>
        </a:p>
      </dsp:txBody>
      <dsp:txXfrm>
        <a:off x="7513905" y="0"/>
        <a:ext cx="3280156" cy="563730"/>
      </dsp:txXfrm>
    </dsp:sp>
    <dsp:sp modelId="{2BDBA104-BE42-4D74-AC7F-7BDD0EDC6A6A}">
      <dsp:nvSpPr>
        <dsp:cNvPr id="0" name=""/>
        <dsp:cNvSpPr/>
      </dsp:nvSpPr>
      <dsp:spPr>
        <a:xfrm>
          <a:off x="6542497" y="559973"/>
          <a:ext cx="4787023" cy="2664909"/>
        </a:xfrm>
        <a:prstGeom prst="rect">
          <a:avLst/>
        </a:prstGeom>
        <a:solidFill>
          <a:schemeClr val="dk2">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497179" rIns="142240"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Bring-Your-Own Azure OpenAI Endpoint</a:t>
          </a:r>
          <a:endParaRPr lang="en-US" sz="2000" kern="1200"/>
        </a:p>
        <a:p>
          <a:pPr marL="228600" lvl="1" indent="-228600" algn="l" defTabSz="889000">
            <a:lnSpc>
              <a:spcPct val="90000"/>
            </a:lnSpc>
            <a:spcBef>
              <a:spcPct val="0"/>
            </a:spcBef>
            <a:spcAft>
              <a:spcPct val="15000"/>
            </a:spcAft>
            <a:buChar char="•"/>
          </a:pPr>
          <a:r>
            <a:rPr lang="en-US" sz="2000" kern="1200" baseline="0" dirty="0"/>
            <a:t>Support for other embedding model REST endpoints through custom skill</a:t>
          </a:r>
          <a:endParaRPr lang="en-US" sz="2000" kern="1200" dirty="0"/>
        </a:p>
        <a:p>
          <a:pPr marL="228600" lvl="1" indent="-228600" algn="l" defTabSz="889000">
            <a:lnSpc>
              <a:spcPct val="90000"/>
            </a:lnSpc>
            <a:spcBef>
              <a:spcPct val="0"/>
            </a:spcBef>
            <a:spcAft>
              <a:spcPct val="15000"/>
            </a:spcAft>
            <a:buChar char="•"/>
          </a:pPr>
          <a:r>
            <a:rPr lang="en-US" sz="2000" kern="1200" baseline="0"/>
            <a:t>Query Vectorization capability</a:t>
          </a:r>
          <a:endParaRPr lang="en-US" sz="2000" kern="1200"/>
        </a:p>
      </dsp:txBody>
      <dsp:txXfrm>
        <a:off x="6542497" y="559973"/>
        <a:ext cx="4787023" cy="2664909"/>
      </dsp:txXfrm>
    </dsp:sp>
    <dsp:sp modelId="{5A8D4875-269C-4A83-AE19-FC69050331F0}">
      <dsp:nvSpPr>
        <dsp:cNvPr id="0" name=""/>
        <dsp:cNvSpPr/>
      </dsp:nvSpPr>
      <dsp:spPr>
        <a:xfrm>
          <a:off x="6390535" y="-151714"/>
          <a:ext cx="1127461" cy="1127461"/>
        </a:xfrm>
        <a:prstGeom prst="rect">
          <a:avLst/>
        </a:prstGeom>
        <a:blipFill rotWithShape="1">
          <a:blip xmlns:r="http://schemas.openxmlformats.org/officeDocument/2006/relationships" r:embed="rId4"/>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6FE63-BFC4-E9D0-2ED7-379EFF3115A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DDA879-27DF-F06B-D38F-21A75CFC7A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B9D9E87-CB0C-4208-8556-CA45E2CC1443}" type="datetimeFigureOut">
              <a:rPr lang="en-US" smtClean="0"/>
              <a:t>11/28/2023</a:t>
            </a:fld>
            <a:endParaRPr lang="en-US"/>
          </a:p>
        </p:txBody>
      </p:sp>
      <p:sp>
        <p:nvSpPr>
          <p:cNvPr id="4" name="Footer Placeholder 3">
            <a:extLst>
              <a:ext uri="{FF2B5EF4-FFF2-40B4-BE49-F238E27FC236}">
                <a16:creationId xmlns:a16="http://schemas.microsoft.com/office/drawing/2014/main" id="{FB9ECF48-469E-A2AE-3051-2F4DE5FBA2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693E3-4554-FBDB-D81D-0D55ACD715D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A1A336-1CE4-4108-B495-80377F665FB7}" type="slidenum">
              <a:rPr lang="en-US" smtClean="0"/>
              <a:t>‹#›</a:t>
            </a:fld>
            <a:endParaRPr lang="en-US"/>
          </a:p>
        </p:txBody>
      </p:sp>
    </p:spTree>
    <p:extLst>
      <p:ext uri="{BB962C8B-B14F-4D97-AF65-F5344CB8AC3E}">
        <p14:creationId xmlns:p14="http://schemas.microsoft.com/office/powerpoint/2010/main" val="5880595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1-15T09:05:36.0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463'0,"-427"2,48 8,22 2,208-11,-159-2,-131 2,47 9,-22-2,-22-5</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0:24.143"/>
    </inkml:context>
    <inkml:brush xml:id="br0">
      <inkml:brushProperty name="width" value="0.05" units="cm"/>
      <inkml:brushProperty name="height" value="0.05" units="cm"/>
    </inkml:brush>
  </inkml:definitions>
  <inkml:trace contextRef="#ctx0" brushRef="#br0">426 290 784,'-8'-1'885,"-1"-1"-107,1 1-36,-1 0-34,-6-1 466,0 0-92,0 0-86,1 0-75,-1-1-67,0 0-58,0 1-51,0-2-40,-22 2 827,14 5-447,-1 0 74,21-2-710,2-1-73,1 0-66,1 0-59,1 1-52,0-1-44,5 0 49,-1 0-108,10 0 62,-11 0-79,-2 0 37,77-8 438,-1 0-117,0 1-103,0 0-89,32-2-24,0 1-107,253-14-6,-286 19-48,1-1 44,336-13 95,-54 2-83,180-1-2,-454 15-100,661-8 102,-250 16-8,286 12 89,-622-16-172,17 0 48,-60 2-103,-20 1-100,-50-1 16,0 0-38,1 7-194,-37-6 213,-2 1-44,-4 1-56,-4 2-68,-3-8 232,-1 0-1,1-1 1,-1 1-1,1 0 1,-1-1 0,0 1-1,1-1 1,-1 1-1,0-1 1,0 0 0,0 1-1,0-1 1,0 0-1,-1 1 1,1-1 0,0 0-1,-1 0 1,1 0-1,0 0 1,-1 0 0,1-1-1,-1 1 1,0 0-1,1-1 1,-1 1 0,1-1-1,-1 1 1,0-1 69,-13 4-528,1-2-41,1 0-51,3-2-63,0 1 30,1-1 39,-10 1-617,6-1 348,2 0 59,5 0 370,1 0-33,-4-1-411,4 1 403,1-1-33,-1 1-36,1-1-39,-1 1-40,0-1-45,1 0-199,-1 0-69,0 0-259,-4-1-681</inkml:trace>
  <inkml:trace contextRef="#ctx0" brushRef="#br0" timeOffset="1517.32">119 242 656,'-6'0'1366,"0"0"-163,0 1-104,-1 0-96,1 0-90,0 0-81,0 0-74,0 1-68,0-1-119,0 1-43,-4 2 422,0-1-161,-16 10 1232,16-6-1100,9-7-628,1 0-46,0-1-44,0 1-38,0-1 66,1-1-102,1 0-68,3-3 15,-2 4-14,38-12 266,-1 1-65,-1 0-70,-1 0-43,38-12 46,-7 1-103,88-33 42,57-13-49,-156 51-50,-40 14-12,1-2-1,-1 0 0,9-6-23,-29 12-81,-24 0-166,-21 21-381,31-13 371,0-1-46,0 1-57,0 0-73,0-1-86,0 0-100,-2 1-216,7-2 243,1 0 64,1-1-43,1 0 55,0 0-42,1 0-48,-1 0-53,2 0 65,0-1-44,0 1-48,0 0-51,0 0-54,1-1-58,-1 1-60,0 1-64,0 0-175,-4 4-532</inkml:trace>
  <inkml:trace contextRef="#ctx0" brushRef="#br0" timeOffset="1989.41">85 277 400,'-1'0'479,"0"-1"-139,-2 1 248,1-1-170,-1 0-52,-8-1 683,6 2-561,0-1 105,3 1-245,-1 0 42,1 0 1,0 0 42,0 0 49,1-1 52,-1 1 58,0 0 61,1 0 66,0 0 71,6 0 204,1 0-112,0 1-106,-1-1-100,1 0-94,0 1-86,-1-1-81,1 1-74,2 0 25,0 0-114,0 1-96,0-1-79,3 2-64,19 7-190,-17-4 166,-7-3 46,0 0 34,0 0 40,0 0 45,80 50-36,-28-17-47,43 19-71,-81-45 8,1-2 0,0 0 0,0-1 0,0-1 0,1-1 0,0-2 1,5 1-9,59 1 50,-30-7 28,-68 3 84,-12-1-96,-42 5-22,48-2-36,-23 3 17,15-4-72,25-2-748,1 0 58,1-1 50,0 0 42,3 0-82,0 0 36,10-3-1294,-7 2 1033,-1 0-70,-3 1 285,-1 0-57,0 0 221,0 0-43,0 1-39,0-2-33,0 1-176,1 0-33,4-4-1912,-7 5 2793</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0:52.180"/>
    </inkml:context>
    <inkml:brush xml:id="br0">
      <inkml:brushProperty name="width" value="0.05" units="cm"/>
      <inkml:brushProperty name="height" value="0.05" units="cm"/>
    </inkml:brush>
  </inkml:definitions>
  <inkml:trace contextRef="#ctx0" brushRef="#br0">21 7 7652,'-2'2'170,"1"-1"82,0 0 73,0 0 68,0 0 63,0 0 56,0 0 50,-1-1 44,1 1 170,0 0 46,-1 0 628,-1 1 2030,2-1-2461,0-1-53,0 0-185,1 0-65,0 0-77,-1 0-89,1 0-101,0-1-112,0 1-125,0 0-156,1 0-36,-1 0-37,0-1-38,0 1-40,1 0-41,-1-1-43,0 1-45,1 0-45,-1 0-47,1-1-50,-1 1-49,1-1-52,-1 1-54,1 0-54,0-1-56,-1 1-58,1-1-58,0 1 272,-1-1 200,0 1-34,1 0-168,-1-1-90,1 1 13,-1-1-83,0 0-94,0 1-103,0-1-108,1 0-103,-1 0-89,0 0-80,0 0-330,0 0-78,0 0-400,0-2-109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0:27.808"/>
    </inkml:context>
    <inkml:brush xml:id="br0">
      <inkml:brushProperty name="width" value="0.05" units="cm"/>
      <inkml:brushProperty name="height" value="0.05" units="cm"/>
    </inkml:brush>
  </inkml:definitions>
  <inkml:trace contextRef="#ctx0" brushRef="#br0">210 2370 848,'0'-5'354,"1"0"-2,-1 0 34,1 0 34,-1-6 509,0 1 104,-2-3 318,0 1 91,1 9-1028,0 1 0,0-1 0,0 0-1,0 0 1,-1 1 0,1-1 0,-1 1-1,1-1 1,-1 1 0,0-1 0,0 1-414,1 2 612,0-1-112,0 0-98,-1 0-84,0-1-84,0 0-49,-1 0 51,-5-4 226,6 4-263,1 1 62,-3 0 169,1 0-62,0 2-59,0 0-51,1 2-47,0 0-41,-1 4 69,1 4-78,1 5-5,0-11-60,1-3-42,-1 26 172,-1-1-41,-4 26 83,-1-5-108,-19 64 119,5-19-144,4 0-47,-16 190 39,15-107-13,11-100-59,4-43-6,0 0 39,4-40-41,0 0-56,1-2-59,0-1-57,1-1-59,0-1-59,0 0-59,0-1-61,1-5-193,1 0-101,-1 0-103,0 0-103,0 0-105,0 1-107,-1 0-106,-1 1-108,2-6-288,-2 7 459,0 3 121,0 0-79,-1 5 369,1-1-39,-1 0-97,1-1-35,2-17-1886</inkml:trace>
  <inkml:trace contextRef="#ctx0" brushRef="#br0" timeOffset="445.6">146 2477 544,'-1'-5'652,"-1"-9"399,-1 0-55,1 1-46,-1 0-38,-3-10 663,3 13-679,-1-1 1,0 1-1,-1 1 1,-1-3-897,3 6 361,-1 1 51,1-1-9,0 1 44,0 0 48,0-1 52,1 1 53,0-1 57,0 1 60,2 1 63,0 3-41,0 1-99,-1 0-60,0 1-109,1 0-98,0 1-87,1 0-75,0 0-66,0 0-54,1 1-43,0 0-32,3 4-56,-3-5 47,-1 0 42,0-1 62,23 31 145,-2 3-55,7 19 20,-1 2-67,20 37 57,-30-58-124,-1 0 0,6 22-87,40 146 160,-12-31 5,-42-138-111,-3-10 36,-6-23-61,-1-3-52,0 0-46,0-2-36,-3-5-155,-2-11-473,5 15 588,0-1-112,0 0-89,0 0-88,0 0-89,-1 0-90,1 0-89,0 0-90,-1 0-91,0 0-90,0 1-92,0-1-91,0 0-92,-1 1-93,0-1-92,0 0-94,0 0-92,1 4 703,0-1-37,-5-7-2036,6 10 2967</inkml:trace>
  <inkml:trace contextRef="#ctx0" brushRef="#br0" timeOffset="695.15">77 2969 240,'-2'-2'66,"1"0"59,0 0 56,-1 0 52,1 0 50,0 1 45,0-1 42,1 0 39,-1 0 127,0 0 44,0-2 689,1-1 388,0-1 926,1 2-1323,1 1-70,-1 1-452,0 0-56,0 0-165,1 0-53,-1 0-58,1 1-66,-1-1-110,1 1-53,-1-1-56,1 1-60,0-1-63,-1 1-67,1-1-70,0 1-74,12-9 940,1 1-118,0 1-107,0 1-94,0 0-81,0 1-70,1 0-58,0 0-44,5-1 8,30-15 158,-41 17-306,13-10 112,-16 10-120,-1 0-38,0 1-45,1 0-54,-1 0-65,0 0-76,1 0-86,0 1-97,0 0-107,4-1-1066,-8 2 1038,0 1-49,0-1 55,-1 1-56,1-1-65,-1 1-75,0 0 65,0-1-64,0 1-70,0-1-75,0 1-81,0-1-86,1 1-92,-1-1-97,-2 2 1204,1 0-581,0-1 49,1 0-74,1 0-288</inkml:trace>
  <inkml:trace contextRef="#ctx0" brushRef="#br0" timeOffset="1117.28">694 2599 2977,'-2'0'1368,"-1"-1"-161,1 1-72,0-1-70,-1 1-67,1 0-67,0 0-63,0-1-62,0 1-59,1 1-57,-1-1-55,1 0-53,-1 0-51,1 1-49,0-1-45,0 1-45,0 1 148,0-1-98,0 1-91,1 1-81,0-1-115,0 0-38,1 3 22,1 1-104,1 0-73,10 26 214,0 0-41,8 34 36,-5-6-95,16 79 24,-20-65-23,-3 2 0,-3-1 0,-4 22-77,0-25 74,-1-57-67,6 26 66,0-17-78,-1-8-63,2-4-78,-7-11-249,0-1 34,0-1-277,0-2-10,1-4-181,-1 0 30,0 2 204,-1 2 22,0 0-101,0-1-12,0-1-61,1 0-54,-1 0-47,0-1-223,1 0-48,-1-2-272,1-2-754,0 7 1554,0-14-2965,0 16 3337</inkml:trace>
  <inkml:trace contextRef="#ctx0" brushRef="#br0" timeOffset="1530.97">663 2749 3666,'-8'-4'1084,"2"-1"-46,1 1-46,1-1-45,0 1-45,2-1-43,0-1-44,0 1-42,2 0-42,0-1-41,1 1-42,0-1-39,1 1-39,0-1-39,1 1-38,0-1-38,1 1-36,0-1-37,0 1-35,0 0-35,1 0-34,0 1-33,6-5 145,0 1-125,0 1-123,-1 2-115,1 1-111,29-6 288,2 4-95,-4 2-64,-20 4-32,0 0 0,0 1 0,17 3-13,-33-3 1,1-1 0,-1 1 0,0 0 0,1 0 0,-1 0 0,0 0 0,0 0 0,0 0 0,0 1 0,0-1 0,0 1 0,0-1 0,0 1 0,-1 0 0,1 0 0,0 0 0,-1 0 0,0 0 0,1 0 0,-1 0 0,0 0 0,0 0 0,0 1 0,-1-1 0,1 0 0,0 1 0,-1-1 0,0 0 0,1 1 0,-1 1-1,1 11 6,-1-1 1,-1 0-1,0 1 0,-1-1 1,0 1-7,-1 4 2,1-5 4,-2 0-1,0-1 0,0 1 1,-2-1-1,1 0 0,-2-1 1,0 1-1,0-1 0,-1 0 1,0-1-1,-1 0 0,-1 0 1,1-1-1,-2 0 0,1-1 1,-1 0-1,-1-1 0,-7 4-5,7-4-32,-19 6 94,21-11-76,0 0-46,3-2-20,0 0-40,0 0-45,1-1-53,5 0-14,1 0-50,0 0-96,0 0 76,0 0 67,0 0 54,0 0 47,1 0 34,1-2-221,-1 1 170,1 0-75,2-4-736,0 1 74,0 0 60,0-1 44,12-11-2025,-9 9 1532,-3 3 513,1 0-53,-1 0-63,1 0-73,0 0 25,0 0-41,1-2-235,3-2-647</inkml:trace>
  <inkml:trace contextRef="#ctx0" brushRef="#br0" timeOffset="1923.38">1133 2550 5731,'-3'-4'676,"0"-1"75,-1 0 96,0-1 46,-11-11 1892,7 10-1444,4 4-708,0 1-36,-2 1 130,1 1-93,3 1-124,0 1-85,1 0-77,0 0-68,1 1-60,-1 0-52,1 0-44,0 1-35,0 2 2,2 6 40,-2-9-57,0-1 41,5 19 173,1 0-88,4 5-52,6 13-45,8 20-2,-20-50-87,26 80 75,3 12 48,-4 8-137,-17-61 26,9 66 94,-16-80-122,-2 0-43,-3-29 81,0-2-98,-1 0-91,0-2-84,-1 0-77,0-1-70,1 0-63,-1-1-55,-2-2-401,1-1-95,0-2-286,1-4-714,2 0 195,0 6 968,0 2 324,0-1-44,0 0-54,1 0-64,-1 1 103,0 0-48,1-3-417,-1 1-103,0-2-326,1-3-844,-1 9 2304</inkml:trace>
  <inkml:trace contextRef="#ctx0" brushRef="#br0" timeOffset="2294.95">1096 2612 1393,'-4'-13'1916,"1"4"-274,2 3-586,0 2-213,1-1-45,1 0-173,0 0-42,1 0-49,0-2-53,0 1 149,1 0-36,0 0-34,0 0-34,4-6 430,1 2-120,0-1-111,1 1-103,1 1-92,1 0-85,-2 2-144,0 1-42,0 0-40,0 0-34,3 0-2,-1 0-34,3-1-5,7-2 31,16 1 78,-33 7-230,0 1-1,1 0 0,-1 1 0,0-1 0,1 1 0,-1-1 0,2 2-22,-4-1 7,1-1 0,-1 1-1,0 0 1,0 0-1,1 1 1,-1-1 0,0 0-1,0 1 1,0-1-1,0 1 1,0 0 0,0 0-7,0 0 2,-1 1 0,0-1 0,1 0 0,-1 0 0,0 1 0,0-1 0,0 0 0,0 1 0,-1-1 0,1 1 0,-1-1 0,1 1 0,-1 1-2,1 6 4,-1 0-1,-1 0 1,1 0-1,-1 0 1,-1 0-1,-1 3-3,0-3 10,0 0 1,-1 0-1,-1 0 0,0-1 0,0 0 0,0 0 0,-2 0 0,1-1 0,-3 3-10,-26 36 21,-4 3 12,11-20-68,26-28-41,-1 2 44,-2 2 31,1-2-31,1-1-44,0-1-67,1-1 12,1 0-39,-1-1-44,1 0-49,0-1-53,0 0-58,1-1-64,0-2-68,0-1-700,2-2 80,1-1-70,6-10-1517,-5 12 1707,-1 1 203,0 1-40,0 0-47,0 0-57,0 0 37,1 1-52,0-2-242,3-2-659,-7 7 1749</inkml:trace>
  <inkml:trace contextRef="#ctx0" brushRef="#br0" timeOffset="2711.55">1538 1854 3794,'-4'-5'703,"0"0"-42,0 0-39,1-1-38,-3-5 482,1-1-120,-1-2 60,2-1-111,-1-4 82,-1-9 411,3 10-457,-1 1 89,1 6-265,-1 0 80,5 14-150,-1 0-120,1 1-109,-1 0-97,0 0-148,0 1-43,0-1-40,0 1-34,1 5 7,-1 1-84,0 12-88,0-14 64,1 0 64,-1-1 104,10 87 82,2-2-93,11 36-45,23 80-27,-25-118-15,-19-87-59,5 27 5,9 38 37,-4 1 34,-9-53-45,-2 0 1,0 1 0,-1-1-1,-1 0 1,-1 0 0,0 0 0,-1 2-36,0-10 85,-2-1-81,-2-2-92,0-2-104,1-3-117,2-1 107,1-2-34,1-1-34,0-1-38,0-1-37,0-2-41,2-1-415,-2-11-1006,3 8 637,-1 2 254,1 1-97,-1 3 398,1 0-43,0 0-47,0 1-53,0-1-56,0 1-62,0-1-66,0 1-71,1 0-19,-1 0-86,1-1-305,0-3-804</inkml:trace>
  <inkml:trace contextRef="#ctx0" brushRef="#br0" timeOffset="3066.89">1861 2365 2769,'0'-4'740,"0"1"-40,-1-5 600,-1-1 122,0-5 547,-1-2 150,2 11-1376,1 0 34,-1 0 473,0 3-110,0 2-620,0 1-39,1 0-40,-1 1-47,1 1-48,-1-1-52,1 1-57,0 0-59,-1-1-64,1 1-67,0-1-69,0 0-75,5 28 468,2-1-95,3-1-80,1-1-66,6 4-38,-7-17-66,-1 0 0,2-1 1,0 0-1,11 10-26,10 5 83,-22-21 19,0-3-65,-1-3-68,0-1-72,-1-3-76,0-1-80,0-2-83,-1-1-87,-1-1-91,0-1-95,-1 0-98,-1 0-102,0-1-107,-1 1-108,0 0-114,-2 1-118,0 3 453,0-2-185,2-9-1261,-1 7 816,-1 2 337,1 0-92,1-9-1903</inkml:trace>
  <inkml:trace contextRef="#ctx0" brushRef="#br0" timeOffset="3422.21">2125 2198 848,'1'-2'484,"0"0"-137,0-3 179,3-8 631,-3 8-761,0 1 46,0-1 85,-1 1 85,0-1 101,0 1 119,0 3-366,0-1 36,-1 0 39,1 1 41,-1-1 42,0 1 45,0 0 47,0 0 49,-1 0-5,0 1-75,0 0-73,0 2-65,0-1-63,0 2-57,0-1-52,1 1-49,-2 2 108,1 0-92,1 1-26,0 0 32,-1 9 50,1 0-48,-1-1-44,1 1-40,0-1-38,0 1-35,-1 13 103,1-2-116,0 0-63,1-2-49,1 45 46,1-39-42,4 47 39,-2 0-37,-1 16-21,1 46-18,3 98 31,9-12 43,-15-214-151,-1 26 162,-2-25-128,-3-1-90,2-7 3,-1-1-37,0-1-42,-2-2-48,6 0-75,-1 0-59,1 0-54,0 0-49,0 0-45,0-1-40,2 1-650,-1-1 160,1 0-53,5-2-2303,-3 2 1806,-1 0 96,-2 0 921,0 1-37,1-1-697,-1 1-101,1-1-69,0 0-627</inkml:trace>
  <inkml:trace contextRef="#ctx0" brushRef="#br0" timeOffset="4651.85">2859 1403 1393,'-4'-32'2969,"4"27"-2492,-1 0 0,1 0-1,0 0 1,-1 1-1,0-1 1,0 0-1,-1 1 1,1-1 0,-1 1-1,0-1 1,0 1-1,-1 0 1,1 0-1,-2-1-476,2 2 449,-1-1-36,-10-10 839,8 8-686,0 0 199,3 4-297,1 1 52,1 1 62,1 0 70,1 3-337,-1 2-91,0 1-45,-1 5-21,0 1 46,5 19 51,0 0-50,0 0-43,1 0-37,5 35 48,11 89 28,-15-101-95,12 41-106,43 125 98,-21-81-27,-29-99-43,14 59 55,-23-84-35,-1 0 1,0-1-1,-2 8-48,0-13 154,-1-2-85,0-3-79,-1-1-74,0-2-69,0-2-65,-1-1-59,0-1-55,-1-4-297,-1-1-106,2 1 127,0 0-38,0-5-727,1 4 187,-1-12-1475,3 13 1665,-1 1 119,1 0-60,0 1-75,0-1-89,0 1 72,0 1-90,0-2-311,0-2-813</inkml:trace>
  <inkml:trace contextRef="#ctx0" brushRef="#br0" timeOffset="4932.96">2754 2067 3249,'-10'2'1544,"0"0"112,1 0-134,0 0 98,1 0 102,-1 2 110,12-5-1211,-1 0-105,0 0-96,1 0-85,0 1-78,-1-1-66,1 0-58,0 1-49,2-2-24,9-1-102,-10 1 99,1 0 88,30-19 78,0-1-73,8-5-35,24-9-8,-37 20-126,13-8 89,-10 5-40,-10 6-70,-4 4-53,0 1-70,-2 1-37,0 2-68,1 1-77,0 1-86,-4 1-132,-1 0-114,-6 1 287,0 1-39,0-1-42,0 0-47,0 0-49,-1 0-53,1 1-57,0-1-59,-1 0-64,1 1-67,-1-1-70,0 1-74,-2-1-1,-1 1-97,1-1-318,1 1-820,-5 0 2247</inkml:trace>
  <inkml:trace contextRef="#ctx0" brushRef="#br0" timeOffset="5714.36">3249 1302 2017,'-4'-13'925,"0"0"42,0-1 152,-8-41 3458,10 40-3404,1-1-55,-1 4-217,-6-12 1126,5 17-1352,-1 0 59,1 2-143,4 5-258,-1 1-44,1 1-40,0 0-38,1 2 114,0 2-111,0 0-93,1 0-50,3 17 48,-4-13-5,4 40 109,-2 1-71,2 7-42,5 29 0,25 89-12,37 87-16,-9-33 13,-29-96 43,-27-101-84,-2-19 113,1-12-38,-6-3-115,0 0 0,0-1-1,1 1 1,-1-1 0,0 1-1,0-1 1,-1 0 0,1 1-1,0-1 1,0 0 0,-1 0-1,1 0-13,7-26 64,-1-4-33,1-11-20,6-35-29,3-1-47,7 3-48,9 6-46,-12 41 82,-18 25 63,1 0 0,-1-1-1,0 1 1,0-1-1,0 0 1,2-4 14,-5 8-2,0 1-1,0 0 1,0 0 0,0 0 0,0 0-1,1 0 1,-1 0 0,0 0-1,0 0 1,0 0 0,0 0 0,1-1-1,-1 1 1,0 0 0,0 0 0,0 0-1,1 0 1,-1 0 0,0 0 0,0 0-1,0 0 1,0 0 0,1 1 0,-1-1-1,0 0 1,0 0 0,0 0 0,0 0-1,1 0 1,-1 0 0,0 0 0,0 0-1,0 0 1,0 0 0,0 1-1,1-1 1,-1 0 0,0 0 0,0 0-1,0 0 1,0 0 0,0 1 0,0-1-1,0 0 1,0 0 0,0 0 0,1 0-1,-1 1 1,0-1 0,0 0 0,0 0-1,0 0 1,0 0 0,0 1 0,0-1 2,11 19-63,7 10-6,-12-24 64,0 1 0,-1 0 0,0 0 0,0 1 1,0 0-1,-1 0 0,0 0 0,-1 0 0,1 1 5,25 72-48,-18-48 41,48 143 106,-57-168-117,0-1 54,0 0 71,-2-10-133,0-1-29,0-1-35,0-1-78,0 1-62,1-1-67,-1-1-73,0 1-80,1 0-86,0-1-91,0 1-97,0 0-104,1 0-109,0-1-116,0 1-122,1 1-127,-1 2 601,0 1-34,0 0-35,0 0-35,0 0-38,0 0-36,0 0-211,1 0-106,0-1-343,1-1-884</inkml:trace>
  <inkml:trace contextRef="#ctx0" brushRef="#br0" timeOffset="6140.98">3885 1625 2609,'-3'-1'825,"1"0"36,-1 1 135,-5-1 3073,6 2-3024,0 0-49,1 0-26,-1 0-87,1 1-103,0 1-122,0-2-380,0 1-37,1-1-38,-1 1-42,1 0-43,-1 0-46,1 0-47,0 0-50,-2 11 794,0 0-108,0-1-98,1 1-93,0 0-83,0 1-76,1-1-67,0 0-60,0 2-31,1 1-60,2 10-36,11 35-69,-8-43 63,2 0 67,22 50-65,2 8 16,-6-28 34,-22-41-95,-2 10 82,-4-10-115,0-5-29,0-1-35,-1 0-42,0-1-48,0-1-54,0-1-60,-1-1-68,0-1-72,-1-1-146,0 0-36,0 0-38,1 1-37,-3-3-320,1 0-74,-1 1-77,1-2-80,1 0-79,-1 0-84,1-1-85,1-2-87,2 6 590,0 1-79,1-3-288,-2-2-760</inkml:trace>
  <inkml:trace contextRef="#ctx0" brushRef="#br0" timeOffset="6405.91">3778 1538 2753,'0'-2'605,"0"-1"-34,1-2 481,0-1-100,1-1-81,0-1 147,1-13 1235,-3 16-1534,-1-1 41,1 3-184,-1 0 35,-1 0 40,0 1 46,1 0-341,-1 1-60,1 0-55,0 1-52,0 0-50,0 0-45,0 0-44,1 0-40,0 1-36,0 0-34,2 0-147,1 1-97,2 0-71,-2-2-236,-1 1 47,1 0 38,-1 0 34,4 1-593,3 2-442,-4-2 445,-2-1 489,0 1-48,1-1-308,-2 0 427,0-1-37,1 1-406,1 0-69,1 0-273,2-1-728</inkml:trace>
  <inkml:trace contextRef="#ctx0" brushRef="#br0" timeOffset="6846.73">4325 1481 3442,'0'-1'367,"-1"-1"98,1 0 84,0 0 71,0-1 431,-1 0-103,0-4 1327,-1 3-963,1 3-688,0-1-56,0 1-70,-1 0-79,0 1-93,0 0-105,0 0-116,0 0-100,1 1-34,-3 0 405,1-1-41,-1 1-40,0-1-35,-2 1 72,0 0-63,0 0-53,-1 2-42,-7 5 149,-2 0-39,-21 18 179,0 2-140,9-7-140,2 2-40,22-18-122,-1-1-1,1 1 0,0 0 1,1 0-1,-1 1 0,1-1 1,0 1-1,0 0 1,-1 4-21,2-5 8,1 0 1,-1-1-1,1 1 1,0 0-1,1-1 1,-1 1-1,1 0 1,0 0 0,0 0-1,0 2-8,1-5 4,-1-1 0,1 1 1,0-1-1,-1 1 0,1-1 0,0 1 0,0-1 1,0 0-1,0 1 0,0-1 0,0 0 0,0 0 0,1 0 1,-1 1-1,0-1 0,1-1 0,-1 1 0,1 0 0,-1 0 1,1 0-1,-1-1 0,1 1 0,-1-1 0,1 1 0,0-1 1,-1 0-1,1 0 0,0 0 0,-1 0 0,2 0-4,35 2 30,-1-1 0,11-3-30,-24 0 14,0 1 0,0 1 0,0 1 0,0 1 0,0 1 0,16 5-14,-37-7 0,-1-1 0,0 1 0,-1 0-1,1-1 1,0 1 0,0 0 0,0 0-1,0 0 1,0 1 0,-1-1 0,1 0-1,-1 1 1,1-1 0,-1 0 0,1 1-1,-1 0 1,0-1 0,0 1 0,0 0-1,0 0 1,0 0 0,0 0 0,0 0-1,-1 0 1,1 0 0,-1 0 0,1 0-1,-1 0 1,0 0 0,0 0 0,1 0-1,-2 0 1,1 0 0,0 0 0,-1 2 0,0-1-1,1 1 1,-2-1 0,1 0 0,0 0 0,-1 0-1,1 0 1,-1 0 0,0 0 0,0-1 0,0 1-1,0-1 1,-1 1 0,1-1 0,-1 0 0,1 0-1,-1 0 1,0 0 0,0 0 0,0 0-1,0-1 1,0 0 0,-1 1 0,-40 15-10,-55 36 90,69-36-79,0-1-34,-1 0-47,-1-2-62,31-14-127,-1 1 74,1-1 64,0 1 63,-1-1 55,0 1 44,-1 0 124,-2 1 197,2-2-229,1 1-53,0-1-82,0 0-45,1 0-44,0 0-49,0 0-56,0 0-61,0 0-66,0-1-72,0 1-78,1-1-83,-1 0-89,1 0-95,0 0-100,-1 0-105,1 0-112,1-1-117,-1 0-122,0 1 623,1 0-61,-1 0-56,0 0-48,1-1-224,-1 1-47,1-1-270,-1 0-747</inkml:trace>
  <inkml:trace contextRef="#ctx0" brushRef="#br0" timeOffset="11346.91">347 3878 1249,'-2'-5'1123,"0"0"-169,0 0-110,0 1-98,0-1-87,0 1-74,0-1-62,0 0-51,-1-2 236,-5-11 837,6 11-928,0 2-39,0-1 78,0 0 96,1 0 115,1 4-666,-1 0-1,0 0 1,1 1 0,-1-1 0,0 0 0,0 0-1,0 1 1,0-1 0,0 1 0,-1-1 0,1 1-1,0-1-200,-5-3 768,-1 3-54,4 1-305,-1 1-33,1 2-40,0 0-44,0 2-51,1 1-54,1 1-60,1 2-66,2 44 220,4 0-68,4 0-61,3-1-50,12 31-19,18 40-67,0-2-14,-18-40 56,16 53-16,-14-52 7,-4 0 39,-18-57-47,4 12 44,-2-15-59,-5-16-56,-1-2-54,-1-1-50,0-1-42,-2-3-280,-2-2-97,-5-12-877,6 11 1010,2 1 69,0-2-379,-2-5-916,2 4 582,1 2 235,-1 0-84,1 2 361,0 0-38,0 0-41,0 0-45,0 0-50,0 0-52,-1 0-58,1-1-62,0 1-100,0 0-73,0-1-282,-1-1-755,1 5 2105</inkml:trace>
  <inkml:trace contextRef="#ctx0" brushRef="#br0" timeOffset="12077.88">173 4618 4818,'-1'-1'505,"0"0"-33,0-1 375,1 0-118,1-1-110,0 1-98,1-1-90,0 0-78,0 0-69,2-1 53,0-1-110,9-6 209,-11 9-286,0 1 54,11-11 326,0 1-49,1 0-46,0 1-44,0-1-42,0 1-39,1 0-36,-1 1-35,4-3 8,0 1-41,19-11 100,8-3-82,22-12-56,-1 1-22,-41 25-131,1 2-43,-9 5-28,1 0-39,0-1-49,-1 1-57,1-2-66,-2 0-72,-9 3 101,-5 3 56,-3 1 53,-2 1 48,-4 4 43,2 1 98,2-3-118,1-1 68,1 0 66,-1 0 61,0-1 52,0-1 97,0 1 51,-2-2 119,-2-2 282,6 2-144,-1 1-67,0 0-76,0-1-86,1 0-93,1-1-104,3-1-111,3-1-122,1-4 140,-4 2 20,-1-2 88,-3 6-171,0 1 1,0-1-1,0 1 1,0 0-1,0-1 1,0 1-1,0-1 0,0 1 1,0-1-1,0 1 1,0 0-1,-1-1 0,1 1 1,0-1-1,0 1 1,0 0-1,0-1 1,-1 1-1,1 0 0,0-1 1,-1 1-1,1 0 1,0-1-1,0 1 0,-1 0 1,1-1-13,-11-1 154,10 3-148,0-1-5,0 1 1,0-1-1,1 1 1,-1-1-1,0 1 0,0 0 1,0-1-1,1 1 1,-1 0-1,0 0 1,1-1-1,-1 1 1,1 0-1,-1 0 0,1 0 1,-1 0-1,1 0 1,-1 0-1,1 0 1,0 0-2,-9-1 34,8 1 157,1-1-36,0 0-36,0 1-34,0-1-14,0 1-125,0 0-117,0 1-109,0-1-101,1 0-92,-1 0-206,1 1-109,0-1-93,1 0-81,-1 0-278,2 0-72,5-2-2810,-7 0 3465,0 1-52,0-1-47,0 1-41,0-1-204,1 1-41,-1-1-248,2 0-687,-3 1 1973</inkml:trace>
  <inkml:trace contextRef="#ctx0" brushRef="#br0" timeOffset="12957.93">922 4392 864,'0'-8'993,"1"-2"45,-1 3-282,1 0 62,-1 0 69,0 0 77,-1 0 85,1 0 92,-2 2 101,1 0 107,-4 0-429,5 5-830,-1 0 0,1-1 0,-1 1 0,1 0 1,-1 0-1,1 0 0,-1 0 0,1 0 1,-1 0-1,1 0 0,-1 0 0,1 0 0,-1 0 1,1 0-1,-1 0 0,1 0 0,-1 0 0,1 1 1,-1-1-1,1 0 0,-1 0 0,1 0 1,-1 1-1,1-1 0,0 0-90,-6 4 743,1 0-83,1 1-115,1-2-325,1-1-41,0 0-40,0 0-52,0 0-57,1-1-61,-10 9 405,2 2-104,0 1-84,0 1-67,0 0-44,-6 7-19,10-14-47,0 0 0,0 1 0,1 0 0,0 0 0,1 0 1,0 1-1,0-1 0,1 1 0,-1-1 0,2 1 0,0 0 0,-1 2-9,2-4 6,-1 0 1,1 1 0,0-1-1,0 0 1,1 0 0,0 0-1,0 0 1,1 0 0,0 0-1,0 0 1,0 0-1,1-1 1,0 1 0,0-1-1,2 2-6,-3-6 5,0 0 0,-1 0-1,1-1 1,0 1 0,0-1-1,0 0 1,0 1 0,0-1-1,0 0 1,0 0 0,0 0-1,1 0 1,-1-1 0,0 1-1,0-1 1,1 1 0,-1-1-1,0 0 1,1 0 0,-1 0-1,1 0 1,-1 0 0,0 0-1,1-1 1,-1 1 0,0-1-1,1 0 1,-1 0-5,10-3 28,-1 0 1,0-1-1,0-1 0,10-6-28,-12 6 12,4-3 7,-1 0 0,0-1 0,0 0 0,-1-1 0,-1 0 0,1-1 0,-2 0 0,0-1 0,0 0-1,-1 0 1,-1-1 0,3-7-19,-9 17 9,1 0-1,-1 0 1,0-1-1,0 1 1,-1 0-1,1-1 0,-1 1 1,0 0-1,0-1 1,-1 1-1,1-1 1,-1 1-1,0 0 1,0-1-1,0 1 1,-1 0-1,1 0 1,-1 0-1,0 0 1,0 0-1,0 0 1,-1 1-1,0-1 0,1 1 1,-1-1-1,-2 0-8,2 1 6,-1 0-1,0 0 0,1 1 0,-1-1 1,0 1-1,-1 0 0,-2-1-5,2 1-1,0 1 0,-1-1 0,0 1 0,1 0 0,-1 0 0,-4 1 1,-4 0-135,-1 1 93,0 0 63,-28 8 153,25-2-134,5-2-57,1 2-58,1 1-73,2 1-90,0 0-103,2 2-121,4-5 181,0 0-35,1 1-39,1 0-39,0-4-375,2 1 44,0 2-620,2-1 127,8 4-1503,-7-7 1855,1-1-44,0 0-254,0 0-115,0-1 304,-1 0-57,2 1-262,3-1-709</inkml:trace>
  <inkml:trace contextRef="#ctx0" brushRef="#br0" timeOffset="14141.74">1555 4153 880,'-3'0'699,"1"0"-97,-1 0-49,1 0-41,-1 1 41,1-1-36,-11-2 1709,10 2-1713,0-1-63,-1 2 25,-1 0 156,-2 0 33,3-1-186,0 0-31,1-1 65,1 0 178,0 1-49,1-1-46,0 1-45,0 0-44,1 0-41,0 0-39,0 0-37,1 0-36,-1 0-34,3 1 227,-1 0-112,2-1-96,1 1-39,0 0-90,1 0-73,8 1 130,-9-2-118,12-1 5,8-1 20,-1 0-48,11-2-12,-1-2-58,-21 3-42,0-1 1,-1 0 0,0-1 0,5-2-14,25-19 97,-29 19-24,-8 6-9,-7 2 23,-14-11-10,17-9-49,-1-35 32,0 50-56,-1 1 1,1 0-1,-1 0 1,1 0-1,-1 0 0,0-1 1,0 1-1,0 0 1,-1 0-1,1 1 0,-1-1 1,1 0-1,-1 0 0,0 1-4,-1 0 2,0 0-1,1 1 1,-1-1-1,0 1 1,0 0-1,0 0 1,-1 0-1,1 0 1,0 1-1,0-1 1,0 1-1,0 0 1,-1 0-1,1 0 0,0 0 1,0 0-1,-1 1 1,1-1-1,0 1 1,0 0-1,-3 1-1,-6 2 3,0 0 0,0 1 0,0 0 0,-10 7-3,15-8 0,-1 0 0,1 1 1,0 0-1,0 1 0,0 0 0,1 0 0,0 0 0,0 1 1,1-1-1,0 1 0,0 1 0,0-1 0,1 1 0,0 0 1,1 0-1,-1 0 0,1 1 0,0 2 4,0 0-1,1 0 1,0 0 0,0 1 0,1-1-1,0 1 1,1-1 0,1 1-1,0-1 1,0 1 0,1-1 0,1 1-1,0-1 1,0 0 0,3 4-4,-4-9 2,1-1 1,0 1-1,0-1 0,0 0 1,0 0-1,1 0 1,-1 0-1,1-1 0,0 1 1,1-1-1,-1 0 1,1 0-1,0-1 0,0 0 1,0 1-1,0-2 1,1 1-1,-1 0 0,1-1 1,0 0-1,-1-1 1,1 1-1,0-1 0,0 0 1,0-1-1,0 1 1,0-1-1,0 0 0,0-1 1,2 1-3,3-2-237,1 0 94,-1 0 81,0 0 68,0-1 50,0 1 39,24-10 321,-20 6-267,0-1-70,-1 0-109,-6 2-56,0 0-60,0 0-68,0 0-77,0-1-84,-1 0-93,1 0-99,-1-1-109,-1 0-116,1 0-124,-4 4 409,0-1-35,0 0-34,0 1-36,0-1-37,0 0-38,0 0-39,0 0-41,0-1-40,-1 1-42,1 0-43,-1 0-45,0 0-199,0 1-105,1-1-351,0-2-914,-2 6 2317</inkml:trace>
  <inkml:trace contextRef="#ctx0" brushRef="#br0" timeOffset="14728.69">2214 3984 1601,'-7'-20'3532,"5"6"-1270,1 6-1061,0 0-44,-1 1-55,-1 0-66,0 1-77,-2 1-86,-2 0-99,-1 1-107,0 2-194,1 1-44,0 0-43,1 1-39,0 0-38,0 1-35,-6 2 181,1 2-111,0 2-89,1 0-72,-1 1-51,-13 9 67,20-14-191,-1 0 0,1 1 0,0-1 0,0 1 0,1 0 0,-1 0 0,1 1 1,-3 4-9,1-1 3,0 1 1,1 0-1,0 0 1,-2 8-4,0 5-3,1-1 0,2 1 0,0-1 0,0 5 3,3-23 1,0 0 0,-1 0 0,1 1 1,0-1-1,1 0 0,-1 1 0,1-1 1,-1 0-1,1 1 0,0-1 0,0 0 0,0 0 1,1 0-1,-1 0 0,1 0 0,0 0 1,0 1-2,0-3 3,-1 0 0,1 0 0,-1 0 0,1 0 0,0 0 0,-1-1 0,1 1 0,0 0 0,0-1 0,-1 1 0,1-1 0,0 0 0,0 0 0,0 0 0,0 1 0,0-2 0,-1 1 0,1 0 0,0 0 0,0 0 0,0-1 0,0 1 0,-1-1 1,1 0-1,0 1 0,-1-1 0,1 0 0,0 0 0,-1 0 0,1-1-3,5-2 16,-1 0 0,0 0 1,0-1-1,-1 1 1,1-1-1,-1-1 0,0 1 1,-1-1-1,1 0 0,-1 0 1,0 0-1,-1-1 0,0 1 1,0-1-1,0 0 0,0 0-16,-1 0 8,-1 1 0,1-1-1,-1 1 1,0-1-1,-1 1 1,1-7-8,-19-111 58,21 113-106,5 15-10,7 17-25,1 32 12,-11-37 67,0 0 1,0 0 0,5 7 3,-7-18 3,0 1 0,0-1-1,1 0 1,-1 0 0,1 0 0,1 0-1,-1 0 1,1-1 0,0 0-1,0 0 1,1 1-3,3 0-41,12 5 90,-15-8-70,1 0-49,0 0-89,1-1-111,-4 0 85,0 0-37,-1-1-40,1 1-45,-1-1 16,1 0-34,-1 0-37,0 0-39,0 1-39,0-1-43,1 0-43,-1 0-46,0-1-48,0 1-49,0 0-52,1 0-53,-1 0-55,0-1-58,0 1-58,0-1-60,-2 1 379,0 0-53,1 0-45,-1 0-42,0 0-198,0 0-40,1 0-240,0 0-665</inkml:trace>
  <inkml:trace contextRef="#ctx0" brushRef="#br0" timeOffset="15111.82">2617 3791 3330,'-1'-2'680,"0"1"-42,0 0-42,0-1-40,0 1-39,0-1-35,0 0-35,0 0-33,-2 0 149,1-1-63,0 0-59,0 0-53,-1 0-46,0 0-40,-2-3 203,-1 1-108,-7-4 436,9 7-491,0 1-11,0 1 56,0 1 72,1 0 84,-18 10 706,14-8-885,0 0-44,0 1-63,-1 0-81,0 1 16,-6 4 104,-1 0-67,-3 5 15,13-10-183,1 1 1,-1-1 0,1 0 0,1 1-1,-1 0 1,1 0 0,-1 0-1,0 3-61,0 1 103,0 1-1,1-1 0,0 0 1,-1 8-103,2-9 64,0 1 0,2-1 0,-1 1 0,1 0 0,0 6-64,1-9 27,0-1-1,0 1 0,0-1 0,0 0 1,1 1-1,0-1 0,0 0 1,0 0-1,1 1-26,0-3 13,-1 1 0,1-1 0,-1 1 0,1-1 0,0 0 0,0 0 0,1 0 0,-1 0 0,1-1 1,-1 0-1,1 1 0,2 0-13,8 3-73,0 0 58,10 1 80,14-1 127,-22-5-139,0-2-51,1-1-78,-1-1-113,-7 1 44,-1-1-38,0 0-42,0 0-45,0 0-49,0-1-53,0 0-55,0 0-59,0-1-63,0 0-67,0 0-69,0 0-74,0-1-76,-1 0-80,0 1 257,-1-1-79,1 1-86,0-1-88,-1 1-14,0 0-83,1 0-86,-1 0-90,22-17-3586</inkml:trace>
  <inkml:trace contextRef="#ctx0" brushRef="#br0" timeOffset="15666.66">2731 3235 2657,'-3'-6'629,"1"0"-67,-5-10 945,4 11-917,0-1 60,2 2-168,-1 0 51,1 1-43,0 0 47,0-1 53,0 1 59,0 0-60,0 0 48,1 0 50,-1-1 55,1 1 57,0-1 61,-1 1 63,1-1 67,0 6-498,1-1-55,-1 1-51,0 1-49,1-1-45,0 1-43,-1-1-39,1 1-38,0 1-9,1 0-44,-1 0-39,1 0-34,1 7-42,3 5-157,-1-3 31,-2-5 112,-1-2 77,0 0 94,25 82-16,-1 0-57,38 118-1,-48-145-27,6 37-60,6 28 119,-17-94-55,-2-16 11,2-7 84,-7-15-29,-2-13-61,-1 16-46,8-40 88,3 0-65,-5 19-44,-1 0-1,3-24-1,-4-2-38,-2 11-69,7-33 107,6 19-85,-13 45 55,1-1 0,0 1 0,1 0 0,4-6 30,-8 13-5,-1 0-1,1 0 1,-1 1-1,1-1 0,0 0 1,-1 0-1,1 1 0,0-1 1,0 0-1,-1 1 0,1-1 1,0 1-1,0-1 1,0 1-1,0-1 0,0 1 1,0 0-1,0-1 0,0 1 1,0 0-1,0 0 0,0 0 1,0-1-1,0 1 1,0 0 5,1 1-7,-1 0 0,1-1 1,-1 1-1,1 0 0,-1-1 1,0 1-1,1 0 1,-1 0-1,0 0 0,0 0 1,1 0-1,-1 0 0,0 1 1,0-1-1,0 0 7,4 8-26,1 0 1,-1 0-1,-1 0 0,3 8 26,-6-15-3,28 64-34,26 41 99,-30-61-60,1-1-57,0-1-85,-18-31-77,-4-7 53,-1-1-97,-1-3 77,0 1-42,-1-1-47,1 0-55,-1 1-58,1-1-65,-1 1-69,0-1-75,0 1-81,0 0-86,0-1-92,0 1-96,-1 0-103,1-1-108,-1-1 407,0 0-87,0 0-76,0-1-69,0 1-272,0 0-66,0-1-330,0 2-899</inkml:trace>
  <inkml:trace contextRef="#ctx0" brushRef="#br0" timeOffset="16331.08">954 4987 2593,'-3'1'1002,"1"-1"-40,-1 1-38,0 0-39,0-1-36,0 1-38,0 0-37,-1-1-35,1 1-35,0-1-34,0 1-35,-1-1-33,-1 1 503,-1 0-126,2-1-122,1 0-118,2 0-112,1-1-109,2-1-103,3 0-98,1-1-95,4 0-89,45-18 274,0 1-67,0-1-61,-1 0-56,12-5-20,-1 0-58,33-14-17,0 0-71,115-46-8,-142 58-4,0 0 37,203-80 6,397-146 67,-564 220-94,91-15-61,111-7 114,-274 50-97,-32 5-15,127-22 74,-44 6 40,-85 17-116,-1 0-1,1 0 1,0 0-1,-1 0 1,1 0-1,-1 0 1,1-1-1,0 1 0,-1 0 1,1 0-1,0 0 1,-1-1-1,1 1 1,-1 0-1,1-1 1,-1 1-1,1-1 0,-1 1 1,1-1-1,-1 1 1,1-1-1,-1 1 1,0-1-1,1 1 1,-1-1-1,0 1 0,1-1 1,-1 0 0,-4-6-15,-2 2-27,-4-1-72,-1 1-96,5 3 61,1 1-35,1 0-37,1 1-42,2 0-383,1 1-81,0 0-67,0 1-56,1 2-778,2 3-1135,-2-4 1605,0-2 369,0 1 35,-1-1 44,0-1 54,0 1 23,0 0-51,0-1-46,0 1-41,0-1-198,0 1-40,-1 0-240,1 0-667</inkml:trace>
  <inkml:trace contextRef="#ctx0" brushRef="#br0" timeOffset="7854.73">5266 1119 1137,'-3'-6'1138,"2"2"-143,7-7 1759,-4 9-2081,-1-1 34,1 1 47,-1-1 57,-1 1-231,-1-1 35,1 1 39,-2-1 43,2 2-70,-1 0-46,0 0-43,-1 0-42,0 0-40,0 0-37,0 1-34,0-1-34,-1 0 29,0 0-40,0 1-37,-1-1-33,-1 0 80,0 0-54,-5 0 184,-2-1 118,9 1-310,-3 0 4,1 0-58,-1 0-51,-1 1-45,-1-1-23,0 1-44,-1 0-28,-5 0-24,0 0 11,3 1-30,0-1-1,0 1 1,0 1-1,0 0 1,0 1-1,0 0 0,1 0 1,-1 1-1,1 1 1,0 0-1,0 0 1,1 1-1,-1 0 1,6-3-2,0 0-1,0 0 1,0 1-1,1-1 1,0 1-1,-1 0 1,1 0 0,1 0-1,-1 0 1,0 0-1,1 1 1,0-1 0,0 1-1,1 0 1,-1-1-1,1 1 1,0 0-1,0 0 1,0 0 0,1 0-1,0 0 1,0 0-1,0 0 1,0 0-1,1 0 1,0 0 0,0 0-1,1-1 1,-1 1-1,1 1 3,0-1-1,0-1-1,0 0 0,1 0 0,-1 0 1,1 0-1,0-1 0,0 1 0,0-1 1,0 0-1,1 1 0,-1-2 0,1 1 1,0 0-1,0-1 0,0 1 0,0-1 1,0 0 1,15 6 1,-1-1 1,1-1 0,12 2-2,22 8 11,-23-6-5,-15-6 0,0 1-1,-1 1 1,5 2-6,-17-6 2,1-1-1,0 0 1,-1 1-1,1 0 1,-1 0-1,1 0 1,-1 0-1,0 0 1,0 0-1,0 0 1,0 1 0,0-1-1,0 1 1,-1 0-1,1-1 1,-1 1-1,0 0 1,1 1-2,-2-1 2,0-1 1,0 1-1,0 0 1,0 0 0,0-1-1,-1 1 1,1 0-1,-1-1 1,0 1-1,0 0 1,0-1 0,0 1-1,0-1 1,-1 1-3,-21 34 10,21-34-8,-3 4 3,-1 0-1,-1-1 1,1 0 0,-1 0 0,0-1 0,-1 0 0,1 0-1,-1 0 1,0-1 0,0 0 0,-1-1 0,1 0 0,-2 0-5,-2 1 1,1-1 0,-1-1 0,0 0 0,-7 1-1,-13-4-33,3-4-33,24 4 114,1-1-37,1 0-36,-1 0-35,-1-3-160,2 0-123,1-1-111,2 0-100,0 0-89,2-1-77,0 2 96,0 0-37,5-6-746,16-14-3085,-18 21 3683,0 0-100,1 0-115,-3 1 463,1 1-36,1-1-433,1 0-77,1 0-296,4-2-785</inkml:trace>
  <inkml:trace contextRef="#ctx0" brushRef="#br0" timeOffset="8277.5">5348 576 4162,'-12'-11'1048,"2"0"51,0-2 64,1 0 78,1 0 90,1-2 103,1 1 119,4 6-729,-1 1 34,3 5-266,0 2-59,0-1-55,0 2-52,1-1-51,0 2-46,0-1-43,0 1-42,0 0-39,1 1-34,1 3 74,1 1-107,-1 1-85,3 3-76,7 16-159,-9-18 174,0 0 91,-2-6 5,0 1 39,30 71 54,-1 2-71,5 16-41,11 49-13,-28-80-33,26 105 59,-29-83-8,-10-1 40,-7-74-106,-2 12 105,1-17-112,-1-3-57,-1-5-81,-1-5-101,1-3-119,0 0-76,1 0-76,1-1-73,0-1-71,1 1-69,1-1-68,0 0-66,0 1-63,2-1-63,-1 0-59,1 1-59,1 0-56,0 0-54,1 1-53,-1 1-51,0 5 355,-1 0-76,2-1-279,1-4-739,-5 11 2028</inkml:trace>
  <inkml:trace contextRef="#ctx0" brushRef="#br0" timeOffset="8793.44">5852 755 1137,'-4'-2'1136,"0"0"-304,1 1-46,-1 1-43,0 0-43,1 0-40,0 0-41,-1 1-37,1 0-38,0 1-36,0 0-34,0 0-33,-3 3 347,1 1-116,1-1-212,0 0-61,0 1-58,0 0-51,-1 3 61,0 0-86,1 0-67,0-1-48,-1 4 44,-3 4 6,1 1-38,-7 18 66,-2 2-94,-10 17-50,21-45-67,-1 0-1,0 0 1,-1 0 0,-2 2-17,-20 14 102,6-14 9,10-8-5,5-8 77,10 6-61,3-2-38,3-1-22,6-3-21,1 0-1,-7 4-14,0 0 1,0 1-1,1 0 0,-1 0 0,0 1 0,6 1-26,1 1 29,-1 1-1,0 0 0,8 4-28,16 9 60,-1 1-1,8 8-59,-38-22 13,12 7 18,32 19 51,-19-9 42,-31-20 40,0 0-106,0-1-98,0 0-90,0 0-84,0 0-74,1 0-69,-1 0-61,0 0-3,0-1-38,0 0-550,1-1-63,3-2-1516,-4 3 1831,1-1 43,-1 1 251,0 0 33,0-1 38,0 1 43,1-1-638,0 0-96,0 0-312,1-3-804,-3 5 2135</inkml:trace>
  <inkml:trace contextRef="#ctx0" brushRef="#br0" timeOffset="9095.94">6095 789 3233,'-1'-2'103,"-1"1"96,1 0 87,-1-1 78,-1 0 163,1 0 84,-2-1 428,0 0 100,-3-1 1161,5 3-1357,1 1-210,0 0-65,1 0-85,0 1-102,3 6 165,-1-1-90,0 1-81,0-1-75,0 0-145,0-1-33,0 5 130,1 1-99,0 0-73,5 21 181,-4-18-164,9 26 97,-2 2-92,-2-5-75,19 49 102,-27-83-307,0 2 68,2 10 154,-2-7-111,0-3-60,0-1-43,0 1-106,1 0-115,-1-1-57,1-1-109,-1 0-124,0-1 241,1-1-37,-2-1-728,1 0 251,0-1-1078,-1 1 1307,0-1-38,0 1 29,1-1-50,-1 1-57,0-1-67,0 1 501,0 0-267,0-1-41,1 0-718,-1-1-406,1 0-1027</inkml:trace>
  <inkml:trace contextRef="#ctx0" brushRef="#br0" timeOffset="9355.34">5935 636 1521,'-1'-4'641,"0"0"-143,0 0 42,0 0 36,1-1 216,0-8 1527,1 7-1349,-1 1-152,1 0-67,0 1-271,-1-1 377,0 1-96,-1 0-107,0 2-117,1 1-316,0 1-33,0 1-35,0 0-35,1 0-37,0 2-38,0 0-41,0 1-39,0-2 205,0 0-32,0 1 40,0 1-120,0-1-111,0-1-33,0 0-40,0 0-37,-1 0-34,2 2-294,-1 0-111,1-1-43,0 1-66,1 1-588,9 5-1886,-7-8 2274,0 1 76,-2-2 6,1 0-56,0 0-233,2 1-622,-5-2 1632</inkml:trace>
  <inkml:trace contextRef="#ctx0" brushRef="#br0" timeOffset="9755.26">6185 146 2705,'-3'-18'2523,"2"10"-1416,0-2 215,0 6-607,1-1 45,-1 1-87,1 0 40,-1 0 45,1 1 48,0-1 53,0 1 56,0-1 62,0 1 64,0 6-470,0-1-68,0 1-65,1 0-60,-1 0-57,1 1-52,0-1-48,0 0-44,0 1-17,1 1-50,-1-1-43,1 0-36,1 4-42,4 10-140,-5-13 130,0 0 44,0 0 60,0 0 77,28 83 29,-4 0-79,-4-4-58,23 154-2,-31-136 3,-4-32 36,14 51-89,-16-89 41,2 0 0,1 0 0,2-1 0,11 20-41,-21-46-32,8 17 81,-6-12-89,-3-5-39,-1 0-57,0 0-69,-1-1-83,0-6-824,-4-4-425,0-2 168,2 3 392,0 0 90,1 2-90,-1-7-443,0 3 389,1 4 462,0-1-44,1 0-51,-1 1-59,0-1-64,0 1-73,-1-1-170,1-1-67,-1 0-284,0-2-764</inkml:trace>
  <inkml:trace contextRef="#ctx0" brushRef="#br0" timeOffset="10219.08">6406 89 4402,'-1'-3'225,"1"0"37,0-4 359,0 0 117,0 0 95,0-1 84,0 1 59,-1-18 2388,-1 16-1958,1 3-611,0 1-47,1 5-255,-1-1-45,1 1-41,0 0-40,-1 0-37,1 1-37,-1 2 196,0 0-118,1 1-101,-1 1-86,1 1-67,-1 4-30,0 6-54,1-10 10,0 0 59,0-1 87,3 35 74,3 1-61,3-1-52,2 0-44,9 24-10,14 32-53,-4-12-27,-12-28 23,52 207 52,-20-67-3,-30-128-5,-8-33 1,1-4 35,-10-24-125,-1-1 33,0 2 39,-1 1 79,-1-8-137,0-1 1,0 0-1,-1 1 0,1-1 0,0 0 0,0 1 0,0-1 1,0 1-1,0-1 0,0 0 0,-1 0 0,1 1 1,0-1-1,0 0 0,0 1 0,-1-1 0,1 0 0,0 0 1,0 1-1,-1-1 0,1 0 0,0 0 0,-1 1 1,1-1-1,0 0 0,-1 0 0,1 0 0,0 0 0,-1 0 1,1 0-1,0 0 0,-1 1-8,-12-4 111,10 1-98,1 1 1,-1-1-1,1 0 0,-1 0 0,1 0 0,0 0 0,0 0 1,-1 0-1,2-1 0,-2-1-13,-7-10-17,5 5-52,0 0-56,0 1-71,1 0-81,1 3 6,1 0-58,-3-6-569,2 4 272,1 0 59,1 0-60,0 2 45,0-1-66,0 0-77,0 1-88,0 0 86,1 1-71,-1-1-75,0 0-81,0 1-88,0 0-93,0-1-98,0 1-104,0 2 146,0 0-107,1-1-363,-2-1-947</inkml:trace>
  <inkml:trace contextRef="#ctx0" brushRef="#br0" timeOffset="17717.18">4238 3045 640,'5'-4'695,"0"0"-27,3-4 756,0-4 410,0-7 1074,3-2 664,-9 17-2400,0 2-203,-2 1-371,0 0-153,-1 0-66,0-1-127,0 1-68,-1-1-77,0 0-88,-3-2 279,0 1-39,-7 1 157,1 5-117,-1 2-92,-2 4-43,-10 13 92,15-12-236,0 0 0,1 1-1,1 0 1,-1 0-1,2 0 1,-1 1-1,2 0 1,0 1-1,0-1 1,1 1 0,0 0-1,2 0 1,-1 0-1,1 0 1,1 6-20,0-7 9,2-1-1,-1 0 1,1 1 0,1-1 0,0 0 0,0 0-1,2 2-8,-2-9 3,-1 0 0,1 1-1,1-2 1,-1 1-1,0 0 1,1 0 0,0-1-1,-1 0 1,2 1 0,-1-1-1,0 0 1,0 0 0,1-1-1,0 1 1,-1-1 0,1 0-1,0 0 1,0 0-1,1 0 1,-1-1 0,0 1-1,0-1 1,1 0 0,3 0-3,-1 0 5,0 0 1,0-1-1,0 0 1,0 0-1,0-1 1,-1 1 0,1-2-1,0 1 1,0-1-1,0 0 1,-1 0-1,1-1 1,-1 1-1,0-2 1,4-1-6,-2-1 17,0-1 0,-1 1 0,1-1 1,-2-1-1,1 1 0,-1-1 0,0-1 0,0 1 0,-1-1 0,0 0 0,-1 0 1,0 0-1,1-4-17,-2 2 26,1 0 0,-2-1 0,1 1 0,-1-1 0,-1 0 0,0 0 0,-1 1 0,0-1 0,-1 0 1,0 0-1,-2-4-26,1 9 11,0 1 1,0 0-1,0-1 1,-1 1-1,0 1 1,0-1-1,0 0 1,-1 1 0,0-1-1,0 1 1,-1-1-12,-1 0 7,0 1 0,0-1 0,0 1 0,0 1 0,-1-1 1,0 1-1,0 0 0,0 1 0,-1 0-7,0 0-1,1 0 0,-1 1 0,0 0 0,0 0 0,0 1 0,0 0 0,0 1 0,-8 0 1,10 0-8,-1 1 0,0 0 0,1 0-1,-1 1 1,1 0 0,0 0 0,-1 0 0,1 1-1,0 0 1,0 0 0,1 0 8,-5 4-106,-15 13-68,15-10 61,2-1-55,1 0-93,2 0-49,0-1-100,2 1-119,1-4 216,1 0-37,0 0-37,0 0-39,1 0-43,0 0-43,0 0-47,0 0-48,1 1-49,0-1-53,0-1 1,1 0 44,12 9-2262,-8-11 1954,-1 0-102,0-1 98,1 1-74,0-1-282,4 1-748,-9-2 2051</inkml:trace>
  <inkml:trace contextRef="#ctx0" brushRef="#br0" timeOffset="18229.3">4611 2907 2513,'-4'-1'550,"1"1"46,0 0 41,1 0 33,-2-1 598,0-3 1806,3 2-2008,1-1-53,0 1-77,0-1-97,1 1-346,-1 0-61,1-1-66,-1 1-75,1 0-183,-1 2 309,0 0-45,0 1-42,1-1-40,-1 1-38,1-1-34,0 2 124,0 0-168,0 0-45,2 2 20,-2-1-107,3 5-8,-2-5 7,-2 0 41,1-2 64,3 13 98,1 0-41,-1 0-37,1 0-34,1 3-11,0-1-35,3 9-8,1 0-42,6 18 1,-5-14 20,-8-7-14,-7 0 48,4-21-84,-1 0 0,1-1 0,-1 1 0,1 0 0,-1 0 0,1 0 0,-1 0-1,0-1 1,0 1 0,1 0 0,-1-1 0,0 1 0,0 0 0,0-1 0,1 1 0,-1-1 0,0 1 0,0-1 0,0 0 0,0 1 0,0-1 0,0 0 0,0 0 0,0 1 0,0-1 0,0 0 0,0 0 0,0 0 0,0 0-1,0-1 1,0 1 0,0 0 0,0 0 0,0-1 0,0 1 0,0 0 0,0-1 0,0 1 0,0-1 0,0 1 0,0-1-7,-2-1 18,1 0-1,-1 0 1,1 0 0,-1-1 0,1 1-1,0 0 1,0-1 0,0 0-1,0 1 1,0-1 0,1 0 0,-1 0-1,1 0 1,0 0 0,0-1 0,0 1-1,0 0 1,0 0 0,1-2-18,-3-13 89,1 1 0,1-1 0,1-4-89,0 7 66,0-37 87,6-3-47,8-9-27,-9 50-67,0 0 1,0 0-1,1 1 0,1 0 1,3-6-13,-7 15-168,0 0 60,1-1 52,-1 0 45,5-3 83,16-16 393,-13 16-345,-2 2-137,-4 4-38,-1 0-37,1 0-41,-1 0-46,1 1-50,0 0-54,-1 0-60,1 0-63,-1 1-67,1 1-73,-1 0-76,1 0-82,-1 1-84,0 0-91,-1 0 166,5 2-870,-5-3 1060,-1 1-45,1-1-134,-1 0-95,1 1-117,-2-2 407,0 1-37,1 0-124,-1-1-49,1 1-44,-1 0-38,1-1-202,-1 1-38,4 1-2209</inkml:trace>
  <inkml:trace contextRef="#ctx0" brushRef="#br0" timeOffset="18964.07">5255 2701 3442,'-15'-15'2696,"8"4"-972,3 2-381,3 4-714,-1 1-35,0-2 53,0 0-59,-1 1-67,0-1-73,-2-3 625,0 2-118,-1 1-114,-1 2-106,1 0-102,0 2-96,-1 2-90,0 0-84,0 1-78,1 1-73,-1 1-68,0 1-61,0 1-55,1 0-50,-1 1-45,1 1-38,-6 7 102,1 1 1,1 0 0,0 0-1,0 1 1,2 0-1,-6 14 3,11-22-3,0-1 0,1 1 0,0 0 0,0-1 0,0 1 0,1 0 0,0 1 0,1-1-1,0 0 1,0 0 0,1 0 0,0 0 0,0 0 0,1 0 0,0 0 0,2 4 3,-3-9-1,0-1 0,1 1 0,-1-1-1,1 1 1,-1-1 0,1 0 0,0 1 0,0-1 0,0 0 0,3 1 1,-3-1 2,0-1 1,0 1-1,0-1 0,0 0 1,0 0-1,0 0 1,1-1-1,-1 1 1,0 0-1,1-1 1,1 1-3,-2-1 5,0 0 0,1 0 0,-1 0 0,0-1 0,1 1 0,-1 0 1,0-1-1,0 0 0,1 1 0,-1-1 0,0 0 0,0 0 0,0 0 1,0-1-1,0 1 0,0 0 0,0-1 0,-1 1 0,1-1 0,0 0 1,-1 1-1,1-1 0,-1 0 0,0 0 0,1 0 0,-1 0-5,6-11 37,-1 0 0,0 0-1,-1-1 1,0 0 0,-1 0-1,-1 0 1,1-7-37,-2 5 23,-1 1 1,-1-1-1,0 0 1,-1 0-1,-1 0 1,0 0-1,-1 0 0,-1 1 1,-1-1-1,-1-3-23,-15-3 21,19 18-8,17 14-15,0 1-5,0 0-1,-1 1 1,0 1-1,-1 0 1,-1 1-1,3 4 8,24 35-18,2 6 18,-28-39-1,9 13-2,-1 2-1,-2 1 1,-1 0-1,10 32 4,-18-39-14,-2 0-1,4 25 15,-8-24-50,0 0-1,-2 30 51,-2-38-35,0 1 0,-2-1 0,0 1 0,-4 11 35,3-26-4,1 0-1,-1 0 1,0 0-1,-1 0 1,0 0-1,0-1 5,0 0 7,0-1-1,-1 0 0,0-1 0,0 1 1,0-1-1,-1 0 0,-3 2-6,-2 1 20,-1-1-1,0 0 0,0-1 0,-1 0 1,0-1-1,0-1 0,0 0 0,0 0 1,-1-2-1,1 0 0,-1 0 0,-1-1-19,-31 0 21,0-5-51,2-3-70,2-5-88,27 6 70,1 0-55,1-1-78,2-2-102,4 4 49,0-2-61,1 1-70,1-1-76,2 2 150,0 0-33,0 0-37,1 0-37,0 0-39,0 0-40,1 0-43,-1-1-44,1 0-46,0 0-47,1 0-49,-1 0-51,1 0-52,0-1-54,0 1-56,1-1-58,0 2 11,-1 1-68,1-2-285,0-1-767</inkml:trace>
  <inkml:trace contextRef="#ctx0" brushRef="#br0" timeOffset="19631.59">5543 2521 2593,'-8'-1'1125,"0"0"73,-15-3 3530,18 2-3746,1 0-37,-1-1 44,0-1-78,0-1-97,0-1-113,4 4-222,-2 0-44,1 1-41,0 0-39,-1 0-37,0 0-36,-4 0 183,1 1-117,-2 1-102,1 1-85,0 0-71,-5 3-50,-9 12-112,18-11 116,1 0 79,3 11-130,0-1 0,1 0 0,1 0 1,0 0-1,1-1 0,1 1 0,0-1 0,2 0 1,2 5 6,-8-17 1,0-1 1,0 1 0,0-1 0,1 0-1,-1 1 1,0-1 0,1 0 0,0 0-1,0 0 1,-1 0 0,1 0 0,0 0-1,1-1 1,-1 1 0,0-1 0,0 1-1,1-1 1,-1 0 0,1 0 0,-1 0 0,1 0-1,-1-1 1,1 1 0,-1 0 0,3-1-2,-2 0 1,-1-1 1,1 1 0,-1-1 0,1 0 0,-1 0 0,0 0 0,1 0 0,-1 0 0,0 0 0,0-1 0,1 1 0,-1-1 0,0 1 0,-1-1-1,1 0 1,0 0 0,0 0 0,-1 0 0,1 0 0,-1 0 0,0 0 0,0-1 0,1 1 0,-1 0 0,-1-1 0,1 1 0,0-1-2,3-12 12,-1 0 1,0-1 0,-1 1 0,-1-1 0,0 1 0,-1-1 0,0 0 0,-2 1 0,0-1 0,-2-7-13,-2-23 15,5 27-33,5 1-52,-4 17 68,0 1 1,0 0-1,0 0 1,0 0 0,1 0-1,-1 0 1,0-1-1,0 1 1,0 0-1,0 0 1,1 0 0,-1 0-1,0 0 1,0 0-1,0 0 1,1 0 0,-1 0-1,0 0 1,0-1-1,0 1 1,0 0-1,1 0 1,-1 0 0,0 0-1,0 0 1,0 0-1,1 1 1,-1-1 0,0 0-1,0 0 1,0 0-1,1 0 1,-1 0 0,0 0-1,0 0 1,0 0-1,1 0 1,-1 0-1,0 1 1,0-1 0,0 0-1,0 0 1,0 0-1,0 0 1,1 0 0,-1 1 1,13 19-39,1 11 4,21 39-5,-29-60 42,0-1 1,1 0-1,1 0 0,-1 0 0,1-1 0,1 1-2,-1-1-30,12 15 84,-12-12-69,-1 0-89,-3-6 3,0 0-40,0 0-45,1 0-52,-1 0-58,1 0-63,-4-5 316,0 1-50,0 0-46,0-1-43,0 1-41,0-1-38,1 1-361,0-1-62,-1 0-81,2 0-649,2-1-1029,-3 0 1428,0 0 46,-1-1 100,0 2 270,-1-1-44,1 0-40,-1 0-35,0 0-183,1 0-34,-1-2-1995,0 3 2858</inkml:trace>
  <inkml:trace contextRef="#ctx0" brushRef="#br0" timeOffset="20137.32">5841 2335 4002,'-11'-2'3203,"9"3"-2186,1 1-74,1 0-403,-1 0-46,2 0-53,-1 0-60,0 1-67,1-1-74,0 1-80,-1 0-87,1-1-75,-1 0-39,3 10 605,0 0-65,-1 0-59,0 0-56,0 0-51,0-1-47,0 1-42,0 0-38,1 9 81,1-1-82,0 3-40,9 31 141,-7-35-159,2-7-5,-3-7-28,0-2 36,0-2 38,-3-2 45,-2-4 46,-4-4 53,-3-8-66,3-3-73,3-1-60,2-1-48,4-15-18,6-16-23,-7 35-13,1-9-25,-3 14-1,1-1-1,0 1 0,1 1 1,1-3-5,-3 11 0,-1 0 1,1 1-1,0 0 1,0-1-1,0 1 1,1 0-1,-1 0 1,1 0-1,-1 0 1,1 1 0,0-1-1,0 1 1,0 0-1,1-1 1,-1 2-1,2-2 0,10-9-16,-14 11 14,-1 0 0,1 0 0,0 0 0,-1 0 0,1 0 0,0 0 0,0 0 1,0 0-1,0 1 0,0-1 0,0 0 0,0 1 0,0-1 0,0 1 1,0-1-1,0 1 0,0-1 0,0 1 0,0 0 0,0-1 0,1 1 0,-1 0 1,0 0-1,0 0 0,0 0 0,1 0 0,-1 0 0,0 0 0,0 0 1,0 1-1,0-1 0,1 0 0,-1 1 0,0-1 0,0 1 0,0-1 0,0 1 1,0 0-1,0-1 0,0 1 0,0 0 2,3 3-2,-1 0 0,-1 0 0,1 0 0,-1 0 0,1 0 0,-1 1 0,0-1 0,-1 1 0,1 0 0,-1-1 0,0 1 0,0 0 0,0 2 2,5 71-22,-5-52 19,1 2 3,-2-12-3,1 1-1,0 0 1,2-1-1,3 13 4,-5-25-4,0 0 1,1 0-1,-1 0 0,1-1 1,0 1-1,0 0 1,0-1-1,0 0 0,1 1 1,-1-1-1,1 0 0,0 0 1,0 0-1,0-1 0,1 1 1,-1-1-1,0 0 0,1 0 1,0 0-1,-1 0 1,2 0 3,2 0-67,-1 1-75,0-1-102,-2-2 75,-1 1-36,1 0-128,0 0-78,0 0-85,0-1-93,-1 1 21,1-1-75,0 0-79,-1 0-85,1 0-88,0-1-93,0 1-98,0 0-103,-3-1 538,0 1-57,1 0-52,-1 0-44,1 0-211,-1-1-44,1 1-254,2 0-705,-4 0 2014</inkml:trace>
  <inkml:trace contextRef="#ctx0" brushRef="#br0" timeOffset="20453.32">6221 2228 4306,'-2'5'1120,"0"0"-91,0 1-87,1-1-84,0 0-78,0 1-77,1-1-70,0 1-68,0 0-63,1-1-60,-1 1-55,1 0-51,0 0-49,1 0-42,-1 0-41,1-1-34,1 7 69,1-2-88,1 2-52,8 14 58,-8-17-53,-1-2 40,1 0 65,-2-2-224,1 1 35,18 20 198,-15-19-223,1 0-91,-3-2-45,1-2-75,-1 1-86,1-2-97,-5-1-209,0-1 59,1 0 51,-1 0 42,1 0-344,4-2-903,-4 1 1138,-1 0-60,0 0-98,0-1-111,0 2 369,-1-1-37,1 1-39,-1-1-43,2-1-968,-1-1-53,0 1 539</inkml:trace>
  <inkml:trace contextRef="#ctx0" brushRef="#br0" timeOffset="20732">6042 1971 6355,'-2'0'71,"0"-1"37,1 1 35,-1 0 34,0-1 265,0 0 104,1-1 221,0 1 91,0-1-34,0-2 1155,0 3-1227,1-1-42,-1 0-62,0 0-78,0 0-243,0 1-49,0 0-53,0-1-59,1 2 113,0 0-59,0 0-58,0 1-54,1-1-53,-1 1-50,1-1-47,0 1-45,0 0-42,0 0-41,0 0-37,1 0-35,1 2-337,0-1-110,2 1-257,0 0-96,12 5-2618,-13-7 2904,0 0 35,-2-1 130,0 0-46,0 0-40,1 0-35,-1 0-183,1 0-34,5 0-1988,-8 0 2770</inkml:trace>
  <inkml:trace contextRef="#ctx0" brushRef="#br0" timeOffset="21160.25">6390 2083 4578,'-5'0'655,"1"0"49,-3 0 416,0 0 71,-16 2 2904,15 1-2386,4 0-745,1 0-55,3-2-561,0-1-34,0 1 215,3-1-117,0 0-106,1 0-90,0-1-77,2 0-65,0-1-48,2 0-47,10-4-93,-12 4 112,-1-1 57,0 1 82,53-34 9,-2 2-86,-38 23-48,1 1-1,1 1 1,9-3-12,-25 11-4,1-1 1,-1 1 0,0 0 0,0 1 0,1-1 0,-1 1 0,0-1 0,1 1 0,-1 1 0,0-1 0,5 1 3,-8 0-2,0-1-1,0 0 1,1 1 0,-1 0 0,0-1-1,0 1 1,0 0 0,0-1-1,0 1 1,0 0 0,0 0 0,0 0-1,-1 0 1,1 0 0,0 0-1,0 0 1,-1 0 0,1 0-1,-1 0 1,1 1 0,-1-1 0,1 0-1,-1 0 1,0 0 0,1 1-1,-1-1 1,0 0 0,0 0-1,0 1 1,0-1 0,0 0 0,0 1-1,-1-1 1,1 0 0,0 0-1,-1 0 1,1 1 0,-1-1-1,1 0 1,-1 1 2,-45 109-35,-28 138 38,72-243 0,1-1 0,0 1 0,1-1 1,-1 1-1,1 0 0,0 0 0,0-1 0,1 1 0,0 0 0,0-1 0,0 2-3,0-6 5,-1 1-1,1 0 1,0-1-1,0 1 1,0-1-1,-1 1 1,1-1 0,1 1-1,-1-1 1,0 0-1,0 1 1,0-1-1,1 0 1,-1 0-1,1 0 1,-1 0-5,1 0 9,0 0 1,0-1-1,-1 1 0,1-1 1,0 1-1,0-1 1,0 0-1,0 1 1,0-1-1,0 0 0,0-1 1,0 1-1,0 0 1,0 0-1,0-1 0,0 1 1,0-1-10,30-10 56,43-22 176,-52 21-190,0-1-38,1-1-61,1-1-84,-2 1-103,-12 7 77,1-1-33,0 0-180,-4 1 45,-1 2-50,-4 2 144,0 0-39,2-2-264,-2 3 225,-1 0-37,1 0-37,0 0-40,-1-1-43,1 1-46,0 0-47,0 0-50,0 0-53,-1 0-55,1 0-57,0 1-60,0-1-63,1 0-64,-4 2 365,1-1-45,0 1-38,0 0-34,0-1-183,0 1-34,2-2-1999,-3 2 2931</inkml:trace>
  <inkml:trace contextRef="#ctx0" brushRef="#br0" timeOffset="21802.38">7096 1900 3346,'-10'-15'2059,"-2"4"-64,0 3-86,-2 2-106,7 4-949,-1 1-34,1 0-38,-1 0-41,0 0-42,0 1-46,0 0-48,0-1-52,0 1-101,1 0-45,-1 0-48,1-1-49,-8 2 194,2 2-88,1 4-80,2 1-72,2 3-62,1 1-56,1 2-47,1 0-39,-1 16-22,1 37-60,5-48 84,0-8-65,1 0-1,1 0 1,0 0-1,0 0 1,1-1-1,0 1 1,1-1-1,3 7 4,-5-13 0,0 1 1,1-1-1,-1 0 0,1-1 1,0 1-1,0 0 0,0-1 0,1 0 1,-1 1-1,1-1 0,-2-2 3,1 1-1,-1-1 1,0 0-1,1 0 1,-1 0 0,0 0-1,1 0 1,-1 0-1,1-1 1,0 1-1,-1-1 1,1 0 0,-1 0-1,1 0 1,0 0-1,-1 0 1,1 0-1,0-1-2,0 0 2,-1 0 0,1 0 0,-1-1 1,0 1-1,1 0 0,-1-1 0,0 0 0,0 1 0,0-1 0,0 0 0,0 0 0,-1 0 0,1 0 0,-1-1 0,1 1 0,-1 0 0,0-1 0,0 1 0,0-1 0,0 1 0,1-3-2,1-7-3,1-1-1,-1 1 0,0-13 4,6-52-74,0-10-50,1 30-27,-4 45 74,-6 12 70,1-1 1,-1 1-1,1 0 1,-1 0-1,0-1 1,1 1-1,-1 0 0,1 0 1,-1 0-1,1 0 1,-1 0-1,1 0 1,-1 0-1,1 0 1,-1 0-1,1 0 1,-1 0-1,1 0 1,-1 0-1,1 0 1,-1 0-1,1 0 1,-1 1-1,1-1 1,-1 0-1,1 0 1,-1 1 6,14 10-139,-8-1 128,27 74-52,-25-61 63,1 1 1,1-2-1,1 1 1,8 12-1,-17-32-114,1 1 33,0 1 14,1 1 39,11 16 32,-8-13-47,0 0-87,-3-4 19,0-1-38,0 0-8,-1-1-32,1 0-36,0 0-39,-1 0-42,1-1-44,0 1-49,-1-1-51,1-1-54,0 1-57,0-1-60,0 0-64,0-1-65,-1 1-70,1-2-73,0 1-74,-1-1 240,-2 0 321,0 1-36,1-1-44,-1 0-49,0 0-56,0 0-64,-1 0 83,1 1-41,0-2-713,1-1-404,-1-1-1019</inkml:trace>
  <inkml:trace contextRef="#ctx0" brushRef="#br0" timeOffset="22174.7">7105 1137 5587,'0'-2'163,"-1"0"124,1-1 108,0 0 95,0-1 204,0 0 94,0 0 247,0-3 618,1 3-273,0 2-500,1 1-191,-1 1-56,1 0 59,-1 1-394,0 0-38,0 0-39,1 1-45,-1 0-46,1 1-51,4 7 510,-1 1-86,-1 0-78,0 0-68,1 3-8,-1 0-71,0 3-19,2 10 34,1 3-4,-1-10-61,25 84 394,-14-52-362,2 1-36,3-1-42,1 0-44,2-3-47,3-1-50,94 150 180,-108-162-234,-7-10-103,-1-5-93,-5-19 428,-1 0-62,1 0-59,-1 0-59,1 0-55,-1-1-54,0 1-52,1-1-50,-1 0-48,0 0-45,0 0-43,0-1-43,0 1-39,0-1-37,-1 0-36,1 0-34,0 0-362,-1-1-72,0 0-63,1-1-56,-1 0-272,-1-1-52,1-1-326,-2-3-899,3 6 1953,0-1-45,-1 1-40,1 0-36,-1-1-193,0 1-35,-1-5-2113,2 6 3082</inkml:trace>
  <inkml:trace contextRef="#ctx0" brushRef="#br0" timeOffset="22431.26">7023 1687 3650,'-1'-2'1470,"1"0"-123,-1 0-117,1 0-111,0 0-107,1 0-100,-1 0-95,1 0-89,0 0-84,0 0-78,1 0-73,-1-1-67,1 1-62,0 0-55,0 0-51,0 0-44,2-1 59,-1-1-84,2 1-45,5-5 119,-7 6-126,0 0 6,-1 1 42,0-1 53,0 1 62,-2 1-275,15-10 588,1 2-94,0 1-85,1 0-71,-2 0-92,0 1-38,14-10 149,-16 8-333,0 1 37,50-27 475,-43 25-455,0 0-88,-9 3-58,0 1-44,0 1-49,0-1-55,1 0-60,-1 0-66,0 0-71,1 1-79,-10 3-39,-1 1 85,2-1-83,0 0 98,3-1-248,-4 1 407,0 0-34,0 1 12,-1-1-38,1 0-45,-1 1-53,0-1 21,1 1-44,-1-1-50,0 0-53,0 1-57,0-1-62,0 1-66,-1-1-68,1 0-7,0 0-79,-1 1-70,1-1-61,0-1-269,-1 1-61,1-1-324,0 0-892</inkml:trace>
  <inkml:trace contextRef="#ctx0" brushRef="#br0" timeOffset="22683.76">7673 1252 4898,'-4'0'529,"1"0"46,-1-1 39,1 1 34,-3-2 693,-6-4 1909,9 4-2292,-1 0-50,0-2 86,2 3-543,0-1-34,-2-1 177,0 0-118,2 2 122,0 1-108,1 2-114,0 1-119,1 1-125,0-2-114,0 1-34,1-1-33,-1 1-35,1 0-36,-1 0-36,1 1-36,0-1-37,0 0-39,-1 1-39,1-1-39,0 0-40,0 1-40,0-1-43,0 0-42,0 0-42,-1 0-44,1 0-45,0-1-44,0 0-46,-1 1-46,1-1-48,0 0 226,-1 0-66,1 0 83,0 0-55,-1 0-60,1 0-65,0 0-333,0 0-96,0 0-332,1 1-867</inkml:trace>
  <inkml:trace contextRef="#ctx0" brushRef="#br0" timeOffset="23003.93">7622 1673 6451,'-3'-3'475,"1"0"43,-1-2 622,0 0 254,-1-6 1996,3 6-2250,1 2-329,0-1-73,0-1-90,0 1-104,0 1-310,0 3 272,0 0-71,1 1-66,0 0-59,1 0-55,-1 1-50,1 0-43,0-1-39,1 2-19,-1-1-38,2 3-16,5 4-8,-8-7 15,1 0 49,3 10-112,0 0 34,9 47 237,-10-38-257,-3-10-49,1-1-38,0 1-45,0-1-51,0 1-58,1-1-64,0 0-70,1 0-76,-4-8 314,1 0-62,1-1-59,-1 1-57,0-1-52,0 0-51,1 0-46,-1 0-43,1 0-153,0-1-53,0 1-47,0-1-41,0 0-207,1 1-41,0-1-252,1 0-700,-2 0 1169,-1 0 237,0 0-40,1 0-732,1 0-411,1 0-1042</inkml:trace>
  <inkml:trace contextRef="#ctx0" brushRef="#br0" timeOffset="23508.62">7954 1398 2145,'0'0'1546,"0"0"-361,0 1-59,0-1-57,1 1-55,-1-1-56,0 1-52,0 0-52,0 0-50,-1 0-49,1 0-47,0 0-46,0 0-44,0 0-44,-1 0-42,1 0-39,0 0-40,-1 0-37,1 1-36,0-1-35,-1 2 248,0 0-122,0 0-111,0 0-99,-1 0-87,1 0-76,-1 1-66,1-1-66,-2 3-126,-2 4-209,2-6 239,1 0 53,0 0 83,0-1 93,0 0 107,1-2-56,0 1 35,0-1 36,0 0 39,-1 2-235,0 0-1,0 0 1,0 0 0,1 0-1,-1 0 1,1 0 0,0 1-1,0-1 1,0 2-25,-4 35 115,6-30-101,0 1 0,0-1 0,1 1 0,0-1 0,1 1 1,1 1-15,-2-3 5,2-1 1,-1 1-1,1-1 1,1 0-1,-1 0 1,1 0-1,1-1 0,5 7-5,-8-11 6,-1-1-1,1 0 0,0 0 1,0 0-1,0 0 0,0 0 0,1 0 1,-1-1-1,0 0 0,1 1 1,-1-1-1,1-1 0,-1 1 0,1 0 1,0-1-1,-1 0 0,1 0 1,0 0-1,-1 0 0,1 0 0,-1-1 1,1 1-1,2-2-5,2 0 14,-1 0 0,0-1 1,-1 0-1,1 0 0,0-1 0,-1 1 0,0-1 0,2-2-14,-2 2 7,0-1-1,-1-1 0,1 1 1,-1-1-1,0 0 1,0 0-1,-1 0 0,0-1-6,-1 3-1,-1-1-1,0 0 0,0 1 0,0-1 1,0 0-1,-1 0 0,0 0 0,0 0 1,0 0-1,-1 0 0,1-4 2,-2 4-7,1 1 0,-1 0 0,1-1 0,-1 1 0,-1 0 1,1 0-1,0 0 0,-1 0 0,0 0 0,0 0 0,0 0 0,-1 0 0,1 1 0,-4-4 7,-12-13-36,0 0-1,-2 1 1,-1 1 36,13 11-13,-1 0 0,0 1 0,0 0 0,-1 0 0,1 1 0,-1 1 0,0 0 0,-11-3 13,13 5-21,0 1 0,0 1 1,0 0-1,0 0 0,-1 0 1,1 1-1,-6 1 21,-6 3-71,3 1-48,1 1-63,5 2-80,6-4 219,1 1-91,2 0-87,0 0-83,1 1-78,0-1-73,2 1-68,0-1-64,1 0-59,0 1-55,1-1-49,1 0-46,-1-1-40,2 0-36,4 4-960,-5-5 1180,0-1-82,-1-1 192,0 1-54,0-1-60,0 0-67,1 2-380,0-1-112,1 1-351,1 2-910,-5-5 2289</inkml:trace>
  <inkml:trace contextRef="#ctx0" brushRef="#br0" timeOffset="24020.32">8193 1202 5763,'-1'0'532,"-1"-1"111,0-1 91,-1 1 73,-1-1 401,-4-2 1735,6 3-2081,0 1-52,0 0-186,1 0-60,0 1-68,1 0-81,0 1-90,0 0-101,1 1-113,1 0-122,2 7 594,1 1-98,-1-1-88,0 1-78,0-1-69,1 1-59,-1 0-50,0 0-39,2 6 3,11 24 61,-11-26-61,21 56 144,-6-15-80,-5-19-26,-1-7 13,2-2 48,-17-27-195,1-1 0,-1 1 0,0-1 0,0 1 0,1-1 1,-1 1-1,1-1 0,-1 1 0,0-1 0,1 1 0,-1-1 0,1 0 0,-1 1 1,1-1-1,-1 0 0,1 1 0,0-1 0,-1 0 0,1 0 0,-1 0 0,1 1 1,-1-1-1,1 0 0,0 0 0,-1 0 0,1 0 0,0 0 0,-1 0 0,1 0-9,0-1 17,0 1 0,0-1 0,0 1 0,0-1 0,0 0 0,0 1 0,0-1 0,-1 0 0,1 0 0,0 0 0,-1 0-1,1 0 1,0 0 0,-1 0 0,1 0-17,9-21 203,-4 2-92,-5 18-105,13-57 182,-7 13-107,0-1-34,5-34 10,-4 28-36,-3 17-15,2 0-1,3-6-5,-7 31-16,1-1-1,0 1 1,1 0-1,1 0 0,1-2 17,-7 12-8,1 0-1,0 0 0,0 0 0,-1-1 0,1 1 0,0 0 0,0 0 1,0 0-1,0 0 0,0 0 0,0 1 0,1-1 0,-1 0 1,0 0-1,0 1 0,0-1 0,1 1 0,-1-1 0,0 1 0,1 0 1,0-1 8,0 1-6,-1 0 1,1 1-1,-1-1 1,1 0-1,-1 1 1,1-1-1,-1 1 1,1-1-1,-1 1 1,0 0 0,1-1-1,-1 1 1,0 0-1,1 0 1,-1 0-1,1 1 6,20 24-5,-5 2 65,-15-25-44,36 62 173,-7-10 228,28 36-417,-45-72 67,1-2 0,11 11-67,-15-17 9,0-1 0,1-1 0,0 0 0,7 4-9,-18-13-149,3 3-4,0-1 105,0 0 69,8 4 102,-8-4-114,0-1-34,1 0-66,-1 0-86,0 0-106,-2-2 95,0 1-35,0 0-36,-1-1-40,1 0-41,-1 0-45,1 0-48,-1-1-48,0 0-53,-1 0-54,1-1 159,0 0 53,-1 1-23,1-1-102,-1 1-10,0-1-99,1 1-111,-1-1-124,0 1-131,0-1-124,1 0-109,-1 1-95,0-2-367,0 1-95,1-1-445,-1-2-1206</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0:59.669"/>
    </inkml:context>
    <inkml:brush xml:id="br0">
      <inkml:brushProperty name="width" value="0.05" units="cm"/>
      <inkml:brushProperty name="height" value="0.05" units="cm"/>
    </inkml:brush>
  </inkml:definitions>
  <inkml:trace contextRef="#ctx0" brushRef="#br0">217 151 560,'-22'0'725,"-11"0"139,-2-1 58,12 1-263,3 1-59,0-1 63,4 0-53,0 1 65,0 0 71,0 0 82,19-1 175,1-1-114,1 1-109,1-1-100,0 1-94,1-1-88,0 1-81,2-1-74,-1 1-83,0-1-54,1 0-47,0 0-42,7 0 0,0 0-77,39-4-129,-33 3 110,-11 1 38,0 0 46,-1 0 55,0 0 65,93-10 95,-1 0-50,0 0-41,1 0-39,-1 1-34,103-10 70,1 2-87,369-18 63,-329 31-69,224 9-5,296 35-9,-440-10-43,-166-10-8,-49-5 40,-90-13-52,-10-3 29,-11 1 2,-6-5-46,-1 2-21,0 1-1,-1 0 0,1 0 1,-1 1-1,-1-1-19,-26-3 33,-9 1-49,2 2-87,35 2 73,1 1-77,-4-1 23,-5-1 9,5 1-24,2 1-50,0 0-88,2 1 33,2-1-51,-1 1-55,1 1-64,0-1-69,0 1-74,1 1-83,0 0-86,-1 2-334,0-2 226,-6 5-997,3-4 619,4-1 438,-1-1-67,1 1-81,-1 0-96,1-1 108,0 0-50,0 1-234,-2 1-63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1:18.301"/>
    </inkml:context>
    <inkml:brush xml:id="br0">
      <inkml:brushProperty name="width" value="0.05" units="cm"/>
      <inkml:brushProperty name="height" value="0.05" units="cm"/>
    </inkml:brush>
  </inkml:definitions>
  <inkml:trace contextRef="#ctx0" brushRef="#br0">15 30 2849,'1'-7'1191,"0"2"-48,0 1 59,1 0 76,0 2-375,0 0 47,0 0 51,0-1 57,-1 3-892,-2 1 225,-1 0-42,1 0-41,0 1-40,0-1-39,-1 0-38,1 1-37,0-1-36,0 1-36,-1-1-34,0 3-52,-1-1-126,1 0-121,1 0 47,0-1-40,-1 0-36,1 1-37,0 1-416,-1 2-125,1-3 141,1 2-57,0-1-53,0 0-46,1 1-42,0-1-36,3 6-1038,-1-5 445,1 3-724</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5:38.828"/>
    </inkml:context>
    <inkml:brush xml:id="br0">
      <inkml:brushProperty name="width" value="0.05" units="cm"/>
      <inkml:brushProperty name="height" value="0.05" units="cm"/>
    </inkml:brush>
  </inkml:definitions>
  <inkml:trace contextRef="#ctx0" brushRef="#br0">180 1182 1697,'1'-4'819,"-1"0"-33,0-2 686,-2 1-128,-1 1-124,-2 2-117,-1 0-115,-1 2-108,-1 0-104,0 1-100,0 1-94,0 0-90,0 1-85,1 0-81,0 0-74,2 1-71,0-1-66,-25 29 37,5 4 97,4 10 140,17-33-220,0 0-1,1 1 0,1-1 1,-1 8-169,2-5 214,0 0 1,1 0-1,2 13-214,7 23 335,4-10-152,3-2-116,-11-30-63,0 0 0,1-1-1,0 0 1,0 0 0,1 0 0,0-1 0,0 0 0,1-1 0,0 1 0,4 1-4,-8-5 3,1-1 0,0 0 0,0 0 0,0-1 0,0 0 0,0 0 0,1 0 0,-1 0 0,1-1 0,-1 0 0,1 0 0,-1 0 0,1-1 0,0 0 0,-1 0 0,1 0 0,0-1-1,-1 0 1,1 0 0,4-2-3,-2 1 16,0 0-1,0-1 0,-1-1 1,0 1-1,1-1 0,-1 0 1,0-1-1,-1 0 0,1 0 1,-1 0-16,-2 1 13,0-1 0,-1 1 0,0 0 0,0-1 0,0 0 0,-1 1 0,1-1 1,-1 0-1,0 0 0,0 0 0,-1-1 0,0 1 0,0 0 0,0-1 0,0 1 0,-1-1-13,0-5 20,1 0 0,-2 1 0,1-1 0,-2 0 0,1 0 0,-2 1 0,1-1 0,-1 1 0,-1 0 1,0 0-1,-1-2-20,-1 1 14,0 1 0,0 0 1,-1 0-1,-3-3-14,-38-35 8,20 22-35,-1-1-21,8 11-31,3 5-34,0 4-55,0 5-258,16 2 377,1 1 0,-1-1 0,0 1 0,0 0 0,1-1 0,-1 1 0,0 0 0,1 0 0,-1 0 0,1 0-1,-1 0 1,1 1 0,0-1 0,-1 0 0,1 1 0,0-1 0,0 0 0,-1 2 49,-5 10-365,3-5 103,1 1-33,0 1-42,1-1-47,0-1-54,1 1-61,0-2-67,0 0-75,1-2 72,-1 0 60,2 11-994,1-8 804,-1-4 232,0 0-53,1 0-111,0 0-89,0 0-106,1 0-120,-1 0 114,1-1-62,0 1-240,3 2-636,-6-6 1766</inkml:trace>
  <inkml:trace contextRef="#ctx0" brushRef="#br0" timeOffset="427.01">489 1219 1937,'0'-2'698,"-1"0"-154,0-3 230,-1-9 951,2 10-1137,0 0 63,0-1 173,0 3-365,1 1 37,0-1 40,-1 1 43,1 0 48,0 0 49,0 1 17,0 0-90,1 1-82,-1 0-76,1 0-70,-1 0-61,1 1-57,-1 0-49,1 0-14,0 0-49,1 2 16,3 5 101,-5-7-134,0-1 56,9 18 392,-3 1-110,-2 2-93,-1 1-78,0 15 57,-3 17 20,0-23-151,-1 16-8,-4 23-40,0-14-15,3-19 24,1-75-25,-1-1-36,0-13-10,1 0-47,7-49-32,-5 83-36,1 0 1,1 0-1,1 0 0,0 0 1,1 1-1,0-1 0,2 2 0,0-1 1,1 1-1,4-6 4,8-3-73,-14 18 82,1 0 0,-1 0 0,1 1 0,0-1-1,1 2 1,-1-1 0,1 1 0,6-1-9,5-1-16,-1 2-38,-1 1-36,0 3-49,-1 1-58,0 1-65,-12-1-34,0 0-33,0 1-43,1 0-52,-2 0-59,1 1-70,0 0-76,0 0-85,-3-1 185,1 0-44,0 1-46,-1-1-50,1 1-53,-1-1-53,0 1-58,0 0-60,-1-1 174,0 0-66,0 0-57,0 0-52,0 0-235,0 1-50,1-1-284,0 3-786</inkml:trace>
  <inkml:trace contextRef="#ctx0" brushRef="#br0" timeOffset="1177.22">1283 1275 3890,'-2'-2'332,"0"1"-34,-2-2 217,2-1-86,-2-4 478,3 6-604,1-1 36,-1 0 127,1-1 90,-1 1 33,1-1 104,-1 1 120,0 1-358,1 0 37,-1-1-1,0 0-39,-1 0-38,0 1-36,-2-2 277,-1 2-124,-1 1-108,-1 0-97,0 1-82,0 1-69,-4 2-4,-18 8 36,24-9-132,1 1 39,-26 14 85,-1 1-42,-4 3-28,0-1-54,4 5-20,2 7 95,26-28-116,-1 1 1,1 0 0,0 0 0,1 0 0,-1 0 0,1 1 0,0-1 0,0 0 0,1 1 0,0 0 0,0-1 0,0 1 0,0 0-35,1-4 7,0 0 0,0-1 1,0 1-1,1-1 1,-1 1-1,0-1 0,1 1 1,-1 0-1,1-1 0,-1 0 1,1 1-1,0-1 0,0 1 1,0-1-1,-1 0 0,1 1 1,0-1-1,2 1-7,-2-1 7,1 0 0,-1 0-1,1 0 1,-1 0 0,1 0 0,0 0-1,0-1 1,-1 1 0,1-1 0,0 1-1,0-1 1,0 1 0,0-1 0,0 0-7,1 0 7,0 0 1,0 0-1,0 0 0,0-1 1,0 1-1,0-1 1,0 0-1,-1 1 1,1-1-1,0-1 0,0 1 1,-1 0-1,1-1 1,0 1-1,-1-1 1,0 0-1,1 0 1,-1 0-1,1 0-7,21-31 94,9-21-31,-20 25-22,-6-1 33,-6-11 113,-2 35-128,-2 1 57,-1 1 79,-4 3 159,0 5-5,3 1-159,2 0-81,1 0-59,-1 19 127,3 1-46,9 26 22,1-21-85,1 0 0,4 5-68,28 64 101,47 135 28,-83-209-108,0 0 1,-2 1-1,-1-1 1,-2 1-1,0 0 1,-1 0-1,-2 0 1,-1 4-22,-3 16 44,-2 0 1,-3 0-1,-1 0 0,-3 1-44,12-39 11,-2 1 0,1 0-1,-1-1 1,-1 0-1,0 0 1,0 0 0,0 0-1,-1-1 1,0 0 0,0 0-1,-1-1 1,0 0-11,-4 3 18,0-1 0,0-1 0,-1 0 0,0 0 0,0-1 0,0-1 0,-13 4-18,-36 7-14,-1-7-91,31-7 9,0-2-35,2-1-38,1-1-42,-51-9-613,45 2 411,16 4 141,-1-1-41,2-1-49,-1-1-57,-3-3-198,2-2-118,9 6 317,1 0-34,1-1-39,-1 0-39,2 0-42,-1-1-43,2-1-46,-1 0-48,2 0-49,-1-1-52,2 0-54,0-1-56,3 8 294,0 0-60,0 1-53,0-1-47,0-1-208,1 1-46,-1-2-252,0-2-695</inkml:trace>
  <inkml:trace contextRef="#ctx0" brushRef="#br0" timeOffset="1813.49">1669 1312 2337,'-1'-7'1824,"-1"-1"-96,-1 1-99,0-1-104,-1 0-109,1 0-113,-2 0-118,1 1-121,-1-1-127,3 4-517,-1 0-33,1 1-34,-1-1-34,1 1-36,-1-1-35,0 1-36,1 0-36,-1 0-38,0 0-37,0 0-38,0 0-40,1 0-38,-1 1-41,-10-6 404,-3 3-75,-3 2-61,-1 2-48,10 1-71,-1 1 0,1 0 0,-1 1 0,1 0 0,-9 3-93,12-3 42,1 1-1,0 0 1,-1 0-1,1 1 1,0 0-1,1 0 1,-1 0-1,0 2-41,-1 0 44,0 1-1,1 0 0,0 1 1,0 0-1,-3 6-43,2-2 44,1 0 0,1 1 0,-4 10-44,-7 40 74,16-59-70,-1 0-1,1 0 0,0 0 1,0 0-1,0 0 1,1 0-1,0 0 1,-1 0-1,1 0 1,1 0-1,-1 0 1,0 0-1,1-1 1,0 1-1,0 0 0,0-1 1,1 0-1,-1 1 1,1-1-1,-1 0 1,1 0-1,0 0 1,0-1-1,1 1 1,-1-1-1,0 0 1,3 2-4,-1-2 7,-1 0 1,0 0 0,1 0 0,-1-1-1,1 1 1,0-1 0,0 0 0,-1 0-1,1-1 1,4 0-8,-5 0 9,0 0 1,1 0-1,-1-1 0,0 0 0,0 0 0,0 0 1,0 0-1,-1-1 0,1 1 0,0-1 0,0 0 1,-1 0-1,1-1-9,37-29 90,-4-4-46,-27 25-46,-1-1 0,0 0 1,-1 0-1,0-1 0,5-12 2,-8 13-22,1 1 1,0 0-1,1 0 0,0 1 0,9-10 22,-16 20-2,0-1 0,0 1 0,1 0 0,-1 0 0,0 0-1,0 0 1,0-1 0,1 1 0,-1 0 0,0 0 0,0 0 0,1 0 0,-1 0 0,0 0 0,1 0 0,-1 0 0,0-1 0,0 1 0,1 0-1,-1 0 1,0 0 0,0 0 0,1 0 0,-1 1 0,0-1 0,1 0 0,-1 0 0,0 0 0,0 0 0,1 0 0,-1 0 0,0 0 2,8 9-28,4 21 21,-8-21-4,45 113 42,-31-74-14,-16-43-154,0-1 63,1 4 55,-1-3 66,3 9 120,-1-6-149,-3-5-59,1 0-39,0 1-49,-1-1-55,1 1-94,0 0-89,0-1-97,1 1-108,-1 0-119,-1-2 297,0-1-32,0 1-35,1 0-37,-1 0-37,0-1-38,0 0 41,0 0 38,0 0-278,1-1-961,-2 0 1159,1-1-49,0 1-303,0 0 410,-1 0-42,1 0-68,-1-1-43,1 1-39,0 0-34,-1 0-187,1 0-33,2 0-2043</inkml:trace>
  <inkml:trace contextRef="#ctx0" brushRef="#br0" timeOffset="2323.71">2032 1140 3153,'1'-4'1087,"0"2"-36,0 1-40,2 1-44,-1 1-49,1 1-53,0 0-57,0 1-61,0 0-66,0 1-69,0-1-74,0 1-78,-1-1-82,0 0-86,0 0-91,-2-1-94,4 8 391,-1-1-50,-1 1-47,1 0-43,-1-1-42,0 0-36,1 9 181,-2-2-141,0 0-68,-1 8 19,-8 34 272,-2-15-205,-4 21 102,12-31-259,6 0-35,-3-33-144,-1 0 1,0 0-1,0 1 1,0-1-1,0 0 1,0 0-1,0 0 0,0 1 1,0-1-1,0 0 1,0 0-1,0 0 1,1 0-1,-1 1 1,0-1-1,0 0 1,0 0-1,0 0 1,0 0-1,1 0 0,-1 0 1,0 0-1,0 1 1,0-1-1,0 0 1,1 0-1,-1 0 1,0 0-1,0 0 1,0 0-1,1 0 1,-1 0-1,0 0 0,0 0 1,0 0-1,1 0 1,-1 0-1,0 0 1,0 0-1,0 0 1,0 0-1,1 0 1,-1-1-1,0 1 1,0 0-1,0 0 1,0 0-1,1 0 0,-1 0 1,0 0-1,0 0 1,0-1-1,0 1 1,0 0-1,1 0 1,-1 0-1,0 0 1,0-1-1,0 1 1,0 0-1,0 0 0,0 0 1,0 0-1,0-1 1,0 1-1,0 0-2,7-11 65,10-38 92,-3 0-63,3-10-39,-9 36-44,0 0 0,1 0-1,2 1 1,9-17-11,-9 23-30,0 0 0,1 0 0,0 1 0,1 0 0,5-3 30,-7 9-7,0 0 0,0 0 0,1 2-1,10-6 8,-22 12 4,1 0 0,1 1-1,-1-1 1,0 0 0,0 1-1,0-1 1,0 1 0,0 0-1,1-1 1,-1 1 0,0 0-1,0 0 1,0-1 0,1 1 0,-1 0-1,0 0 1,0 0 0,1 1-4,-1 0-1,0-1 0,0 1 0,0 0 0,0 0 0,0 0 0,-1 1 0,1-1 0,0 0 1,-1 0-1,1 0 0,-1 0 0,1 1 0,-1-1 0,1 1 1,2 7-16,2 2 14,-1 1 1,-1-1 0,0 1 0,1 8 1,0 19 47,-1 32-47,3 21 51,-2-68-73,0 0 47,4 22 56,-5-15-90,-4-5-91,-1-13 8,-1 0-36,2-11 236,1 0-122,-1 0-114,1-1-104,-1 0-48,1 1-65,0-1-59,-1 0-53,1-1-153,0 1-55,0 0-415,1-1-64,1 0-1191,1 0 862,-2-1 904,1 1 35,-1-1 43,1 0 48,1 1 24,-1-1 73,1 0 80,0 0 88,-1 0-420,0 0-36,3-1-724,0 0-394,3-2-1013,-8 4 2765</inkml:trace>
  <inkml:trace contextRef="#ctx0" brushRef="#br0" timeOffset="2635.01">2752 1152 4274,'1'0'828,"-1"0"-58,1 0-57,0 1-54,-1-1-53,0 1-49,0 0-48,1 0-45,-1 0-42,-1 0-42,1 1-37,0-1-37,-1 2 207,0 0-116,0 1-50,-1 0-110,1-1-88,-4 7 121,4-7-118,-1 0 85,2-2-73,-1 0 39,-6 17 504,0 0-83,0 1-79,1 0-72,1 0-68,0 1-61,0-1-56,1 1-49,-2 16 82,0 0-110,2 4-64,-1 54 83,5-61-101,0-24-140,1 14 71,0-15-74,0-2-36,0 1-47,1-2-58,0 1-72,2-3-1604,0-3 120,1-4 120,0-1 117,-1-1 114,0 0 113,-1 1 111,-2 2 108,0 1 508,0 0-34,0-2-643,0-1-358,1-4-910</inkml:trace>
  <inkml:trace contextRef="#ctx0" brushRef="#br0" timeOffset="2877.11">2598 970 1425,'-1'-2'714,"0"-1"-415,-1 1 66,1 0 68,0-1 68,0 1 71,0-1 71,1 1 73,-1-1 75,0 1 74,1-1 78,-1 1 77,1-1 80,0 0 81,0 0 82,-1 0 83,2 5-1101,-1 1-68,1 1-65,0-1-60,0 0-59,1 0-56,0 1-52,0-1-49,0 2-94,1-1-61,0 0-57,0 0-50,1 2-299,1 0-85,-1 0-69,0-1-49,3 3-905,-6-7 1243,1 1-54,-1-1-51,0 1-42,1 0-198,-1-1-43,1 1-238,1 1-659,-2-2 1685</inkml:trace>
  <inkml:trace contextRef="#ctx0" brushRef="#br0" timeOffset="3301.25">2984 1082 5106,'-3'-2'1191,"0"1"-76,0 0-72,0 0-72,0 2-66,1-1-66,-1 1-61,1 0-60,-1 1-56,1 0-54,0 0-51,0 0-48,0 1-45,1-1-43,0 1-40,-1 0-37,1 2 136,1 1-76,0-1-66,1 0-53,2 3 128,-2-7-366,0 0 0,0 1 0,0-1 0,0-1 0,0 1 0,0 0 0,0 0 0,0 0 0,0 0 0,1-1 0,-1 1 0,0-1 0,0 1 0,1-1 0,-1 1 1,0-1-1,1 1-47,22 2 233,1-1-76,13-3-34,-1-2-87,20-2-34,-20 6 41,-7 0-35,-24-1-6,-1 0 0,1 0 0,0 0 1,-1 1-1,1 0 0,-1 0 0,1 0 1,-1 1-1,1-1 0,-1 1 0,1 1-2,-6-3 1,1 1 0,0-1 0,-1 0 0,1 1-1,-1-1 1,0 1 0,1-1 0,-1 0 0,1 1-1,-1-1 1,0 1 0,1 0 0,-1-1 0,0 1-1,1-1 1,-1 1 0,0-1 0,0 1-1,0 0 1,1-1 0,-1 1 0,0-1 0,0 1-1,0 0 1,0-1 0,0 1 0,0 0 0,0-1-1,-1 1 1,1-1 0,0 1 0,0 0 0,0-1-1,-1 1 1,1-1 0,0 1 0,0-1 0,-1 1-1,1 0 0,-18 22 15,13-19-10,-40 60 17,7-9-12,-39 51-7,67-93 0,1 0 0,0 0 1,1 1-1,1 1 0,0-1 1,0 1-1,2 0 0,0 1 0,1-1 1,0 1-1,1 0 0,1 0 1,0 10-4,0-9 4,1-12-1,1-1-1,-1 0 1,1 1-1,0-1 1,0 1 0,0-1-1,1 1 1,0-1-3,-1-3 1,0 1 1,1-1-1,0 0 0,-1 0 1,1 0-1,0 0 1,-1 0-1,1 1 0,0-1 1,0 0-1,0-1 0,0 1 1,0 0-1,0 0 1,0 0-1,0-1 0,1 1 1,-1 0-1,0-1 0,0 1 1,1-1-1,-1 1 1,0-1-1,0 0 0,1 0 1,-1 0-1,0 1 0,1-1 1,-1 0-1,0 0-1,28 0-88,-17-1 79,1-1 0,0 0 0,0-1 1,0-1 8,7-2-71,0-1-75,-4 0-52,0 0-85,0 0-103,0-1-115,-8 4 201,0-1-34,0 1-38,-1 0-38,1 0-41,0 0-43,0-1-44,-1 1-47,1 0-82,0 0-55,0-1-59,0 1-60,0 0-62,0 0-65,-1 0-67,1 0-69,-5 2 463,0 1-47,-1 0-44,1-1-37,0 1-197,0-1-36,6-3-2135,-9 5 3132</inkml:trace>
  <inkml:trace contextRef="#ctx0" brushRef="#br0" timeOffset="3600.39">2943 1480 5763,'1'1'1106,"1"0"-85,0 0-81,1 0-77,0 0-73,0-1-68,0 1-65,1-1-59,-1 0-57,1 1-51,0-1-47,-1 0-44,1 0-38,0 0-35,3-1 238,1 1-11,1 0 168,6 1-185,0 0-73,-1-1-69,0 0-66,0-1-60,0 0-58,0 0-52,0 0-50,2-2-38,0 1-58,1-1-51,-1-1-46,3-1-65,1 0-43,39-15-526,-56 19 486,0 0 53,0 0 45,0 0 37,3-1-18,8-3-49,-10 4 58,0-1-65,-1 1 11,0 0-45,0 0-51,0 0-57,0 0-64,0 0-70,0 0-77,0 0-83,-1 1 157,-1-1-39,1 0-37,0 1-35,2-2-659,0 1-116,1-1-397,-1 0-115,2 0-479,2-2-1289</inkml:trace>
  <inkml:trace contextRef="#ctx0" brushRef="#br0" timeOffset="4123.57">3732 1410 3073,'1'-4'1349,"0"0"-118,0 0-113,-2 0-104,1 0-98,-1-1-91,0 1-84,-1-1-78,0 1-183,1 1-41,-1-1-39,0 0-34,-1-1 126,0 0-58,0 0-45,0 0-34,-7-12 938,5 9-955,0 0-38,-6-5 198,-2 4-118,-2 3-96,2 3-93,0 4-44,10-1-121,0 1 0,-1-1 0,1 1 0,1 0 0,-1 0 0,0 1 0,0-1 0,0 1 0,1-1 0,-1 1 0,1 0 0,-1 0 0,1 0 0,-1 1-26,-12 16 200,-1 9-8,1 2-42,8-16-84,2 1 0,0 0 1,-2 7-67,5-13 20,1 0 1,-1 1 0,2-1 0,-1 8-21,1-11 4,1 0 0,0 0 0,-1 0 0,2 0 0,-1-1 0,1 1 0,0 0 0,0-1 0,0 1 1,1-1-1,0 0 0,2 3-4,-4-6 4,0 0 0,1-1 1,-1 1-1,1 0 0,0 0 1,-1-1-1,1 1 0,0-1 1,0 0-1,0 1 0,0-1 1,0 0-1,0 0 0,0 0 1,0 0-1,1-1 0,-1 1 1,0-1-1,1 1 0,-1-1 1,0 0-1,0 0 0,1 0 1,-1 0-1,0 0 0,1 0 1,-1-1-1,0 1 0,1-1 1,-1 0-1,0 1 0,0-1 1,0 0-1,0 0 0,0-1 1,0 1-1,0 0 1,0-1-5,9-5 22,0-2 0,0 1-1,-1-2 1,0 1 0,6-9-22,39-36 53,-42 43-49,1-2 1,-2 1 0,1-1 0,-2-1 0,0 0 0,-1-1-1,0 0 1,4-10-5,-14 24-2,1-1 0,-1 1-1,1-1 1,-1 1 0,1-1-1,0 1 1,0-1 0,0 1-1,0 0 1,-1-1 0,2 1-1,-1 0 1,0 0 0,0 0-1,0 0 1,1 0 0,-1 0-1,0 0 1,2-1 2,-3 2 0,1 1-1,-1-1 1,1 0-1,-1 0 1,1 0 0,-1 0-1,1 1 1,-1-1 0,1 0-1,-1 0 1,1 1 0,-1-1-1,0 0 1,1 1-1,-1-1 1,1 0 0,-1 1-1,0-1 1,1 1 0,-1-1-1,0 1 1,0-1-1,1 1 1,-1-1 0,0 1-1,0-1 1,6 18 44,-2-2-7,34 127 368,-16-84-319,-21-56-226,0 0 49,0 0 40,0-1 34,1 3 57,0 7 181,-1-8-193,0-1-50,-1 1-77,1 0-101,-1-3 55,1 1-33,-1 0-37,1 0-38,-1 0-42,1 0-45,-1 0-47,1 0-50,-1-1-54,1 1-55,0 0-58,0 0-62,-1-1 495,0 0-60,1 0-54,-1-1-49,1 1-47,-1-1-39,1 1-527,0-1-330,4-3-2603,-4 3 3084,0-1 41,1-1-157,2 0-935,1-2-865</inkml:trace>
  <inkml:trace contextRef="#ctx0" brushRef="#br0" timeOffset="4489.88">3983 111 5667,'-1'-13'883,"0"-19"1174,1 21-1326,1 0 62,0 2-69,0 1 73,2-1 85,0 1 100,0 3-443,0 2-57,1 2-52,0 0-48,1 2-44,0 1-39,5 4 198,-2 0-175,0 0-50,8 11 438,-2 2-290,-2 1-60,0 1-54,-2 1-49,0 0-43,-2 2-39,6 24 82,-6-8-119,8 70 127,-13-65-120,6 132 288,-3-43-159,-2-3-50,3 52 19,-2-117-209,-1 36 67,1 26 39,3-43-88,1-34-52,4 0-35,4-1-42,6-3-50,-22-44 166,1 0-34,0 0-93,0 0-118,0-1-110,0-1-98,-1-1-86,0-1-77,0-1-64,0-1-200,-1 0-58,1-12-2218,-2 8 1814,1 3 520,0-1 52,0 1 64,0 1 79,0 0-173,1 1-74,-1-1-66,0 1-58,0-1-256,0 0-57,1-1-310,-1-1-852</inkml:trace>
  <inkml:trace contextRef="#ctx0" brushRef="#br0" timeOffset="4751.91">3783 956 1425,'2'-4'1515,"0"-1"-483,1 2-95,0-1-87,1 1-81,0 0-73,1 0-65,0 1-58,4-2 240,0 1-101,2 0 53,5-1 307,-8 2-518,0 0 39,-4 1-165,1 0 35,6-3 118,1 0-46,0 0-44,0 1-43,-1-1-40,1 1-38,0 0-36,0-1-35,6 0 91,-1-1-66,1 1-58,0 0-53,0 1-45,0 0-38,18-3 43,-12 3-118,32-12 149,-38 10-177,-1-2-41,1 0-67,0-2-87,-1 0-106,-9 5 91,0-1-34,-3 2-34,1 0-78,-1 1-66,1 0-54,6-2-456,6 1-671,-11 1 929,3 0-119,-5 1 435,-1 0 44,0 1-75,0-1-34,-1 0-42,1 1-48,0 0-56,-1-1-62,1 1-70,0 0-77,-1-1 93,1 1-49,-1 0-42,0 0-38,1-1-200,0 1-36,9-1-2177,-13 1 3193</inkml:trace>
  <inkml:trace contextRef="#ctx0" brushRef="#br0" timeOffset="4974.39">4635 712 3041,'-2'-4'1108,"0"1"-114,0-1-106,0 1-98,1-1-91,0 1-83,-1-1-75,1 1-68,0-1-46,0 1-56,0-1-47,-1 1-38,-1-3 160,-6-8 497,1 11-519,4 4-191,0 2-99,1 1-76,1-1-70,1 1-41,-1-1-48,1 1-52,0-1-57,0 0-62,0 0-67,1 0-72,-1 8-570,1-3 275,0-1 51,1 0-85,0-1 41,0 0-89,0 0-103,1-1-116,-1-1 191,1-1-65,0 2-239,1 1-635,-2-5 1549</inkml:trace>
  <inkml:trace contextRef="#ctx0" brushRef="#br0" timeOffset="5336.82">4616 1117 3778,'-2'-3'638,"0"0"40,-3-1 777,1 0 57,-6-3 2093,7 6-2548,0 0-49,0 1 101,1 1-598,0-1-35,0 1-38,1-1-41,-1 2-45,0-1-49,0 0-51,0 1-56,1 0-59,-1 0-62,0 1-66,0 0-70,0 0-72,0 0-78,-3 9 524,0 0-52,1 1-45,1 1-41,-1 14 72,2 2-105,5 51 32,0-49-45,-2-23-103,8 67 157,-6-60-146,0 0 1,1 0-1,1 0 0,0 0 0,1-1 0,1 0-37,1-4 32,2-7-71,1-4-61,1-4-53,7-8-176,6-9-286,-17 14 307,1-1-91,0 0-48,1-1-46,-1 1-44,0 0-40,0-1-39,8-8-718,-6 6 475,-1 1-38,10-12-995,4-3-503,11-14-1321,-29 32 3020,7-7-662,5-6-584</inkml:trace>
  <inkml:trace contextRef="#ctx0" brushRef="#br0" timeOffset="6086.38">5047 1096 2721,'0'-1'598,"-1"0"-44,1 1-43,-1 0-40,1 0-38,-1 0-36,-1 0 298,-1 1-118,0 0-100,0 1-85,0-1-65,-1 2-20,-5 3 431,5-4-381,2 0 31,1-1 98,-6 4 200,2 1-78,0 0-72,0 1-67,0 0-59,0 1-55,1 0-47,1 0-42,-3 5 88,1 1-66,-8 26 434,11-32-538,-6 26 353,3 2-93,4 8-4,5 20 111,-3-60-513,0 1 1,0-1-1,1 0 1,-1 1-1,1-1 1,0 0-1,0 0 1,0 0-1,1 1-38,0-1 32,0-1 0,-1 1-1,1-1 1,0 0 0,1 0-1,-1 0 1,0-1 0,1 1-1,1 0-31,-2-1 19,0-1-1,-1 0 0,1 0 0,0 0 0,0 0 0,-1 0 0,1 0 0,0-1 0,0 0 0,0 1 0,0-1 0,0 0 0,2-1-18,-2 1 13,-1-1 0,1 1 0,0-1 0,0 0 0,0 0 0,-1-1 0,1 1 0,-1-1 0,1 1 0,-1-1 0,1 0 0,-1 1 1,0-1-1,0 0 0,1-2-13,27-34 115,-6-7-42,-19 31-66,0 1 1,0-1-1,-2 0 0,1 0 0,-2 0 0,0-4-7,-1 7-6,0 0 0,-1-1-1,-1 1 1,0 0 0,0 0 0,-2-3 6,1 6-9,0 0 0,-1 0 0,0 0 1,0 0-1,-1 1 0,1-1 0,-2 1 1,1 0-1,-1 0 0,0 1 0,-1-1 0,0 1 1,-3-3 8,4 5-9,0 1 0,0-1 1,0 1-1,0 1 0,-1-1 1,1 1-1,-1 0 0,1 0 1,-1 1-1,0-1 0,1 1 1,-1 0-1,-4 1 9,6-1-6,1 1 0,-1 0 1,0 0-1,1 1 0,-1-1 0,0 1 0,1-1 1,-1 1-1,1 0 0,-1 1 0,1-1 0,0 0 1,0 1-1,-1 0 0,1 0 0,0 0 0,0 0 1,1 1-1,-1-1 0,0 1 0,1-1 0,-3 4 6,5-5-2,-1 0-1,0 0 0,1 0 0,-1 0 0,1 1 1,-1-1-1,1 0 0,0 0 0,-1 0 0,1 1 0,0-1 1,0 0-1,0 1 0,0-1 0,0 0 0,0 0 1,0 1-1,0-1 0,1 0 0,-1 0 0,1 1 3,0 1-2,0-1 0,0 0 1,1 1-1,-1-1 0,1 0 0,-1 0 0,1 0 0,0 0 0,0 0 0,1 1 2,2 1 0,0-1-1,1 1 0,-1-1 1,1 0-1,0 0 1,0 0-1,0-1 1,4 1 0,-2-2-8,1 0 1,-1 0 0,1-1 0,0 0-1,-1 0 1,1-1 0,0 0-1,-1-1 1,0 0 0,7-2 7,18-8-44,-1 0 0,3-4 44,3-1-13,18-7-1,-30 11 14,0 2 0,0 1 1,1 1-1,1 1 0,-1 2 0,9-1 0,-31 7 4,0-1 0,0 1 0,0 1 0,0-1 0,0 1 0,0 0 0,0 0 0,0 0 0,0 1 0,0-1 0,-1 1 0,3 2-4,-3-2 7,-1 0 0,1 0-1,-1 0 1,0 1 0,0-1-1,0 1 1,0 0 0,-1 0-1,1 0 1,-1 0 0,0 1-1,0-1 1,0 0 0,0 1-1,0 0 1,-1-1-1,1 1 1,-1 0 0,0 0-1,0 0 1,-1 0 0,1 0-1,-1 0 1,0 1-7,-1 21 103,-2-1 0,-1 0 0,-6 22-103,3-10 130,0-1 44,4 1 58,4 0 73,1-25 82,3-8-68,2-5-63,1-5-55,1-3-46,-1-1-40,7-11 27,-9 13-92,18-22 61,1 1-40,7-5-25,18-16-19,-5 4-5,-32 32-21,0 1-1,2 1 1,-1 0-1,2 0 1,4-1-1,-14 9-4,1 1 0,0 0 0,0 0 0,1 0 0,-1 1 0,4-1 4,-6 2-8,1 0 0,0 1 1,-1 0-1,1 0 0,0 0 1,-1 0-1,1 1 0,-1 0 0,2 1 8,-5-2 1,-1 1-1,0 0 0,0 0 0,0-1 0,0 1 0,0 0 0,0 0 0,0 0 1,0 1-1,0-1 0,-1 0 0,1 0 0,0 0 0,-1 0 0,1 1 0,-1-1 1,1 0-1,-1 1 0,0-1 0,1 0 0,-1 1 0,0-1 0,0 1 0,0-1 0,0 1 0,-1 41 82,1-39-65,-3 49 261,3 0 1,3 23-279,7 1 158,-7-66-80,0 0-49,1 1-68,1 0-88,-1-4-17,0 0-54,0-1-60,1 0-67,1 2-182,1-1-125,-4-4 266,1 0-36,0-1-36,0 1-39,0-1-39,0-1-42,1 1-42,-1-1-44,1 0-46,-1 0-47,1-1-49,0 0-49,-2 0-119,0-1-108,1 1-98,-1-1-84,1 0-344,0 0-85,1 0-415,3 0-1136,-8 0 3184</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5:36.331"/>
    </inkml:context>
    <inkml:brush xml:id="br0">
      <inkml:brushProperty name="width" value="0.05" units="cm"/>
      <inkml:brushProperty name="height" value="0.05" units="cm"/>
    </inkml:brush>
  </inkml:definitions>
  <inkml:trace contextRef="#ctx0" brushRef="#br0">130 756 2145,'-1'3'1193,"0"0"-106,0 1-101,1 0-94,-1-1-88,0 1-82,1 0-76,0 0-70,0 2 125,0 0-107,0 0-92,0 0-74,1 2 48,2 12 654,-1-11-586,0-2 49,-1-4-243,0 0 42,4 7 317,1-3-102,1-1-94,2-2-83,0-1-74,1-2-66,1-1-55,0-1-47,10-3 78,24-11 192,-33 11-228,18-12 62,0-5-61,-2-5-53,-4-5-42,-19 25-112,-2-1 1,1 1 0,-1-1 0,0 0 0,0-1 0,1-5-25,-3 8 8,0 1 1,0-1-1,0 0 1,-1 0 0,0 0-1,0 0 1,0 0 0,-1 0-1,1 0 1,-1 0-1,-1 0 1,1 0 0,-1 0-1,1 1 1,-1-1 0,-2-3-9,2 5-3,0 0 0,0 0 0,0 0 0,0 0 0,-1 0 0,1 1 0,-1-1 0,0 0 0,1 1 0,-1 0 0,0 0 0,0 0 0,-1 0 0,1 0 0,0 1 0,-1-1 0,-2 0 3,1 1-9,0 0 1,-1 1 0,1-1-1,0 1 1,-1 0-1,1 0 1,0 1-1,-1 0 1,1 0-1,0 0 1,-3 1 8,-5 2-20,0 1-1,0 1 1,1 0 0,0 0 0,-4 4 20,-28 21-25,28-18 14,1 0 0,0 2 0,1 0 0,0 1 0,2 0 0,0 1 0,0 0 0,-7 16 11,13-21-5,0 1 0,1-1 0,1 1-1,0 0 1,0 0 0,1 0 0,1 1 0,0-1 0,1 1 0,0-1-1,1 1 1,1-1 0,0 1 0,1 0 5,0-8 0,0 1 1,1-1-1,-1 0 1,1 0-1,1 0 0,-1 0 1,1 0-1,0-1 1,0 1-1,1-1 1,-1 0-1,1-1 0,4 4 0,34 21-23,-38-27 12,0 1 0,1-1-1,-1 0 1,1 0 0,0-1 0,3 1 11,0-1-15,-1 0-40,-1-1-40,1 0-39,-1 1-39,1-1-38,-1 0-38,0-1-37,1 1-36,-1-1-37,0 1-35,0-1-36,0 0-33,1 0-35,-1 0-33,1 1-33,7-2-623,1 0-117,-9 1 555,-3 1 325,0-1-41,0 1-46,0 0-51,0 0-56,0-1-63,-2 1 323,2 0-300,-1 0-45,0-1-41,1 1-35,0 0-195,0 0-34,7-1-2140</inkml:trace>
  <inkml:trace contextRef="#ctx0" brushRef="#br0" timeOffset="527.71">935 672 2177,'-1'0'370,"-1"0"0,0-1-1,1 1 1,-1 0 0,1-1 0,-1 1 0,1-1-1,-1 0 1,1 1 0,0-1 0,-1 0 0,0-1-370,-7-4 1781,6 3-1091,-1 0-34,0 1-40,0-1-45,0 1-51,0 1-57,0-1-62,0 1-68,-6 1 374,1 0-90,0 0-84,1 2-77,0 0-72,-1 0-64,2 1-57,-1 1-52,-4 3 37,0 0-86,-2 3-46,-6 5-2,10-7-41,0 0 38,-4 2 131,-28 19 95,-16 21 35,53-44-342,0 0-1,1-1 0,0 2 1,0-1-1,0 0 0,1 1 1,0-1-1,0 1 0,1 0 1,0 0-1,0 0 0,0 0-29,1 1 22,-1 0 1,2-1-1,-1 1 0,1 0 0,0-1 0,0 1 0,1 0 0,0-1 0,1 1 0,0-1 0,1 4-22,-2-10 3,-1 1 0,1-1 1,0 0-1,0 1 0,0-1 0,0 0 0,1 1 0,-1-1 0,0 0 0,1 0 1,-1 0-1,0 0 0,1 0 0,-1-1 0,1 1 0,-1 0 0,1-1 0,0 1 1,-1-1-1,1 1 0,0-1 0,-1 0 0,1 1 0,0-1 0,-1 0 0,1 0 1,0-1-1,0 1 0,-1 0 0,1 0 0,0-1 0,0 0-3,12-1 31,-1-2 1,1 0-1,12-6-31,-8 3 25,-11 4-24,0 0-1,0 0 1,0 0 0,0-1-1,-1 0 1,6-5-1,-2 0-16,0 0 0,0-1 0,5-7 16,6-11-88,0-1 1,8-18 87,-24 37-25,0 0 0,-1 0 0,0-1 0,2-8 25,5-15-47,-13 52-5,1 17 76,2-6 60,0 1-1,2-1 0,2 4-83,6 3 79,-7-27-37,0 0-1,1 0 0,0-1 1,0 0-1,1 0 1,0 0-1,3 2-41,11 10 40,5 0-92,-11-11-22,0 1-38,-4-4-148,-6-4 111,0-1-75,-1 1-39,0-1-85,1 0-102,-1-1-115,0 1-6,0-1-100,0 0-109,0 0-117,0 0-127,-2-1 462,1 1-35,-1 0-36,1-1-37,-1 1-38,1-1-40,-1 1 65,0 0-58,0-1-49,0 1-45,0-1-217,0 1-43,1-1-261,0 0-725</inkml:trace>
  <inkml:trace contextRef="#ctx0" brushRef="#br0" timeOffset="885.68">1659 572 5699,'-5'-1'747,"0"0"-46,-1 0-43,1 0-43,0 1-42,0-1-38,0 1-38,0 0-36,-5 1 360,1 0-125,-1 1-111,1 1-97,-1 1-14,-1 1-100,3-1-120,0 1-41,-17 16 364,16-11-303,0 1 77,0 1 111,-11 16 30,-1-2-52,-13 16 184,29-34-507,0 0 0,0 0 0,1 0 0,0 1 0,0 0 0,1-1 0,-2 9-117,2-5 97,1 0 1,0 0-1,1 0 1,1 0 0,-1 1-1,2 1-97,5 21 218,5-9-78,6-2-52,7-6-68,7-5-81,-18-9 1,0-2-72,0 1-77,1-2-81,0 0-86,0 0-90,0-1-94,0 0-100,0-1-104,0-1-108,0 0-113,-1-1-117,1 0-122,-1 0-126,-7 1 626,1-1-33,-1 1-34,0 0-34,-2 0 222,-1 1-38,4-2-744,1-1-412,5-2-1050</inkml:trace>
  <inkml:trace contextRef="#ctx0" brushRef="#br0" timeOffset="1372.51">1806 67 4882,'0'-3'-541,"0"1"96,0 0 90,0-1 86,0 1 90,0 0 67,0 0 61,0-1 59,0 1 53,0 0 50,0 0 45,0 0 42,0-1 88,0 0 46,0-2 444,1 0 10,1-5 1128,-1 6-752,2-3 1654,-1 6-2002,-1 0-55,-1 1-182,1 0-64,0 0-72,1 1-86,-1 0-95,0 1-107,0 1-117,0-2-66,-1 1-33,6 13 787,-2 0-117,-2 1-104,0 0-94,-1 3-23,-2 0-97,0 3-39,-2 13-3,-1 8 16,3-14-8,1 16-44,0 35 76,1-38 15,7 37-302,4 28 212,-4-37 157,15 62-369,-18-115 26,5 1 68,-10-18-88,1 1 0,-1-1 0,0 1 0,1-1 0,-1 1 0,1-1 0,0 1 0,-1-1 0,1 1 0,-1-1 0,1 0 0,0 1 0,-1-1 0,1 0 0,0 0 0,-1 0 0,1 1 0,0-1 0,-1 0 0,1 0 0,0 0 0,-1 0 0,1 0 0,0 0 0,-1 0 0,1 0 0,0 0 0,0-1 0,-1 1 0,1 0 0,0 0 0,-1-1 0,1 1 0,-1 0 0,1-1 0,0 1 0,-1 0 0,1-1 0,-1 1 0,1-1 0,-1 1 0,1-1 0,-1 1 0,1-1 1,-1 0-1,0 1 0,1-1 0,-1 1 0,0-1 0,0 0 0,1 1 0,-1-1-6,11-15 69,18-26 37,11-23-60,-17 23-46,37-68-95,-39 77-8,0 1 0,6-4 103,-12 23-75,-1 12 37,-12 1 40,0 1-1,-1 0 0,1 0 0,0 0 0,0 0 0,-1 0 0,1 1 0,0-1 0,-1 0 0,0 1 0,1-1 0,-1 1 0,0-1 0,1 3-1,14 23 77,0 11 96,-15-36-157,11 28 226,1-1 0,1-1 0,2 0 0,13 17-242,19 18 370,-19-30-205,1-1-43,2-2-49,1-3-61,-6-13-133,-17-12 41,0-1-46,-2-1-25,0-1-51,0-1-59,0-1-68,2-1-192,-5 2 210,-1-1-37,1 0-39,-1 0-40,1 0-43,-1-1-45,0 0-47,0 0-50,0 0-51,-1 0-54,0-1-56,1 1-58,-2-1-59,1 0-63,-1 2 41,-1 0-111,1 0-99,-1 0-87,1-1-338,0 0-86,0-1-410,2-3-1114</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5:34.618"/>
    </inkml:context>
    <inkml:brush xml:id="br0">
      <inkml:brushProperty name="width" value="0.05" units="cm"/>
      <inkml:brushProperty name="height" value="0.05" units="cm"/>
    </inkml:brush>
  </inkml:definitions>
  <inkml:trace contextRef="#ctx0" brushRef="#br0">731 273 2417,'1'-2'640,"1"0"92,1 0 240,1 0 608,2-2 791,-5 3-1622,1-1-44,-2 0-160,1 0-47,0 0-55,-1-1-63,0-6 352,0 0-68,0 1-63,1 0-60,-1-5 189,0 1-119,0 1-103,0-1-89,-2-2-14,0 0-81,-4-2-6,-6-11 104,-4 4-195,-1 1-39,11 16-142,1 1 1,-1 0 0,0 0-1,0 1 1,0-1-1,-1 1-46,2 2 26,0-1-1,0 1 0,0 0 0,-1 0 1,1 1-1,-4-1-25,4 1 14,0 0-1,-1 1 1,1 0 0,-1 0 0,1 0 0,-1 1 0,1 0-1,-1 0 1,1 0 0,0 1 0,-3 0-14,-1 1 15,0 0 0,1 1 0,-1-1 0,1 2 0,0-1 0,0 1 0,1 0 0,-1 1 0,1 0 0,0 0 0,1 0 0,0 1 0,-3 3-15,0 4 42,1 0 1,0 1-1,1-1 1,0 2-1,1-1 1,1 1-1,1-1 1,0 1-1,-1 11-42,-2 32 182,2 1 0,3 3-182,-3 23 113,-6 82 18,-24 250 31,28-357-163,-16 109 155,12-97-126,0-9-78,0 0-108,10-60 210,0 0-53,1-1-50,-1-1-47,1 0-43,0 0-40,-1-1-37,1 0-32,0 0-212,0-1-63,0-1-168,1-2-428,0-2-250,0 0 505,0 1 208,0 0 84,0 0 176,0 0 88,0 1 102,0-1 116,9-20-2255,-7 15 1453,1 0-88,-3 5 448,1-1-34,-1 1-39,1-1-43,0-2-397,1 1-86,-1-3-309,3-3-813</inkml:trace>
  <inkml:trace contextRef="#ctx0" brushRef="#br0" timeOffset="260.34">9 1018 3810,'-4'3'1169,"2"0"-106,0 1-99,1 0-91,2 1-82,0 0-75,1-1-67,0 1-59,4 3 252,0-1-97,0-2-131,8 2 748,-4-6-817,0 0-63,0-1-58,0-1-55,1 0-51,-1-1-47,0 0-42,0 0-39,6-3 43,0-1-73,4-1-41,8-5-31,6-2-6,-12 6 33,73-27-65,-53 20-87,-14 4-53,-1 1-75,-15 5-26,13-10-97,-17 10 162,-1 1-53,-2 0-1,0 0-50,0 1-58,0 0-66,1-1-75,-1 1-83,1 1-92,0-1-100,-5 2 191,1 0 44,0 0-50,1 0-204,0-1-220,-2 1 264,1 1 48,-1 0-82,0 0 39,0 1-87,0 0-100,0 1-113,0-1 62,0 1-63,0 0-253,1 2-681,-2-4 1907</inkml:trace>
  <inkml:trace contextRef="#ctx0" brushRef="#br0" timeOffset="686.83">745 888 3650,'4'-1'1471,"0"1"-98,1 2-79,-1-1-58,0 0 883,-4-4-5,0 5-1595,0 0-73,0 1-66,-2 0-60,0 1-3,0 1-62,-3 1 36,1 1-70,-2 2 62,3-5-63,-8 15 177,-2-1-93,-4 5-15,3 3-73,5-1-54,-11 27 113,3 5-51,15-47-193,1-1-1,0 0 0,0 1 1,1-1-1,0 1-30,0-6 7,1 1-1,0 0 1,0 0-1,0-1 1,0 1-1,0-1 1,1 1 0,0-1-1,2 4-6,-1-4 7,-1 0-1,1-1 1,0 1-1,1-1 1,-1 0-1,0 0 1,1 0 0,0 0-1,0 0 1,-1-1-1,2 0 1,-1 0-1,0 0 1,0 0-1,1-1 1,-1 0-1,0 1 1,1-2 0,0 1-1,-1 0 1,1-1-1,-1 0 1,1 0-1,-1 0 1,1-1-1,0 0 1,0 0-7,7-1 17,-1 0-1,1-1 1,-1-1 0,0 0 0,0 0-1,-1-1 1,1-1 0,-1 1 0,0-2-1,0 0-16,30-27 33,-6-6-36,-31 35-3,0 0 0,-1-1 0,1 1 0,-1 0 1,0-1-1,0 0 0,0-3 6,-1 4-9,-1 0 0,1 0 1,-1-1-1,0 1 0,0 0 0,-1 0 0,0-1 0,0 1 1,0-1 8,-1 0-9,0-1 0,-1 1 0,0 0-1,0 1 1,0-1 0,-1 0 0,0 1 0,0 0 0,0 0 0,-1 0 0,0 0 0,-1 0 9,-9-8-33,-2 0 0,1 2 0,-7-3 33,7 5-52,10 6 40,-1 1 0,0 0 0,0 0 0,0 0 0,-3 1 12,-4-1-52,1 3-38,2 1-24,1 1-42,0 1-51,2 2-57,1 1-64,1 2-72,2 2-80,1 2-87,2 2-786,1-11 865,0 1-34,0-1 53,1 0-36,-1 0-43,1 0-47,0-1 58,0 0-41,0 0-44,0 0-47,1 0-51,-1 0-53,1 0-57,0 0-61,0 0-116,0-1-94,1 1-312,1 2-809,-4-4 2202</inkml:trace>
  <inkml:trace contextRef="#ctx0" brushRef="#br0" timeOffset="1111.33">1182 923 3954,'0'0'1192,"0"0"-479,0 0 346,1 1-120,-1-1-111,0 1-105,0 1-98,0-1-89,1 1-83,-1 0-75,0 1-35,1-1-75,-1 1-64,0 0-54,1 3 26,1 7 19,-1-9-82,-1 0 76,0-2-30,1-1 44,-1 1 47,0-1 56,1 24 281,0 1-115,-1-1-97,0 0-81,-1-2-85,0 0-39,-3 14 457,-7 33-627,10-67 20,-4 41 150,9-26-32,-3-19 63,0-4-34,5-10 86,1-9-56,2-4 5,2-14 38,-1 0-45,1-3-32,1 0-41,1 2-38,4 1-33,-10 26-47,1 0 1,0 1 0,1 1 0,3-3-5,-4 6-12,1 0 0,1 1 0,-1 0-1,1 1 1,9-6 12,-9 8-53,-1 1-37,1 1-42,1 1-53,-1 0-60,0 1-68,1 1-76,0-1-85,-4 2 107,1 0-43,-1 0-47,0 0-48,1 0-50,-1 0-54,1 1-56,-1-1-58,0 0-28,0 0-59,0 1-59,1-1-64,-1 0-63,0 0-67,-1 0-69,1 0-71,17-5-371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5:32.576"/>
    </inkml:context>
    <inkml:brush xml:id="br0">
      <inkml:brushProperty name="width" value="0.05" units="cm"/>
      <inkml:brushProperty name="height" value="0.05" units="cm"/>
    </inkml:brush>
  </inkml:definitions>
  <inkml:trace contextRef="#ctx0" brushRef="#br0">327 115 992,'1'-1'149,"-1"0"-1,0 0 0,1 0 0,-1 0 0,0 0 0,0 0 0,0 0 0,0 0 1,0 0-1,0 0 0,0 0 0,0 0 0,0 0 0,-1 0 0,1 0 0,0 0 1,-1 1-1,1-1 0,0 0 0,-1 0 0,1 0 0,-1 0 0,1 0 0,-1 1 1,0-1-1,1 0 0,-1 0 0,0 1 0,0-1 0,0 0-148,-4-1 911,-1 1-44,0 0-187,0 2-47,1 0-57,-1 1-62,1 0-72,-1 1-80,2 0-86,0 1-96,-6 8 322,1 1-69,1 1-62,1 0-56,-3 8 66,2 2-90,1-1-70,0 1-48,-18 51 309,-7-5-165,-2-2-81,-4 6-53,5 2-57,25-55-98,1 0-1,1 1 1,1-1-1,1 1 1,1 0 0,0 13-28,2 24 37,1-42-41,1 0 0,1 0 0,0 0 0,4 11 4,-5-23 3,1 1-1,0 0 1,0-1 0,1 1 0,-1-1-1,1 1 1,0-1 0,1 0 0,-1 0 0,1-1-1,0 1 1,0-1 0,4 3-3,-4-4 11,0 0-1,0-1 1,0 1 0,0-1 0,1 0 0,-1-1-1,1 1 1,0-1 0,-1 1 0,1-2 0,0 1-1,0 0-10,6 0 67,0-1-1,0 0 0,-1-1 0,1 0 1,0 0-1,-1-1 0,1-1 1,-1 0-1,0 0 0,0-1 0,7-3-66,-2-1 92,0-1 0,-1 0-1,0-1 1,-1 0 0,0-1 0,-1-1-1,2-1-91,33-41 274,-5-5-40,-5 0-46,-4 3-51,-18 28-41,-1 0 0,-1 0-1,-1-1 1,-2-1 0,3-14-96,-8 22 65,-1 0 1,-1 0-1,-1-9-65,-1 8 46,-1 0 1,-2 0-1,-2-11-46,-1 6 38,0 1 1,-2 0 0,-2 0 0,-4-9-39,8 22 10,-2 0 1,0 0 0,0 1-1,-1 0 1,-1 0 0,0 1-1,0 0 1,-10-8-11,15 16-2,-1 1 1,1 0-1,0 0 1,-1 0-1,1 1 1,-1-1-1,0 1 1,0 0-1,0 1 1,0-1-1,0 1 1,-1 0-1,1 0 1,0 0-1,-1 1 2,-1 0-5,1 0-1,0 0 1,0 1-1,0 0 1,0 0 0,-1 1-1,2-1 1,-1 1-1,0 1 1,0-1 0,1 1-1,-1 0 1,1 0-1,0 0 1,0 1 0,0 0-1,0 0 1,1 0-1,-2 2 6,-15 21-107,10-11 60,1 1 0,0 0 0,2 0 0,0 1 47,-7 22-113,4-3-48,2 0-81,3-5-42,2 0-90,1 0-104,1-1-120,2-15 250,0 0-36,0-1-37,0 1-39,1-1-41,0 0-43,0 0-45,0 0-46,5 23-1196,-4-26 1174,1 0-54,-1-2 63,1-1-62,0 0-74,-1 1-83,2-1-141,-1 1-86,1 1-302,3 6-792,-7-17 2117</inkml:trace>
  <inkml:trace contextRef="#ctx0" brushRef="#br0" timeOffset="1051.94">835 529 544,'-2'-1'670,"-1"0"-128,0 1-46,-1 0-40,0 1 47,-1 0-40,-1 1 54,-2 1 211,1 0 36,3-2-225,2 0 34,0 0-65,-1 2-54,1-1-46,-4 5 298,-3 4 342,7-7-573,0 0 64,1-2 80,2-1-219,0 0-50,0 0-47,2 0-42,-1-1-40,1 1-35,4-1 95,-2 0-125,0 0-47,4-1 105,-1 1-71,-1 0-35,6 4 36,11 0 27,-12-5-65,37-14 131,-4-6-96,-28 11-107,0-1-1,0 0 1,-2-1-1,1-1 1,-1-1-1,6-8-33,-18 19 5,0 0 1,1 0-1,-1 0 0,1 0 0,0 0 0,0 1 0,0-1 0,0 1 1,1 0-1,-1 1 0,1-1 0,-1 1 0,1-1-5,-4 3 1,-1-1-1,1 1 1,0-1 0,-1 1-1,1 0 1,-1-1-1,1 1 1,-1-1 0,1 1-1,-1 0 1,1-1 0,-1 1-1,0 0 1,1 0 0,-1-1-1,0 1 1,0 0-1,0 0 1,1-1 0,-1 1-1,0 0 1,0 0 0,0 0-1,0-1 1,0 1 0,-1 0-1,1 0 1,0 0-1,0-1 1,0 1 0,-1 0-1,1 0 0,-4 31 44,3-32-41,-2 23 88,0-1 1,2 1-1,0 0 1,2 0 0,0 2-93,6 35 163,-6-34-116,-2-22-37,1 1 0,0-1-1,1 0 1,-1 0 0,1 0 0,0 1 0,0-1 0,0 1-9,7-1 85,5-9-33,8-10 14,72-69 87,26-35-153,-48 47 26,-28 15-10,-78 110-30,29-45 12,1 1 1,0-1-1,1 1 0,0 0 0,0 0 0,1 1 0,0-1 0,0 1 1,1-1-1,1 1 0,0 0 0,0 0 0,1 0 0,0 0 1,0 0-1,1 0 0,1-1 0,1 9 2,-2-12 0,1 1 1,0-1-1,0 0 1,0 0-1,1 0 1,0 0-1,0 0 0,0 0 1,1-1-1,0 1 1,0-1-1,0 0 1,1 0-1,0-1 0,0 1 1,0-1-1,0 0 1,0 0-1,1-1 1,0 0-1,0 0 0,0 0 1,0-1-1,0 1 1,1-2-1,-1 1 0,1-1 1,2 1-1,-2-2 6,0 0 0,0 0 0,0-1 0,0 0 0,0 0 0,0-1 0,0 1 0,-1-1 0,1-1 0,-1 0 1,1 0-1,0-1-6,16-8 35,-1-2 1,13-12-36,-15 12 19,-6 3-7,0-1 1,-1-1-1,0 0 1,0-2-13,22-22 30,-22 24-13,0-1 0,-1-1 1,0 1-1,-1-2 0,-1 0 1,-1 0-1,0-1 0,5-14-17,-9 19 11,-2 1-1,1 0 1,-2-1-1,1 0 1,-1 0-1,-1 1 1,0-1-1,-1 0 1,-1 0-1,1 0 1,-2 0-1,0 0 1,0 0-1,-2-4-10,3 14 2,1 0-1,-1-1 1,0 1 0,0 0-1,0 0 1,0 0 0,0 0-1,0 0 1,0 0-1,-1 0 1,1 0 0,-1 0-1,1 1 1,-1-1 0,0 1-1,0-1 1,0 1-1,0-1 1,0 1 0,0 0-1,0 0 1,0 0 0,0 0-1,0 1 1,-1-1-1,1 1 1,0-1 0,-2 1-2,-1 0 0,1 0 0,0 1 1,-1-1-1,1 1 1,0 0-1,-1 0 0,1 1 1,0-1-1,0 1 0,0 0 1,1 0-1,-1 1 0,0-1 1,-3 3-1,1 1 1,1 0-1,0 0 1,0 0 0,0 1-1,0 0 1,1 0 0,0 0-1,1 0 1,0 1 0,0-1-1,0 3 0,-6 11 9,4-7-4,0 0 0,0 0 0,1 1-1,1-1 1,1 1 0,0 0 0,1-1 0,0 1 0,1 0 0,1 0 0,0 0 0,1-1 0,2 7-5,-1-10 1,0-1 1,1 1 0,0-1-1,0 0 1,1 0 0,1-1 0,-1 1-1,1-1 1,1 0 0,3 2-2,-3-3-7,0-1 0,1 0 1,-1-1-1,1 0 1,1 0-1,-1-1 1,7 3 6,3 0-40,0 0-55,0-2-71,0 0-85,0-1-103,1-1-117,-10-2 187,1 0-36,-1-1-36,1 1-40,2-1-195,1 1-78,0-1-83,0 1-85,-1-1-93,1 0-95,0 0-100,0-1-106,-9 1 639,0-1-42,0 0-37,0 0-33,5 0-1093,6 0-1059</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55:29.773"/>
    </inkml:context>
    <inkml:brush xml:id="br0">
      <inkml:brushProperty name="width" value="0.05" units="cm"/>
      <inkml:brushProperty name="height" value="0.05" units="cm"/>
    </inkml:brush>
  </inkml:definitions>
  <inkml:trace contextRef="#ctx0" brushRef="#br0">298 27 1761,'-2'-2'444,"1"1"48,-1-1 41,1 0 37,-1 0 156,1 0 36,-1-1 189,-1-1 517,0-1 738,1 3-815,1 1-325,1 1-575,0 0-33,0 0 63,0 1-65,0 1-73,0 0-78,1 1-88,0 0-93,0 1-102,0 0-109,3 14 629,-2-1-70,0 0-66,-1 1-57,-1 0-54,-1 0-47,1 0-41,-1 1-35,-1 22 116,3 22 7,3 3-156,-5 1-41,-8 69 12,0 48-25,9-178-83,0 42 29,1-1 1,6 28-32,-4-59 14,1 1 1,0-1-1,0 0 0,2-1 1,0 1-1,1-1 1,1 0-1,0 0 1,2 1-15,-3-5-17,-6-9 36,0 0-1,0 0 0,0 0 0,0 0 1,1 0-1,-1 0 0,1-1 0,-1 1 1,1 0-1,1 0-18,2-1 10,1-2-45,0-4-60,1-4-74,-3 3 70,-1-1-106,-1 0-102,-1-1-96,-1 1-90,0-1-84,-1 0-80,-1 1-73,0-1-67,0 0-63,-1 0-57,-1 0-50,1 1-46,0-1-39,-4-6-1150,2 4 474,0 0-34,2 2 81,-1-5-907</inkml:trace>
  <inkml:trace contextRef="#ctx0" brushRef="#br0" timeOffset="25283.73">65 774 320,'1'0'189,"0"-1"-41,2-1 57,8-5 126,-8 4-154,1 0 96,-3 2-36,0-1 61,0 0 71,-1 0 81,0 0 89,-1 0 98,-1 1 109,0-1 116,0 1 127,0 1-117,0-1-104,0 1-89,-1 0 132,0-1-111,0-1 42,-4-3 295,1 0-249,1 1-84,-1 2-76,1 0-72,-1 2-63,1 0-58,-1 0-50,0 1-45,-2 0 63,-1-1-53,10 1-128,0 2-48,13 14 425,-1-15-179,1 0-81,2 0 5,0 1-99,2 5-46,-15-7-174,0 1 0,0 0 0,0 1-1,0-1 1,-1 0 0,1 1 0,-1-1-1,1 2-24,19 26 126,-2 2-37,15 33 7,-26-44-83,2 0-1,1-1 1,0 0 0,1-1 0,1 0 0,1-1-1,2 0-12,4 1 24,-1 2-1,2 5-23,-15-18 12,-1 1 0,-1-1 0,1 1 0,-2 0 0,1 1 0,-1-1 0,2 10-12,-5-18 3,-1 0 0,0 0-1,0 0 1,0 0 0,0 0 0,0 0-1,0 0 1,0 0 0,-1 0-1,1 0 1,0 0 0,0 0 0,-1 0-1,1 0 1,-1-1 0,1 1 0,-1 0-1,1 0 1,-1 0 0,1 0-1,-1-1 1,0 1 0,0 0 0,1-1-1,-1 1 1,0 0 0,0-1 0,0 1-1,0-1 1,1 1 0,-1-1-3,0 0 3,1 1 1,-1-1 0,1 0-1,-1 1 1,1-1-1,-1 0 1,0 0 0,1 1-1,-1-1 1,1 0 0,-1 0-1,1 0 1,-1 0-1,0 0 1,1 0 0,-1 0-1,1 0 1,-1 0-1,0 0 1,1 0 0,-1-1-1,1 1 1,-1 0-1,1 0 1,-1 0 0,0-1-1,1 1 1,-1 0 0,1-1-1,0 1 1,-1 0-1,1-1 1,-1 1 0,1-1-1,-1 1 1,1-1-1,0 1 1,-1-1 0,1 1-1,0-1 1,0 1 0,-1-1-1,1 1 1,0-1-1,0 1 1,0-1-4,-4-14 36,-2 2-44,-1-4-97,5 8 4,1-1-39,2 1-79,-3-9-218,1 11 230,1 1-61,-1-1-86,2 0-109,-1 2 81,2 1-65,-1-1-74,1 0-81,-2 4 314,1 0 45,0-2-136,0 1 76,1-3-275,-1 3 291,-1 0-57,1 1-112,-1-1-29,1 1-114,-1 0 252,0 0-34,0 0-36,1 1-39,-1-1-41,0 0-41,0 0-45,1 0-47,-1 0-48,0 1-51,0-1-52,0 0-54,1 0-211,-1 0-93,0 0-319,0-1-830</inkml:trace>
  <inkml:trace contextRef="#ctx0" brushRef="#br0" timeOffset="25782.7">621 674 832,'-1'-3'670,"0"0"-8,1 0 77,-1-1 65,2-1 762,1-7 2267,-2 10-3014,0 1-41,1 0-54,-1 0-65,-1 0-77,1 1-90,-1 1-100,0 0-114,-3 6 533,1-1-328,-1 0-67,-1-2-93,1 1-58,0 0-48,1 1-35,-15 17 432,0-7-225,1 3-83,0 1-68,2 1-54,-22 24 108,-8 15-59,6 8-65,5 2-52,5-1-38,11-28 86,-23 35-164,36-65 28,3-9 215,1-1-40,0 1-38,1 0-37,-1-1-36,0 1-33,0 1-38,0-1-97,0-1-78,0 1-73,0-1-63,1 0-59,-1 0-51,1-1-45,-1 0-36,0 0-787,-2-5-933,2 2 1295,-1 0 53,0-2 106,0 2-32,2 1 337,-1 0-44,0 0-49,0 1-56,0-1-62,1 0-69,-1 0 94,0 0-43,1 1-38,-1-1-33,1 0-186,-1-1-33,0-3-2036,1 6 299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40:30.162"/>
    </inkml:context>
    <inkml:brush xml:id="br0">
      <inkml:brushProperty name="width" value="0.2" units="cm"/>
      <inkml:brushProperty name="height" value="0.2" units="cm"/>
      <inkml:brushProperty name="color" value="#E71224"/>
    </inkml:brush>
  </inkml:definitions>
  <inkml:trace contextRef="#ctx0" brushRef="#br0">3389 40 352,'-26'-9'656,"0"2"-122,0 0-56,-1 2-52,0 1-51,0 1-47,0 1-46,0 0-41,0 2-41,0 0-36,-27 1 62,0 2-117,0 0-97,10 2 8,0 1 1,0 3-1,1 1 0,-11 6-20,-166 64 17,130-46-16,-265 120-21,245-103 11,52-25 6,-108 49-30,3 6-1,-61 47 34,87-35-56,-93 86 56,61-32-5,7 8 0,-3 18 5,86-83-42,4 4 0,-4 15 42,-56 101-84,118-180 73,1 1 0,1 0 1,2 1-1,2 1 0,0-1 1,2 2-1,2 0 0,1 0 1,2 0-1,1 0 0,1 23 11,3-6-3,1 1 0,3-1-1,3 1 1,6 21 3,-5-37-2,2-1-1,2 0 1,0-2 0,3 1 0,0-2-1,15 21 3,11 9-2,3-3-1,35 36 3,109 103 3,-174-183-3,53 50 8,2-3 0,3-4 0,3-2 0,2-4 0,2-4 0,13 3-8,308 136 48,-147-85 39,5-14 63,58 1 91,-109-42 188,69 1-429,-84-25 427,105-4-427,30-22 237,-56-20-90,-1-19-64,-168 21 47,0-1 40,-1-2 35,0-3 33,97-40 326,-124 37 95,43-26-659,18-20 1417,97-73-1417,-56 23 671,-5-6-65,-67 47 180,45-51-786,-85 70 431,23-34-431,-31 32 148,115-142 251,-10-7-79,-133 173-258,-1-2 0,-2-1 0,-3-1 0,-2-1 0,4-17-62,-12 26 42,-1-1 0,-3-1-1,-1 1 1,-2-1 0,-2-1-1,-1-40-41,-6 29 11,-2 1 0,-3 0 0,-1 1-1,-3-1 1,-3 2 0,-1 0 0,-7-10-11,-10-14 14,-3 0-1,-4 3 1,-2 1 0,-20-21-14,-110-145-39,-11 12-57,116 150 37,-3 4 0,-4 3 0,-2 3 0,-71-46 59,57 54-243,-2 5-107,45 28 128,-1 1-34,0 2-39,-1 2-40,0 1-43,-1 1-46,-1 2-50,-1 2-50,0 1-56,0 2-56,-2 1-61,1 2-62,-22 1-155,0 2-71,-1 2-86,-1 1-102,9 1 136,-37 0-573</inkml:trace>
  <inkml:trace contextRef="#ctx0" brushRef="#br0" timeOffset="2683.58">7989 5441 48,'-23'63'55,"-67"208"149,76-217-160,2 0 0,2 1 0,3 0 0,2 8-44,4 72 132,4-67-23,3 0 34,3-1 36,4-1 41,3-2 42,3 0 48,-9-38-120,1 1-1,1-1 1,2-1-190,6 9 506,22 29-506,29 26 428,5-5-90,6-6-42,5-8-56,5-8-52,5-7-44,3-5-41,3-4-33,105 39-9,-107-45-58,424 145-18,-169-77 48,-196-65-1,1-8 45,84 5 108,3-16 56,-18-13 296,37-11-537,62-16 307,-104-6-73,-2-8 83,-3-10 67,-1-8 50,77-30 1468,264-109-1902,-437 140 231,68-25 64,-2-4-68,-3-7-56,-3-12-46,72-63 339,232-191-464,-424 301 61,-3-3 1,-2-3-1,-2-2 0,-3-3 1,-2-1-1,-4-3 1,30-52-62,13-37 140,-7-5 1,-7-2 0,-6-4-1,7-47-140,-61 155 47,-1 0-1,0-24-46,-6 20 3,-3 0-1,-2-17-2,-7-54-70,-2 75-75,-6-18 145,5 41-91,-2 0 1,-2 1-1,0 0 0,-2 0 1,-1 1-1,-2 0 0,-1 1 1,-18-24 90,7 16-111,-2 2 0,-1 1 1,-1 1-1,-2 2 1,-2 1-1,-7-3 111,-10-5-271,-34-18 271,17 17-211,-9-1 211,-73-26-137,2 13 91,1 9-29,-25 1 75,13 12-36,-2 6-1,-1 8 1,-118 3 36,-30 17-88,0 13 0,1 14 0,-75 26 88,108-2-200,1 13 200,76-8-129,-97 38-116,-54 17-6,-34-8 164,288-82 43,-7 2-42,0-1-56,-14 4-110,-1 0-119,60-14 134,-1 0-38,1 0-42,0 1-45,0 0-48,1 1-50,-1 0-53,0 0-57,1 1-60,0 1-62,0 0-66,1 2-68,2-2 207,-26 11-212,78-29 80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1T00:18:43.331"/>
    </inkml:context>
    <inkml:brush xml:id="br0">
      <inkml:brushProperty name="width" value="0.2" units="cm"/>
      <inkml:brushProperty name="height" value="0.2" units="cm"/>
      <inkml:brushProperty name="color" value="#E71224"/>
    </inkml:brush>
  </inkml:definitions>
  <inkml:trace contextRef="#ctx0" brushRef="#br0">137 4534 1873,'-18'-7'830,"-3"2"-40,2 1-50,-1 3-62,2 4-73,3 5-83,3 4-94,4 8-107,3 17-120,4 1-36,10 38 76,8 1-93,6-1-62,9 39-1,-22-76-65,57 285 40,-19-78-40,12-1 0,41 79-20,-48-199 37,-29-77 63,18 21-100,-14-28 93,2-2 0,11 11-93,-7-14 91,0-2-1,3-1 1,2-2 0,13 7-91,10 5 185,3-2 1,3-3-1,41 17-185,-54-30 150,3-3 0,59 17-150,170 34 259,5-16-77,4-16-63,3-14-49,62-12-34,-34-15-22,191-25-14,-272 2 14,138-32-14,236-68 18,102-61 62,-12-29 48,215-107 140,-700 238-181,757-299 355,-339 110-86,453-227 284,-378 146-248,-128 49-112,-5-9-61,84-54-12,328-188-5,-541 300-128,734-384 132,206-27 18,-890 451-190,-246 106-59,-4-3-34,-1-6-38,-7-7-44,-48 16-262,129-94 403,-224 128-35,-4-3 51,-78 58 9,45-36 87,-29 17 34,-18 12-8,-4-2 47,-2-2 53,-6-3 63,-6 19-133,1-13 177,-8 2-10,-6 15-183,4 18-131,1 18-72,4-24 41,-4 1-59,-5-4-45,-3-1-44,-1-2-38,-4 0-126,5 3-54,-3 2-133,2 0-41,-1 0-45,0-1-51,2 0-51,-1 0-60,1 1-66,-1 1-71,1 0-76,-1 2-81,1 1-86,-1 1-92,8-3 473,0 1-54,-1 0-217,-3 3-572,10-7 1597</inkml:trace>
  <inkml:trace contextRef="#ctx0" brushRef="#br0" timeOffset="1253.71">17486 426 1185,'5'-4'650,"1"1"-85,0 0-79,2 0-73,-1 1-67,0 0-59,2 1-54,0 0-47,4-1 29,2 1-79,-3 1-60,18-1 43,-15 1-1,-7 0-23,-1-1 35,41-1 136,1-1-68,22-1-7,1-1-87,139-7 25,-22-6-76,-73 1-28,-2-3 0,90-28-25,-75 11 49,-4-6 39,-14 4 76,0 3 95,2 4 110,-56 17-138,-1 2 32,50-16 401,-41 7-141,-61 21-493,-1 0 1,0 0-1,0 0 0,1 0 0,-1 1 0,0-1 0,1 1 0,0-1 0,2 1-30,-6 0 7,1 0-1,0 0 1,-1 1-1,1-1 1,1 0-1,-2 0 1,1 0 0,-1 1-1,1-1 1,0 0-1,-1 0 1,2 1-1,-2-1 1,1 1-1,-1-1 1,1 0-1,-1 1 1,1-1 0,-1 1-1,1 0-6,2 10 9,-6 4-29,3-15 21,0 1 0,-1-1 0,1 1 0,-1-1 0,1 0 0,-1 1 0,1-1 1,0 1-1,-1-1 0,1 0 0,-2 0 0,1 1 0,1-1 0,-1 0 0,1 0 0,-1 0 1,1 1-1,-2-1 0,1 0 0,1 0 0,-1 0-1,-11 3 3,-4 4-35,8-3-42,2 0-36,0 0-34,-1 0-35,-7 3-277,1 0-123,2-2 60,1 1-63,-1-1-61,1 1-55,0 0-52,0 1-50,1 0-45,0 0-41,-12 11-1075</inkml:trace>
  <inkml:trace contextRef="#ctx0" brushRef="#br0" timeOffset="1661.63">19462 35 832,'-3'-5'364,"-2"1"-58,-9-10 575,8 9-464,2 1-130,1 2 38,5 3-60,-1 1-46,2-1-42,-1 1-37,3 1 48,0 1-101,10 13-59,-13-13 8,1 1 38,0 6-34,0-1-1,-2 1 1,2 0 0,-3 0-1,1-1 1,-2 1 0,1 0-1,-3 4-39,-4 21 241,-13 29-241,5-14 114,-8 29 214,-11 12-328,-38 79 210,28-68-133,4 1-35,8-21-88,-21 42 90,21-48-58,16-39-31,0 1-37,-3 13-98,0 0-99,8-19 44,1 0-51,1 0-56,0 0-62,2 0-67,-1 1-70,3-1-77,0 1-80,4-14 57,-1 9-47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23:20.513"/>
    </inkml:context>
    <inkml:brush xml:id="br0">
      <inkml:brushProperty name="width" value="0.05" units="cm"/>
      <inkml:brushProperty name="height" value="0.05" units="cm"/>
    </inkml:brush>
  </inkml:definitions>
  <inkml:trace contextRef="#ctx0" brushRef="#br0">175 4634 2289,'-3'-2'891,"1"0"-58,0 0-58,0-1-54,1 1-53,0 0-50,0-1-49,1 1-46,0 0-44,0-1-42,1 1-40,0-1-37,0 1-36,0-1-33,2-2 200,0 1-178,0 0-59,0 0-51,1 0-43,3-3 48,10-8 141,-14 12-229,1 0 35,-1 0 46,0 0 59,16-15 42,2 0-60,13-9 34,0 2-70,6-4 8,23-15 53,-35 26-118,-1-2 1,9-8-150,37-38 212,-1-1-38,11-9-13,1 0-37,19-11-10,-28 29 13,13-5-127,-7 6 81,-56 38-17,-2-1-1,3-5-63,-24 24 4,0-1-1,-1 0 1,1 0-1,0 1 1,0-1-1,0 1 1,1-1-1,-1 1 1,0 0-1,0 0 1,1 0-1,-1 0 1,1 0-1,-1 1 1,1-1 0,-1 1-1,1 0 1,-1-1-1,1 1 1,-1 0-1,1 1 1,0-1-4,-4 2 13,-4 3-36,-4 3-36,-1 2-36,-2 0-35,1 1-34,0-2-34,2-2-35,-4 3-130,-1 1-107,7-5 185,0 0-41,0 0-44,0 0-49,-2 3-224,1-1-105,-1 0-116,5-3 385,0-1-34,-2 3-187,0 0-42,1 1-46,1-1-53,-1 2-58,1-1-63,0 0-69,0 0-75,3-7 951,-1 3-354,0 1 32,-3 7-837</inkml:trace>
  <inkml:trace contextRef="#ctx0" brushRef="#br0" timeOffset="2097.01">302 4147 880,'0'-2'939,"0"-1"-65,1 1-58,0-1-57,0 0-52,1 1-52,0-1-49,-1 0-45,3-2 198,-1 1-89,1 0-81,-1-1-74,1 1-64,0 0-56,-1 0-47,1 0-40,0 0 34,1-2 116,-1 2-103,0 0-90,0 0 34,4-5 373,-8 8-650,1 1 0,-1 0 0,0 0 0,0 0 0,0 0 0,1 0 0,-1-1 0,0 1-1,0 0 1,0 0 0,0 0 0,0-1 0,1 1 0,-1 0 0,0 0 0,0-1 0,0 1 0,0 0 0,0 0 0,0 0 0,0-1 0,0 1 0,0 0 0,0 0 0,0-1 0,0 1 0,0 0 0,0 0 0,0-1 0,0 1 0,0 0 0,0 0 0,0-1 0,0 1 0,0 0 0,0 0 0,-1-1 0,1 1 0,0 0 0,0 0 0,0 0-1,0 0 1,-1-1 0,1 1 0,0 0 0,0 0 0,0 0 0,-1 0 0,1-1 0,0 1 0,0 0 0,0 0 0,-1 0 0,1 0 0,0 0 0,0 0 0,-1 0 0,1 0 0,0 0 0,0 0 0,-1 0 0,1 0 0,0 0 0,0 0 0,-1 0 0,1 0 0,0 0-22,0 1 166,0 0-37,-2 5 38,-5 10 72,-9 5-64,2 1-34,-11 24 56,-1 12-79,-6 33-78,-7 15-6,-11 21-20,-16 38 57,65-161-64,-1-1-1,0 0 1,0 0-1,0 0 1,0 0-1,0 0 1,-1-1-1,0 1-6,-15 7 76,17-10-71,0-1-1,0 0 1,0 1-1,0-1 1,0 0-1,0 0 1,0 0-1,0 0 1,0 0-1,0 0 1,1 0-1,-1 0 1,0 0-1,1 0 1,-1-1-1,1 1 1,-1 0-1,1 0 1,-1-2-5,-8-25 24,7 4-10,2 20-14,0 0 0,0 0 0,-1 0 1,1 0-1,-1 1 0,0-1 0,0 0 1,-1-3-1,1 7-1,1 0 1,-1-1-1,1 1 1,0 0 0,-1 0-1,1 0 1,-1-1 0,1 1-1,0 0 1,-1 0 0,1 0-1,-1 0 1,1 0 0,-1 0-1,1 0 1,0 0 0,-1 0-1,1 0 1,-1 0 0,1 0-1,-1 0 1,1 0 0,-1 0-1,1 0 1,0 0 0,-1 1-1,1-1 1,-1 0 0,1 0-1,0 1 1,-1-1 0,1 0-1,0 0 1,-1 1-1,1-1 1,-2 7-45,15-2-23,10-3 62,1 0 1,-1-2-1,0 0 0,0-2 1,16-3 5,29-8 27,15-7-27,-40 9 27,-1 1 0,2 2 0,-1 3 0,28-1-27,-55 8-4,15 7 73,-20-2-59,-7 3-54,-6-2-28,-6 1-45,5-7 70,0 0-90,0-1-92,-1 0-91,0 0-92,1-1-94,-1 0-95,1 0-94,0-1-97,0 0-97,1-1-98,0 0-100,2-1-98,0 0-102,1-1-101,1 0-103,-1 2 720,-1 1-46,2 0-208,0-1-563,-2 2 1579</inkml:trace>
  <inkml:trace contextRef="#ctx0" brushRef="#br0" timeOffset="13453.57">1614 2442 624,'-4'-9'1205,"1"-1"-151,0 0-66,0-1-60,1-1-54,1 0-48,-1 0-42,1 0-35,0-15 940,1-16 2073,0 39-2297,-6 34-1231,3-1-53,2 1-46,1 1-39,5 18-8,5 26-55,3 21-38,-10-33 62,-19 311 53,-4-125 2,18-232-98,-1 46 48,3-60-53,0 1 1,1-1-1,-1 1 0,1-1 1,0 0-1,0 1 0,0-1 0,0 0 1,2 2-10,-3-15 92,-3-18-51,-25-92 15,-6-65-52,24 128-3,-1-17-21,3 0 0,4-1 0,3 1 0,6-45 20,-4 46 8,-2 46-5,2 1 0,1-1-1,2-10-2,-3 35-2,-1 0-1,0 0 1,1 0-1,0 0 1,-1 0-1,1 0 1,0 0-1,0 0 1,0 0-1,0 1 1,0-1-1,0 0 0,1 1 1,-1-1 2,0 2-1,0-1-1,-1 0 1,1 1 0,0 0 0,0-1 0,0 1-1,0-1 1,0 1 0,-1 0 0,1 0-1,0-1 1,0 1 0,0 0 0,0 0 0,0 0-1,0 0 1,0 0 0,0 0 0,0 0-1,0 0 1,0 1 1,2 0 1,0 0 0,0 1 0,0-1 0,0 1 0,0 0 1,-1 0-1,1 0 0,0 0 0,-1 0 0,0 1 0,1-1 0,-1 1 0,0-1 0,0 1 0,0 1-1,10 17 18,-1 1-1,0 0 0,2 11-17,24 50 44,66 89 31,69 73-22,-140-202-12,-2 2 1,23 47-42,-23-29 73,-2 4 41,-24-57-96,0 9 95,-5-15-118,-2-4-57,-2-3-80,-3-5-100,3 3 23,0-1-49,-1 1-46,1 0-46,-1 0-42,0 0-40,0 0-38,0 0-35,-4-4-515,-1 0-98,1-1-84,0 0-70,6 7 839,0-1-54,1 0-48,-1 0-42,-1-1-165,0 1-44,0-2-203,-4-2-553,6 5 964,-1 0 47,0-1-62,-3-1-250</inkml:trace>
  <inkml:trace contextRef="#ctx0" brushRef="#br0" timeOffset="13739.72">1549 3123 1457,'-2'-5'1098,"1"0"-71,0 0-71,0 1-68,1-1-65,1 0-62,-1 0-61,2 0-57,0 0-56,0 0-53,0 1-50,1-1-49,0 0-44,0 1-44,1-1-41,0 1-37,2-3 87,1 0-81,1 0-72,-1 1-60,2-1-39,0 0-56,17-12-67,-18 13 20,7-5-88,0 1 88,0 0 58,19-13 144,-13 9-146,-8 6-88,0 0-69,-2 2-47,-1-1-69,1 1-79,0 0-87,1 0-98,-1 1-107,0-1-116,1 0-127,-3 2 209,-4 1 158,0 0 10,-1 1-88,0-1 3,-1 1-94,0-1-110,-1 2 326,-1-1-34,2 0-353,-1 0-54,0 0-225,1-2-599</inkml:trace>
  <inkml:trace contextRef="#ctx0" brushRef="#br0" timeOffset="14738.02">2121 2796 784,'-5'-4'881,"2"-2"58,1-2 272,1-5 674,1 7-957,1-1-39,0-1 201,1 2-298,-1 3-446,0 1-38,-1 1 188,1 0-40,-1 0-39,1 1-36,-1-1-36,1 1-34,0 1 218,0 0-114,1 1-101,-1 0-87,0 1-74,1 0-49,-1 0-63,3 8-67,-3-9 83,-1-1 12,0 0 36,22 47-297,-11-24 148,-1-1 47,0 1 54,0 0 63,0 1 72,0-1 80,1 8-163,3 17-54,-1-5-10,-3-16 34,-3-17-22,-5-8-1,-2-6 100,-14-31-18,4-4-57,3-10-37,1-24-27,3 40-6,1 6-14,1 0-1,0-1 1,2 1-1,1 0 0,2 0 1,0 0-1,2 0 1,0 1-1,3-2 4,-9 25 1,0 1-1,1-1 0,-1 1 1,1-1-1,0 0 1,-1 1-1,1-1 1,0 1-1,0-1 0,0 1 1,0 0-1,0-1 1,1 1-1,-1 0 1,0 0-1,0 0 0,1 0 1,-1 0-1,1 0 1,-1 0-1,1 0 0,0 1 2,-1 1-1,0-1 1,1 1-1,-1-1 1,1 1 0,-1 0-1,0-1 1,0 1-1,1 0 1,-1 0-1,0 0 1,0 0-1,0 0 1,0 0 0,0 0-1,0 1 1,0-1-1,0 0 1,-1 0-1,1 1 1,0-1 0,-1 1-1,1-1 1,-1 0-1,1 2-1,80 184 96,-79-183-92,3 8 7,1 0 0,1 0 0,0-1 1,0 1-1,1-2 0,1 1 0,0-1 1,5 4-12,-11-11 7,1 0 0,-1 0 0,0 1 0,0-1 0,0 1 0,-1-1 0,1 1 1,-1 0-1,1 3-7,2 0-21,-4-7 28,-1 0-1,1 1 1,-1-1 0,1 1 0,-1-1 0,1 0 0,0 0 0,-1 1 0,1-1 0,-1 0 0,1 0 0,0 0-1,-1 0 1,1 1 0,0-1 0,-1 0 0,1 0 0,0 0 0,-1-1 0,1 1 0,0 0 0,0 0-7,3-2-5,0-1-69,-1 1-38,-1-1-58,-1 0-69,0 0-79,0-2-375,0 0 59,1-3-338,2-11-1159,-2 14 1425,-1-1-65,1 2 10,-1-1-87,1 0-102,-1 0-119,0 1 49,0 0-73,1-1-290,-1-2-772</inkml:trace>
  <inkml:trace contextRef="#ctx0" brushRef="#br0" timeOffset="15866.29">3174 2291 928,'2'-4'544,"0"0"-58,0 0-51,0 0-43,0 0 29,0-1-41,3-10 628,-2 4-264,-1 4-174,1 2-19,-1-1 92,0 1-234,-2-1 79,0-1 43,-2-12 775,1 8-561,0 5-317,0 1-74,-1-6 126,-2 0-47,-1 1-47,-1 1-41,-1 1-39,-1 1-35,-9-4 176,1 6-164,1 5-52,-2 6-3,14-4-202,1 0 0,0-1 0,0 1 0,0 0 0,0 0 1,1 0-1,-1 0 0,0 0 0,1 0 0,-1 1 0,1 0-26,-22 38 43,-20 43 62,38-71-95,0 1 1,1-1-1,-1 9-10,2-3-4,0-1 0,1 1 0,1 0-1,1 0 1,0-1 0,2 1 0,0 0 0,1 0 0,1-1 0,0 0 0,7 15 4,-10-30 0,0 0 0,0 0 0,0-1 0,1 1 1,-1 0-1,1 0 0,0-1 0,0 1 0,0-1 1,0 1-1,0-1 0,1 0 0,-1 0 0,1 0 1,-1 0-1,1-1 0,2 2 0,-3-2 2,1 0 0,0-1-1,-1 1 1,1-1 0,-1 1 0,1-1-1,0 0 1,0 0 0,-1 0 0,1-1-1,-1 1 1,1-1 0,0 1 0,-1-1 0,1 0-1,-1 0 1,1 0-2,4-2 6,-1-1 0,0 0 0,1 0 0,-1 0 0,-1-1 0,1 0 0,-1 0 0,0 0 0,0-1 1,0 0-1,-1 0 0,0 0 0,3-5-6,-2 1 13,-1 1 1,-1-1 0,0 0 0,0 0-1,-1-1 1,0 1 0,0 0 0,-1-1-1,-1 1 1,0-1 0,0 1-1,-1-1 1,-1 1-14,-4-25 66,-1 2 0,-2-1 0,-5-9-66,-12-48 133,25 90-130,1 0 0,-1-1 0,1 1 0,0 0 0,-1 0 0,1-1 0,0 1-1,0 0 1,0-1 0,0 1 0,0 0 0,0 0 0,0-1 0,1 1 0,-1 0 0,0 0 0,1-1-1,-1 1 1,1 0 0,-1 0 0,1 0 0,-1-1 0,1 1 0,0 0-3,0 1 0,0 0-1,0 0 1,0 0 0,0 0 0,0 1 0,0-1-1,0 0 1,0 0 0,0 1 0,0-1 0,0 0-1,0 1 1,-1-1 0,1 1 0,0-1 0,0 1-1,0 0 1,-1-1 0,1 1 0,0 0 0,0-1-1,-1 1 1,1 0 0,-1 0 0,1 0 0,-1 0-1,1-1 1,-1 2 0,22 29 2,-3 1-1,3 8-1,35 54 45,-44-74-29,14 21 23,-25-40-36,-1 1 0,0 0-1,1-1 1,-1 1 0,1-1 0,-1 1-1,1-1 1,0 0 0,0 0-1,0 0 1,-1 0 0,1 0 0,0 0-1,0 0 1,0-1 0,0 1 0,1-1-1,-1 1-2,1-1 76,-1 1-109,0 0-106,-1 1-104,-1-1 30,1-1-43,-1 0-42,1 0-41,-1 0-42,1-2-39,0 1-41,-1-2-38,1 2-444,-1 0 123,0 0 111,1 0 97,0 0 84,-1 0 71,1 0 59,0 0 46,-1 0-23,2-1-442,-1 0 266,-1 1 92,1 0-81,-1-1-382,1-1-86,-1 1-285,1-2-740,-1 4 2025</inkml:trace>
  <inkml:trace contextRef="#ctx0" brushRef="#br0" timeOffset="16489.5">3372 1942 1953,'-2'-1'264,"-1"1"96,1 0 81,-1 0 70,0 0 127,0 0 52,-6 2 1705,5 0-1416,3-1-441,-1 0-46,0 0-101,1 0-52,0 0-61,0 1-68,0-2 141,0 0-36,0-2 221,0 0-112,-1-1-92,2 1-73,0 2-53,3 6 119,0 0-36,1-1-72,2 1-57,0 0-45,19 23 198,0 36-104,-2 38-52,-2-6-26,2-36 31,-23-60-153,0 0-1,0 0 1,0 0-1,1 0 1,-1 0 0,0 0-1,1-1 1,-1 1-1,1 0 1,-1 0-1,1 0 1,-1-1 0,1 1-1,0 0 1,-1-1-1,1 1 1,0 0-1,-1-1 1,1 1 0,0-1-1,0 1 1,0-1-1,0 0 1,0 1-9,-1-2 9,1 1 0,-1-1 0,1 0 1,-1 0-1,1 1 0,-1-1 0,1 0 1,-1 0-1,1 0 0,-1 0 0,0 0 0,0 1 1,1-1-1,-1 0 0,0 0 0,0 0 1,0 0-1,0-1-9,1-28 109,-2 5-72,-14-83 86,-1-14-63,12 86-59,2 0 0,2 0 0,1 0 0,2-4-1,-2 33-3,1-1 1,0 1 0,0 0 0,0 0 0,1 0 0,0 0 0,0 0 0,3-3 2,-6 9-1,1 0 0,0-1 1,-1 1-1,1 0 0,0 0 1,0 0-1,0 0 1,-1 0-1,1 0 0,0 0 1,0 0-1,0 1 0,1-1 1,-1 0-1,0 1 1,0-1-1,0 1 0,0-1 1,1 1-1,-1-1 0,0 1 1,1 0-1,-1-1 1,0 1-1,0 0 0,1 0 1,-1 0-1,0 0 1,1 0-1,-1 1 0,0-1 1,1 0-1,-1 1 0,0-1 1,0 0-1,1 1 1,-1 0-1,0-1 0,0 1 1,0 0-1,0-1 0,0 1 1,0 0-1,0 0 1,0 0-1,0 0 0,0 0 1,0 0-1,-1 0 0,1 1 1,5 4-4,-1 1-1,-1 0 1,1-1-1,-1 2 1,-1-1-1,1 0 0,-1 1 1,0 0-1,-1 0 5,14 74-6,-13-62 10,1 0 0,0-1 0,1 1-1,4 6-3,13 22 12,9 24 30,-29-65-66,6 16 126,-4-13-130,-2-6-36,1 0-47,-1-1-56,1-2-64,-3-1-317,1 0 37,-1-1-417,0-1-60,0-2-353,1 1 374,-1 0 285,0 2 73,1-1-52,-1 0 63,0 1-52,0 0-59,1 0-66,0-1-156,-1 0-68,1 0-266,1-1-706,-2 3 1969</inkml:trace>
  <inkml:trace contextRef="#ctx0" brushRef="#br0" timeOffset="17211.68">3670 1716 448,'-1'-2'116,"0"1"-46,0-1 63,0 1 58,0-1 53,0 1 51,0-1 45,0 1 42,-1-1 124,1 0 47,-2-2 663,1 1-36,-4-4 1646,5 6-1970,0-1-51,0 1-69,1 0-85,0 1-274,-1 0-51,2 0-57,-1 0-61,9 10 362,-1-1-104,0 1-95,-1 0-83,-1 1-74,0-1-64,-1 1-53,0 0-44,3 9-33,7 28-64,-12-32 76,1 1 51,14 45-48,-12-47-22,-1 0 0,-1 1 0,0 0 0,-1 0-1,-1 0 1,0 3-13,-1 9 28,0-19-10,-1 0-1,0 0 1,0-1-1,-1 1 1,0 0 0,-1 4-18,1 14 80,2-13-7,3-10 75,0-13-71,-1-14-12,-1 6-15,9-44 58,-7-2-45,5-35-10,3-10-12,-9 69-30,1 1 1,10-38-12,-11 59-3,-3 15 3,0 0 0,1-1 0,-1 1 0,0 0 0,1 0 0,-1 0 0,1 0 0,0-1 0,-1 1 0,1 0 0,0 0 0,0 0 0,1 0 0,-1 1 0,0-1 0,1 0 0,-1 0 0,1 1 0,-1-1 0,1 1 1,0-1-1,-1 1 0,1 0 0,0 0 0,0 0 0,1-1 0,-2 2-1,-1 0 1,1 0 0,0 0 0,-1 0 0,1 0-1,-1 0 1,1 0 0,0 1 0,-1-1 0,1 0-1,-1 0 1,1 0 0,-1 1 0,1-1 0,0 0-1,-1 1 1,1-1 0,-1 0 0,1 1-1,-1-1 1,0 1 0,1-1 0,-1 1 0,1-1-1,-1 1 1,0-1 0,1 1 0,-1-1 0,0 1-1,0-1 1,0 1 0,1-1 0,-1 1-1,0 0 1,8 26-5,-6-19 4,121 385 143,-119-390-243,2-5-95,3-4-89,0-3-78,0-1-72,-1 0-62,-1 2-55,-3 2-45,3-5-571,10-20-1972,-11 17 1759,0 2 82,-1-1-93,-2 7 637,0 0-37,2-6-528,2-5-588</inkml:trace>
  <inkml:trace contextRef="#ctx0" brushRef="#br0" timeOffset="17665.62">4218 1466 864,'-1'-1'65,"1"0"-23,-1-2 140,1-1 120,-1 0 110,0 0 101,0 0 89,1 0 80,-1 0 69,1 1 60,0 0 49,0-1 967,5 12 1969,-3-2-3287,-1 1-70,-1 1-64,0 0-56,-1 0-53,0 1-44,-1-1-40,1 1-34,-1 4 36,0 5 11,-1 19 101,0 1-91,-2 19-35,3-14-115,2-1-38,1-25-18,1 0-1,0-1 1,5 17 1,13 19 35,-19-48-33,1 0-1,1-1 1,-1 1 0,0-1 0,1 1 0,0-1 0,0 0 0,0 0 0,0 0-1,0 0 1,1-1 0,-1 1 0,1-1 0,-1 0 0,1 0 0,0 0-1,0 0 1,4 0-2,-4-1 5,-1-1-1,1 1 0,0-1 1,-1 0-1,1 0 0,0 0 0,-1-1 1,1 1-1,-1-1 0,1 0 1,-1 0-1,1 0 0,-1-1 0,1 1 1,-1-1-1,0 1 0,0-1 1,0 0-1,0-1 0,0 1 0,0 0 1,0-2-5,2 0 13,0-1 0,0 1 0,-1-1 1,1 0-1,-1-1 0,0 1 0,-1-1 1,0 1-1,0-1 0,0 0 0,0 0 1,-1-1-1,0 1 0,0 0 0,-1-1 0,0 1 1,0-1-1,0 0 0,-1 1 0,0-1 1,0 1-1,-1-1 0,0 0 0,0 1 1,-1-3-14,-5-16 37,0 0 1,-1 1 0,-2 0 0,-3-3-38,-50-94 106,22 46-62,30 56-70,8 14 34,0 1 0,-1-1 0,1 1 0,-1 0 0,0 0 1,0 0-1,-3-1-8,-7-3-22,-1 3-64,-1 4-90,-2 4-115,12-1 141,1 1-75,0 1-71,1 1-72,1 1-70,0 0-69,1 0-67,1 1-66,-1 0-65,1 1-64,1-1-62,0 0-61,0 0-60,0-1-59,1 0-56,-1 0-57,1-3 234,-1 1-72,1 1-262,0 2-689</inkml:trace>
  <inkml:trace contextRef="#ctx0" brushRef="#br0" timeOffset="18215.57">4291 591 3426,'-6'-18'1451,"5"15"-1100,0-1 0,1 0-1,0 1 1,-1-1 0,2 0 0,-1 0 0,0 1 0,1-1 0,-1 0-1,2-1-350,3-9 1196,1 3-259,1 0-73,2 2-92,2 1-109,-5 5 87,0 1-109,0 2-100,-1 1-92,0 1-83,-1 2-72,0 1-66,-1 0-54,1 3-26,-1 0-52,7 32 140,-9-33-123,1-1 63,4 23 14,-1 0-36,3 31 67,-1-10-105,7 24-10,11 8-54,-1-20-26,29 56-26,-8-22 36,29 95-36,-15 8 126,-58-194-123,1 6 16,1-1 0,0 1 1,0-1-1,1 0 0,1 0 0,0 0 1,0 0-1,0-1 0,3 2-19,-8-11 0,1 1 0,-1-1-1,1 1 1,-1-1 0,1 1-1,0-1 1,-1 0 0,1 0-1,-1 1 1,1-1 0,0 0-1,-1 0 1,1 1 0,0-1-1,-1 0 1,1 0 0,0 0-1,-1 0 1,1 0-1,0 0 1,-1 0 0,2-1 0,17-6-72,2-7-73,-3-1-85,-9 8 23,3-4-113,1 0-34,-1-1-39,0-1-43,-1-1-51,0 0-54,0-1-60,-1 0-65,0-1-70,-1 0-76,0 0-82,-1 0-85,0 0-91,-1 0-98,0 0-101,-2 0-107,-1 6 386,-1 0-69,0-2-278,2-7-743,-5 19 2077</inkml:trace>
  <inkml:trace contextRef="#ctx0" brushRef="#br0" timeOffset="18525.76">4383 1234 4770,'0'-1'652,"0"-1"-44,1 0-42,-1 0-40,1 1-40,-1-1-37,1 0-35,0 0-35,1-2 283,1 1-118,0-1-106,0 0-92,0 1-127,0 0-45,2-2 66,1 0-112,6-6 64,-8 8-95,-1-1 47,0 2 67,0-1 86,9-8 40,0 0-42,1 0-39,0 1-37,14-11 128,1 1-100,2-2-58,14-11 20,-40 29-385,1 0 68,0 0 59,-1 0 50,6-4 108,11-10 343,-15 12-363,0 1-71,-2 1-50,0 1-40,0-1-45,0 1-50,-1 0-15,0 0-42,0 0-45,0 0-49,0 0-51,0 0-55,0 1-57,0-1-62,1 0-65,-1 0-67,0 0-70,0 0-75,0 0-76,0 0-81,0 0-84,0 0-86,-2 1 307,1 1-51,-1-1-227,2 0-620,-3 1 1475</inkml:trace>
  <inkml:trace contextRef="#ctx0" brushRef="#br0" timeOffset="19242.18">5138 1150 1617,'-1'-2'634,"0"-1"-53,-1 1-49,1 0-45,0-1-43,-1 1-39,0-3 304,0 1-244,0 0-54,-2-2 193,-6-8 686,7 10-841,0 1 64,-1 0 16,1 1 84,-1 0 99,0 1 114,1 1-138,-2 1-112,0 1-98,0 0-86,-1 0-94,1 0-52,-3-1 134,-4 2-99,1 3-84,2 4-70,2 2-54,1 4-34,-4 20-10,8-27 1,-10 31 6,5-19-35,2-1 1,0 1 0,-1 17-2,5-33 0,1 0 0,-1 0 1,1 0-1,1 0 0,-1 0 0,1-1 1,-1 1-1,2 0 0,-1 0 1,0 0-1,1-1 0,0 1 0,0-1 1,0 1-1,1-1 0,-1 0 0,1 0 1,1 1-1,-3-4 2,0 0-1,0 1 1,0-1 0,0 0 0,0-1 0,0 1 0,0 0 0,0 0 0,0 0 0,1-1 0,-1 1 0,0 0 0,1-1 0,-1 0 0,0 1 0,1-1 0,-1 0 0,0 1 0,1-1 0,-1 0 0,1 0 0,-1 0 0,0 0 0,1 0 0,-1-1 0,1 1 0,-1 0 0,0-1 0,1 1 0,-1-1 0,0 1 0,0-1 0,1 1 0,-1-1 0,0 0 0,0 0 0,0 0 0,0 0 0,0 0 0,0 0 0,0 0 0,0 0 0,0 0 0,0 0 0,0 0 0,0-1-2,6-9 15,0 0 1,-1-1 0,0 1-1,4-13-15,-4 11 9,23-41 26,-23 44-25,0 1 0,0-2 0,-1 1 0,-1-1 1,1 1-1,-2-1 0,0 0 0,0-1 1,-1 1-1,0 0 0,0-7-10,-2 9 12,1 6-8,-1 1 0,0 0-1,0 0 1,0 0 0,0 0-1,0-1 1,0 1 0,0 0-1,-1 0 1,1 0 0,-1 0-1,1 0 1,-1 0 0,0 0-1,0 0 1,0 0 0,-1-2-4,2 4-1,-1 1 1,1-1-1,-1 0 1,1 1-1,-1-1 1,1 0-1,-1 1 1,1-1-1,0 1 1,-1-1-1,1 1 1,0-1-1,-1 1 1,1-1-1,0 1 1,0-1-1,-1 1 1,1-1 0,0 1-1,0-1 1,0 1-1,0 0 1,0-1-1,0 1 1,0-1-1,0 1 1,0-1-1,0 1 1,0 0-1,0-1 1,-1 24-12,2-12 10,0 0 0,1-1 1,0 1-1,1-1 0,0 1 0,0-1 1,2 0-1,4 9 2,-6-14 5,0 0 0,1-1-1,0 1 1,0-1 0,1 1 0,-1-1 0,1 0 0,0-1 0,1 1-1,-1-1 1,1 0 0,-1-1 0,1 1 0,1-1 0,4 2-5,-6-4 138,0 0-115,0-2-109,0 0-100,0-1-94,0-1-85,0 0-79,0 0-69,-1 0 56,0-1-37,3-2-586,1-3-346,0-3-864,-5 8 1543,-1-1-101,1 0-104,-1 0-108,-1 0 136,1 0-58,-1 0-251,1-4-678</inkml:trace>
  <inkml:trace contextRef="#ctx0" brushRef="#br0" timeOffset="19699.32">4984 132 1313,'-2'-9'779,"1"1"-75,-6-37 2436,6 29-1916,1 2-93,0 8-518,1-1 39,0 1 42,0 0 46,0 0 51,1 0 55,-2 5-233,0 1-59,1-1-57,-1 1-53,1-1-50,0 1-49,-1 0-44,1 0-42,-1 1-40,1-1-36,0 1 84,1 1-112,-1 0-90,1 0-71,2 5-192,-3-5 157,0 0 93,0-1 18,-1 0 35,0-1-42,14 29 110,-2 1-39,6 16 9,-2 1-46,24 61 79,21 40-5,19 77-57,-69-192-95,2 0-1,2 0 0,1-2 0,1 0 1,1 0-1,2-2 0,16 18-18,-25-35-70,1 0 59,2 1 48,23 13 103,-22-18-119,-2-2-35,0-1-42,1-1-53,-1 0-63,1-2-75,0-2-85,-1 0-95,0-2-107,-8 1 141,0-1-33,-1 0-35,0 0-33,-1 0-35,0-1-33,0 0-35,-1 0-35,0-1-33,0 0-36,0 0-34,-1 0-35,1 0-34,-1-1-36,0 1-35,0-1-35,0 0-147,0 1-86,0-2-313,0-2-821,-1 8 2274</inkml:trace>
  <inkml:trace contextRef="#ctx0" brushRef="#br0" timeOffset="20029.64">5006 769 560,'0'0'927,"0"-1"-290,1 0 540,-1-1-123,1 1-115,1-1-110,-1 0-101,1 1-95,0-1-87,0 0 4,1 0-103,0 0-91,0 0-78,1 0-30,-1-1-74,2 0-32,2-1 11,0 1 60,-3 0 30,-2 1 61,0 1-108,-1 1 33,16-13 608,1 1-108,0 0-99,0 0-91,0 1-80,0 0-72,0 0-61,0 0-52,3-2-2,1 0-46,43-29 342,-24 8-350,-30 22-180,-1-2-33,-3 3-33,0-2-36,-1 0-41,-1-2-47,-2 4-88,-1 5 67,0 0-48,0 0-81,0 0-79,0-1-93,0 1-106,0 0-119,-1 3 302,0 1-35,0-1-36,0 0-38,0 0-38,1 1-41,-1 0 147,0 1-36,-1-1-45,1 2-54,0-1-62,0 1-71,0-1-79,0 1-87,0 0 189,0-1-51,1 0-960,2-1-912,-4 2 2605</inkml:trace>
  <inkml:trace contextRef="#ctx0" brushRef="#br0" timeOffset="20319.99">5666 281 3730,'-6'-5'918,"2"1"-41,0 0-43,1 0-44,1 1-47,1-1-47,0 0-50,1 0-49,0 0-53,1 0-53,0-1-55,1 1-56,0-1-57,1 0-60,0 0-60,1-1-63,9-12 611,-9 16-504,-2 3-187,-1 0-34,0 0-41,0 2-45,-1 0-52,1 1-57,-1 1-64,0 0-70,0 4-809,0 0 55,-2 20-2244,1-17 1844,0 0 44,0-6 664,1 0-36,-1 5-411,-2 7-537</inkml:trace>
  <inkml:trace contextRef="#ctx0" brushRef="#br0" timeOffset="20655.02">5706 589 2849,'-1'-1'356,"-1"0"98,0 0 87,0-1 74,0 1 204,-1-1 67,0 0 238,-1 0 607,1 1-555,1 1-67,1 0-428,1 0-61,0 1 50,0 0-386,1 0-37,-1 0-40,1 1-45,0-1-46,1 1-50,1 5 387,0 2-107,-1 1-90,0 1-69,0-2-70,1 1 16,3 12 19,0 0-46,6 25 7,-7-34-98,-1 1 0,2-1-1,0 0 1,4 6-15,10 9 58,1 3 21,-12-15-78,-6-13-519,0-2-110,0-3-234,0-4-554,-1-1-8,-1 3 547,0 1 231,-1 2 105,0-2-166,1 2 310,-1 0-33,0-1-39,0 1-41,1 0-46,-1-1-49,1 0-468,-1-1-109,1 0-342,0-3-879,-1 6 2398</inkml:trace>
  <inkml:trace contextRef="#ctx0" brushRef="#br0" timeOffset="21123.78">6020 497 992,'0'0'1181,"-1"1"-288,0-1-52,1 0-50,-1 0-48,0 1-48,0-1-45,0 1-44,0-1-42,0 1-42,0-1-39,0 1-38,0 0-37,0 0-35,-1 0 273,0 1-266,1-1-57,-1 1-52,1-1-47,-1 1-44,0-1-39,-1 3 38,1-2-123,0 0-38,-2 2-45,-3 5-103,4-7 135,2 1 49,-1-1 49,1 0 62,-1 0 75,1 0 84,-9 21 2,2 1-53,4 2-44,3 0-38,1-17-122,1 0 1,0 0-1,1 0 0,-1 0 0,4 8-69,-2-10 33,-1 0 0,1-1-1,0 0 1,1 1 0,0-1 0,0 0 0,0-1-1,0 1 1,1-1 0,0 0 0,0 0 0,1 0-33,-4-3 17,0-1-1,1 1 1,-1-1 0,0 0 0,1 0 0,-1 0 0,1 0 0,-1 0 0,1 0 0,-1-1 0,3 1-17,-1-1 35,1 0-1,0 0 1,-1 0-1,1 0 1,0-1-1,-1 0 1,1 0 0,-1 0-1,1-1 1,1-1-35,1 0 60,1 0 0,-2-1-1,1 0 1,0-1 0,-1 1 0,1-1-60,15-19 210,-18 19-172,-1-1-1,0 0 0,0 0 1,0 0-1,0 0 0,-1 0 0,0-1 1,-1 1-1,1-1 0,0-5-37,-2 2 40,1 0 0,-1-1 0,-1 1 0,0 0-1,0 0 1,-1 0 0,-1-1-40,-1-3 44,0 1 0,-1-1 1,-1 1-1,-6-11-44,6 12 17,-1 1 0,-1 0 0,0 0 0,-8-7-17,12 14-2,-1 0-1,1 0 1,-1 0 0,0 1 0,0 0-1,0 0 1,0 0 0,-1 1 0,-4-2 2,-10-1-36,-1 3-33,3 3-22,1 3-37,1 2-43,1 4-51,8-3-45,-7 16-300,10-14 334,1 2-65,1-1-67,2-1-5,0 0-72,0 0-84,2-1-93,0 0-107,1 0-117,-1-5 374,1 0-34,-1 1-34,1-1-37,-1-1 49,1-1 48,3 2-364,-3-2 388,14 2-1278,-13-2 1289,-1-1-39,1 1-49,0 0-59,3 0-538,5 2-697</inkml:trace>
  <inkml:trace contextRef="#ctx0" brushRef="#br0" timeOffset="21729.6">6272 255 896,'-1'-2'648,"0"0"-53,0 0 45,1 0 40,-1-3 618,3-5 1879,-1 7-2252,0 1-36,1 1-50,-1 1-65,1 1-80,1 1-94,-1 1-108,1 2-123,1 3 92,-1-1-49,1 0-47,-1 1-44,1-1-41,-1 1-38,4 6 139,-2-3-186,-1-1-51,0 0-41,0 1-36,1 2-18,7 27-6,-8-23 2,-1-1 44,0 0 70,2 16-51,7 38 34,-8-44-54,1 0 57,-6-30 102,0-1-116,-1-2-48,1-20 41,3 13-40,9-37 43,-5 1-46,0-52-17,-4 53-71,2 0 1,8-33 6,3 25-15,12 4-37,-27 53 50,0 0 0,0-1 0,0 1 0,1 0 0,-1-1 1,0 1-1,0 0 0,0-1 0,1 1 0,-1 0 0,0 0 0,0-1 0,1 1 0,-1 0 0,0 0 0,1-1 0,-1 1 0,0 0 0,1 0 0,-1 0 0,0 0 0,1-1 0,-1 1 0,0 0 0,1 0 0,-1 0 0,0 0 0,1 0 0,-1 0 0,1 0 0,-1 0 0,1 0 2,6 11-45,2 28-6,-7-27 37,18 59-28,4 0 36,-6-25 38,2-1 0,3 1-32,-14-31-98,1-1 96,1-2 62,17 13 138,-19-19-166,1 0-33,2 0-61,0-1-82,2-1-124,-7-2 82,0 0-37,1-1-41,-1 1-45,0-2-46,1 1-51,9-2-1199,-12 0 1095,0 0 0,0-1-1,0 0 1,0 0 0,-1 0-1,1 0 1,0-1 510,8-6-1357,-7 4 639,1 1-33,-2-1-40,1 0-44,-1 0-51,0 1-55,21-25-3634</inkml:trace>
  <inkml:trace contextRef="#ctx0" brushRef="#br0" timeOffset="25023.37">3639 2798 2145,'-2'-2'134,"-1"0"88,1 0 80,0 0 70,-1 0 62,1-1 52,-1 1 45,1 0 34,-3-2 405,-5-5 1348,7 6-1648,1 1-43,-2-1 2,1 0-89,1 1-108,0 1-262,1 0-34,-1 0 438,1 0-86,0 1-80,1 1-72,0 0-64,0 0-57,1 1-48,0-1-41,0 2-19,0-1-34,3 4 84,-3-5-44,8 11 166,-1-1-34,7 12 154,-1 1-104,-2-1-86,-3-1-77,0 0-40,14 54 115,-14-41-75,28 139 233,-9-38-183,-13-68-94,-3 1 0,-2 0 0,-4 1 0,-3 64-88,0-114 15,-1-5-22,-2-4-38,-1-8-19,1-2-85,0-2-64,-1-2-44,1-8-426,-2 3 301,0-3-303,0 0-40,1 1-57,0-1-74,1 3 236,-1 1-45,1-1-52,0 1-55,0-2-212,-1 0-93,1 1-100,-1-1-109,1 4 329,-1 0-92,1-1-299,-1-4-772,1 10 2117</inkml:trace>
  <inkml:trace contextRef="#ctx0" brushRef="#br0" timeOffset="25276.53">3484 3494 3057,'-2'2'92,"-1"0"94,1 1 86,-1-1 73,1 0 151,-1 1 73,1 0 182,0 1 452,1-1-202,2-1-366,0-1-143,1 1-44,0-1 34,2 0-108,-1-1-234,-1 0-34,1 1-37,1-1-41,8-1 465,0 0-55,1-2-49,-1 0-46,0-2-40,1 0-37,11-6 175,4-6-31,31-27 368,-33 22-513,0 1-38,28-21 129,4-4-97,-53 42-363,0-1 59,2-3 52,10-11 81,-11 12-111,-1 0-64,1 1-87,0 0-108,-2 2 23,0 0-65,0 0-72,1 1-77,-2 0 15,1 0-63,0 1-67,0 0-70,0 0-73,0 1-79,0 0-81,0 0-85,-1 0 275,0 0-80,0 0-90,0 0-100,-1 0 118,1 0-55,1 0-238,1-1-632</inkml:trace>
  <inkml:trace contextRef="#ctx0" brushRef="#br0" timeOffset="26089.45">3975 2719 3121,'-4'-9'970,"0"0"-76,1-1-69,0 0-61,0-1-53,0 0-47,0-10 560,2 14-776,0-1-1,1 1 1,0-1 0,1 1 0,-1 0 0,2 0 0,-1-1-448,2-4 708,2 1 42,0 3-376,-1 2 67,3 0 252,-7 5-603,1 1 0,-1 0-1,1-1 1,0 1 0,-1 0 0,1-1-1,0 1 1,-1 0 0,1 0-1,0-1 1,0 1 0,-1 0 0,1 0-1,0 0 1,0 0 0,-1 0 0,1 0-1,0 0 1,0 0-90,3 2 397,-1 0-36,0 1-47,0 1-58,0 0-67,-1 2-79,0 0-90,0 0-99,5 35 346,-2 1-79,-2 0-64,0 1-49,1 15-28,0-20-20,1 1 0,6 17-27,28 119 29,13 56 12,-28-120 0,-10-45 56,4 5-97,-13-55 11,4-2 83,-9-14-91,1 0 0,-1 0-1,0 0 1,0 0 0,0 0 0,1 0-1,-1 0 1,0 0 0,0 0 0,1 0-1,-1 1 1,0-1 0,0 0-1,0 0 1,1 0 0,-1 0 0,0 0-1,0-1 1,1 1 0,-1 0 0,0 0-1,0 0 1,1 0 0,-1 0-1,0 0 1,0 0 0,0 0 0,0 0-1,1-1 1,-1 1 0,0 0 0,0 0-1,0 0 1,0 0 0,1-1-1,-1 1 1,0 0 0,0 0-3,7-19 82,1-31-1,2-39-81,-7 47 27,2 1-1,2-1 0,3-4-26,-5 31-2,1 1 0,0 0 0,1 0 0,6-9 2,19-41-11,-30 58 10,0 1-1,0-1 0,1 1 0,0 0 0,0 0 0,0 0 1,0 0-1,1 0 0,3-3 2,16-7-45,-22 15 42,0 0-1,-1 0 1,1 1 0,0-1-1,0 0 1,0 1-1,-1-1 1,1 1 0,0-1-1,0 1 1,-1-1 0,1 1-1,0 0 1,-1-1-1,1 1 1,-1 0 0,1 0-1,-1-1 1,1 1 0,-1 0-1,0 0 1,1-1-1,-1 1 1,0 0 0,1 0-1,-1 0 1,0 1 3,10 27-53,-2 8 0,-6-25 42,1 0-1,0 0 1,0 0 0,1-1 0,4 9 11,2-2-2,-2 2 1,6 15 1,-4-9 3,2 18 11,-11-36-9,0-1 0,1 0 1,0 1-1,1-1 0,-1 0 0,1 0 1,1 0-1,-1 0 0,1-1 0,0 0 1,1 1-1,3 3-5,-5-9-135,1-2-123,1-2-107,-1-2-94,0-1-80,1-1-65,-1 0-51,0 1-37,4-8-1385,-5 11 1478,0-1 39,2-3-468,0 1 108,6-11-1111,-8 12 1383,0 0-38,0 0 114,-1 1-40,1 0-45,0 0-53,0-2-198,1 0-47,0-1-235,3-3-644,-7 10 1823</inkml:trace>
  <inkml:trace contextRef="#ctx0" brushRef="#br0" timeOffset="26820.47">4695 3011 1473,'-3'3'530,"0"0"0,1 0 0,-1 0 0,1 1 0,-1-1 0,1 1 0,0 0 0,0-1 0,0 3-530,-2 5 1154,4 0-47,2-2-60,4-1-76,-3-7-521,0-1-67,1 0-62,0-1-55,0 0-48,1-1-43,5-3 74,-1 0-98,9-7 119,-14 9-120,17-15 169,7-3-16,-11 9-134,-1 1-45,23-15 69,-34 23-168,0 0 1,0 0-1,0-1 1,0 0-1,-1 0 1,1 0 0,-1 0-1,0-1 1,3-4-26,4-14 154,-9 6 38,-9 12-83,-2 7-66,-8 6-21,10-4-20,7-4 1,0 0 1,0 0-1,0-1 1,0 1-1,0 0 1,0 0-1,0 0 1,0 0-1,0 0 1,0 0-1,0 0 1,0 0-1,0 0 1,0 0-1,0 0 1,0 0-1,0 0 1,0 0-1,0 0 0,1 0 1,-1 0-1,0 0 1,0-1-4,-5-7 139,-3-7-45,-30-57 86,24 44-65,14 27-110,-1 0 0,1-1 1,-1 1-1,1 0 0,-1 0 0,0 0 0,0 0 0,0 0 0,0 0 1,1 0-1,-1 0 0,-1 0 0,1 0 0,0 0 0,0 1 1,0-1-1,0 0 0,0 1 0,-1-1 0,1 1 0,0-1 0,-1 1 1,1 0-1,0 0 0,-1-1-5,0 2 5,-1-1 0,1 0 0,0 1 0,0-1 0,0 1 0,-1 0 0,1 0 0,0 0 0,0 0-1,0 0 1,1 0 0,-1 1 0,0-1 0,0 1-5,-6 5 8,1 0-1,1 0 1,-1 1-1,2-1 1,-1 1-1,-4 8-7,-1 7 18,0 0 0,2 0-1,-1 5-17,3-6 47,2 0 0,0 1 0,-1 14-47,4 34 168,3-55-86,1-1 0,0 1 0,3 6-82,-3-15 39,0-1-1,0 1 1,1-1 0,0 1-1,0-1 1,1 0 0,0 0-1,0 0 1,0-1 0,1 1-1,4 3-38,-3-3 40,1-1-1,-1 0 1,1 0 0,0 0-1,0-1 1,1 0-1,-1-1 1,1 0-1,4 1-39,-2-1 32,0-1-1,-1 0 0,1 0 0,0-1 0,0 0 0,0-1 0,0 0 0,0-1-31,33-8 71,-3-8-41,-26 9-137,-1-1-50,0 0-61,-1 0-71,0 0-81,0-1-92,-1 1-100,0-2-112,-3 5 159,-1-2-58,0 1-60,1 0-63,-1-1-66,0 1-69,1-1-71,-1 0-76,-4 5 289,1 0-63,-1-1-55,0 1-50,0-1-225,1 0-48,1-1-273,1-3-753</inkml:trace>
  <inkml:trace contextRef="#ctx0" brushRef="#br0" timeOffset="23440.08">1718 4154 848,'0'8'1049,"0"-1"-115,-1 0-71,-1 0-65,0 0-65,0 0-60,0 0-57,-1 0-55,0 0-51,0-1-48,0 1-46,0 0-41,-1-1-40,1 1-35,-5 6 203,0 2-64,0 0-101,1-1-71,-5 22 296,9-25-360,2 1 35,1 15 2,2 0-57,2 1-49,2-1-42,4 5-24,3 0-35,-4-11-22,2-1-1,0 0 1,5 5-11,-14-22 0,1 1 0,0-1 0,0 0 0,0 1 0,0-1 1,0-1-1,1 1 0,-1 0 0,1-1 0,0 0 0,0 1 0,1-1 0,-1 0 5,0-1 0,0 0 0,0 0-1,0 0 1,0-1 0,0 1 0,0-1-1,0 0 1,0 0 0,0 0 0,0-1 0,0 1-5,2-2 11,0 1 1,0-1 0,-1 0 0,1-1-1,-1 1 1,1-1 0,-1 0 0,0 0 0,0-1-1,0 0 1,-1 0 0,1 0 0,-1 0-1,0-1 1,0 1 0,-1-1 0,4-5-12,7-14 68,-1 0 1,-1-1 0,0-2-69,-6 11 69,0 0 0,-2-1 0,2-9-69,-2-20 175,-9 0 43,-12 3 51,14 36-203,-2 1-1,1 0 1,-1 0-1,0 0 1,-2-2-66,-38-32 294,-5 7-123,41 28-156,0 1-1,0 0 1,0 1 0,-10-2-15,12 3-7,-1 1 0,1 0 0,-1 0 0,1 1 1,-1 0-1,-6 1 7,0 2-98,2 3 52,8-3 45,0-1-1,0 1 1,1 0 0,0 1-1,0-1 1,0 1 0,0-1-1,0 1 1,-1 2 1,-7 14-55,6-7-24,0 0-47,1 0-58,1 0-69,1 0-79,1-1-90,0 0-101,1-1-111,0-8 511,1 0-42,-1 0-38,1-1-37,1 3-337,0-1-111,1 0-72,0-1-65,9 6-2058,-6-6 1688,-3-1 623,1-1 37,-1 1 42,1-1 52,-2 0 171,5 2-660,4 2-351,-11-5 1275</inkml:trace>
  <inkml:trace contextRef="#ctx0" brushRef="#br0" timeOffset="24034.82">2374 3700 2801,'-5'-4'547,"1"-1"69,-1 1 60,1-1 52,-1-1 362,0-1 62,-8-18 2766,8 13-2309,2 4-1185,-2 2-41,1 2-39,-1 2-36,-1 1-35,1 1-33,-7 4 149,1 4-107,1 2-93,2 0-77,2 1-60,-7 13 93,-3-1-56,-4 6-30,17-25-54,1 1 0,-1-1-1,1 1 1,1 0 0,-1-1 0,0 1-1,1 0 1,0 0 0,0 4-5,0 22-3,0 1 0,3 0-1,0 0 1,2 0 0,2-1 0,1 0 0,2 4 3,22 64-10,26 51 10,-19-52 35,9 45-35,-33-92-5,13 72 84,-19-79-95,-2 3-68,-2 1-99,-4-46 424,0 1-127,0 0-117,0 1-111,0-1-101,-1 0-95,1-1-86,0 0-79,-1 0-70,1-1-62,-1 0-55,0-1-47,0-3-502,-2-6-721,2 1 699,0 4 561,0-1-45,1 2 63,-1-1-41,0 0-47,1 0-49,-2-3-733,-1-5-887</inkml:trace>
  <inkml:trace contextRef="#ctx0" brushRef="#br0" timeOffset="24310.75">2183 4444 1857,'1'1'589,"-1"-1"-36,1 0-34,0 1-33,0-1 391,1 0-117,0-1-109,0 1-99,1-1-89,-1 0-79,0 0-99,1 0-49,-1 0-42,1 0-36,1-1 76,6-3 185,-8 3-248,0 1 54,0 0 60,8-4 180,-1-1-56,1 0-50,-1 0-48,4-4 80,1 0-79,-1 0-62,0 0-47,38-27 437,-35 25-598,8-4 119,3-3 48,-9 7-126,-3 2-86,0 0-94,-3 1-74,1 1-98,0 1-112,-7 3 143,1 0-34,-6 3-11,1 0 33,0 0-33,0-1 34,5-2-482,-4 3 381,0-1-82,0 0-110,-2 1 180,1 0-52,-1 0-58,1 0-64,-1-1-69,1 1-77,0 0-83,-1 0-88,0 0 57,0-1-68,1 1-240,0-2-625</inkml:trace>
  <inkml:trace contextRef="#ctx0" brushRef="#br0" timeOffset="28813.24">2093 5409 1457,'-2'-1'269,"0"-1"-3,-1 0 45,0 0 41,-2-1 457,-2-1 114,-1-2 389,-12-7 1907,14 8-2140,1 1-256,1 0-92,1-1-116,1 3-358,1 0-37,1 3 224,1 0-44,-1-1-43,1 1-40,0 1-38,0-1-33,1 1 150,-1 0-193,0 0-41,2 2 61,0 0-96,4 7 82,-6-8-103,0 1 51,9 29 183,1-1-57,1 0-53,0 0-46,3 7-19,0-1-50,10 19-17,-1-1-61,31 72-15,-37-85 14,-2 0 36,-8-20-35,-1 0 1,-1 1-1,-1-1 0,1 20-37,-4-20 92,-1 0 0,-3 23-92,1-36 19,-3 1 104,-1-9-7,0-13-59,-4-31-26,-3 0 1,-9-21-32,13 43 9,-1 1 0,0 0 0,-2 0 0,0 1 0,-1 0 1,-4-2-10,12 15-3,-14-17-42,-14-5-92,31 26 129,-1 0-1,0 0 0,0 0 0,0 0 0,1 0 0,-1 1 0,0-1 0,0 1 0,0 0 1,0-1-1,0 1 0,0 0 0,0 0 0,0 0 0,0 0 0,0 1 0,-2-1 9,2 1-6,0 0 0,-1 0-1,1 0 1,0 0-1,0 1 1,-1-1 0,1 0-1,0 1 1,0 0-1,1-1 1,-2 1 6,-31 40-345,4 5 78,16-27 167,9-10 59,-1-1 0,1 1 0,1 1 1,0-1-1,0 1 0,0 3 41,1-1-30,0 0-1,1 0 0,1 1 1,0-1-1,1 6 31,0-8-16,1 0-1,0 0 1,1 0-1,0-1 1,1 1 0,0-1-1,0 0 1,1 0 0,1 0-1,-1 0 1,2-1-1,-1 1 1,1-1 0,5 5 16,-5-8-5,-1 0 0,1-1 0,0 0 0,0 0 0,0-1 0,1 1 1,0-1-1,0-1 0,0 1 0,0-1 0,0-1 0,1 1 0,4 0 5,-1-1 5,0 0 0,0-1 0,0-1 0,0 0 0,0 0 0,0-1 0,0 0 0,0-1 0,3-1-5,4-2 22,0-1 0,0-1 0,0 0 0,-1-1 0,-1-1 0,1 0 0,-1-1 1,-1-1-1,0-1 0,0 0 0,1-3-22,7-8 20,7-6 50,-2-2 0,10-13-70,-5-7 27,-22 31-48,0 1-34,13-19-135,21-37-305,-32 48 359,-3 0 43,-3 10-122,8-26-368,-14 19 261,-5 10 169,3 15 150,0-1-1,0 0 1,0 1-1,0-1 1,0 1-1,0-1 1,1 1-1,-1-1 1,0 1-1,1 0 1,-1-1-1,0 1 1,1 0-1,-1 0 1,0 0-1,1-1 1,0 1-1,-1 0 1,1 0 0,-1 0-1,1 0 1,0 0 3,-14 26-44,12-21 35,-3 13-17,0 1 0,1 1 1,0-1-1,2 7 26,1-22-4,1 0 0,0 1 0,0-1 0,1 0 0,0 0 0,0 1 0,0-1-1,0 0 1,1 0 0,0 0 0,0 0 0,0-1 0,0 1 0,1 0 0,0-1 0,0 1 0,0-1 0,1 0 0,1 1 4,1 0-4,0 0 0,0-1-1,0 0 1,1 0 0,0-1 0,0 1 0,1-1 4,-4-1 4,1-1 0,-1 1 0,1-1-1,0 0 1,-1 0 0,1 0 0,0-1 0,0 0-1,-1 0 1,1 0 0,1 0-4,7-3 16,29-6 94,-6-5 70,-32 11-155,-1 1 0,1 0 0,-1-1 0,0 1 1,0-1-1,0 0 0,0 0 0,-1-1 0,1 1 1,-1 0-1,0-1 0,0 1 0,0-1 0,0 0 1,-1 0-1,0 0 0,1 0 0,-1 0 0,0-1-25,1-7 67,0 0-1,0-1 0,-1 1 0,-1 0 0,0-1 0,0 1 1,-1 0-1,-1-1 0,0 1 0,-1 0 0,0 0 0,-4-9-66,-18-29 238,-11 3-34,30 40-176,0 0 1,-1 0 0,0 0-1,-1 1 1,1 0 0,-1 0-1,-1 1 1,0-1-29,4 4 10,1 1 0,0-1-1,-1 1 1,1 0 0,-1 0 0,0 0-1,-3 0-9,2 1 4,-1 0 0,1 0 0,-1 1-1,1 0 1,-1 0 0,-2 2-4,-14 4-114,1 4 82,12-5 46,0 0 1,1 1-1,0 0 1,0 1-1,1-1 1,-4 5-15,0 2-15,1 1-35,-1 4-71,2 1-83,2 0-102,2 1-119,4-11 162,1 1-37,0-1-39,1 1-40,0-1-45,1 1-44,1-1-49,1 1-50,-1-5-151,5 10-758,-4-12 966,1 0-78,-2-1 218,0-1-39,0-1-41,1 1-49,0-1-51,-1 1-58,1-1-62,0 0-67,1-1-165,0 0-71,1 1-263,2-1-695</inkml:trace>
  <inkml:trace contextRef="#ctx0" brushRef="#br0" timeOffset="29475.3">3337 5334 1281,'-3'-6'682,"0"1"67,0 2 65,0 1 51,-1 1 593,-4 3 796,4-1-1250,0 0-33,-4 0 242,8-1-664,-1-1-39,0 1-37,0 0-36,0-1 339,-1 1-120,1-1-313,0 1-35,0-2 219,-1 1-23,1 0-192,0 1-36,-3-5 32,1 0-50,1 0-45,0-1-41,0-6 66,1 0-110,-1-2-75,2 12-51,0-1 1,-1 0-1,1 1 1,-1 0-1,0-1 1,0 1-1,0-1 1,0 1-1,0 0 1,-2-2-3,-4-4 44,-2 2 46,8 6-86,-1-1-1,1 1 1,0-1 0,0 1-1,-1 0 1,1-1-1,0 1 1,-1 0-1,1 0 1,0 0 0,-1 0-1,1 0 1,0 0-1,-1 0 1,1 0 0,0 1-1,-2-1-3,1 1 3,0 0 0,0 0 0,0 0-1,0 0 1,0 1 0,1-1 0,-1 1-1,0-1 1,1 1 0,-2 1-3,-3 5 1,0 1-1,0 0 1,1 1 0,-3 6-1,-2 3-1,-2 3-10,1 0-1,0 2 1,2-1 0,1 1 0,1 0 0,1 1-1,1 0 1,0 0 11,4-10-11,0 1-1,0-1 1,1 0 0,1 1-1,1-1 1,0 0 0,1 0-1,1 0 1,0 0-1,1-1 1,0 1 0,1-1-1,7 11 12,-10-20-2,-1-1-1,1 0 0,0 1 1,0-1-1,1 0 0,-1-1 1,1 1-1,0-1 0,0 0 1,0 1-1,0-2 0,1 1 1,-1 0-1,1-1 0,-1 0 1,4 1 2,-3-2 0,0 0 1,0 0 0,0-1 0,0 1 0,0-1 0,0 0-1,0-1 1,0 1 0,0-1 0,0 0 0,0 0 0,0-1 0,0 0-1,0 1 1,-1-1 0,4-2-1,26-16 34,-12 6-64,-5 0-52,0 0-69,-4 2-39,0-1-70,0 0-79,0 0-89,-6 4 111,1 1-40,-1-1-44,0 0-45,0 0-49,0 0-49,0 0-53,0 0-55,0 0-58,-1 0-59,1-1-62,-1 1-65,1 0-67,-1 0-69,0 0-71,1 0-74,-4 4 183,0 0-81,1-1-294,1-2-772</inkml:trace>
  <inkml:trace contextRef="#ctx0" brushRef="#br0" timeOffset="30143.29">3598 5211 1008,'0'-3'820,"-1"0"-212,1 1-59,0-1-53,-1 1-47,1 0-41,0-3 314,0 1-162,-1-5 682,0 5-831,0 1 37,1 0 69,0 1-54,1 1-49,0 0-45,0 1-43,0 0-38,1 1 188,-2-2-81,-4-1-114,5 3 205,-1 1-48,-1 0-48,0 0-44,0 2 76,-1 1-87,2-1-82,2 1-79,7 18 170,-3 0-111,-2 0-86,0 1-64,-3-10-54,2 1 0,-1-1 0,2 0 1,3 10-30,6 16 39,5 16-22,-16-52-14,0 0-1,-1 0 0,2 0 0,-1 0 0,0-1 0,1 1 0,0-1 0,0 0 0,0 1 0,0-1 1,1 0-3,-3-2 3,0-1 0,0 1 0,0 0 0,0 0 0,1-1 1,-1 1-1,0-1 0,0 0 0,0 1 0,1-1 0,-1 0 0,0 1 1,1-1-1,-1 0 0,0 0 0,1 0 0,-1 0 0,0 0 1,1-1-1,-1 1 0,0 0 0,0-1 0,2 0-3,0 0 11,-1 0-1,1-1 1,-1 0 0,1 0-1,-1 0 1,0 0-1,0 0 1,0 0 0,0 0-1,1-3-10,21-35 110,-16 18-84,-2 2-4,0-1 0,-2 0 0,0 0-1,-2 0 1,0-15-22,-1-31 72,-5-8-72,3 34 14,-13-101 44,7 84-4,6 55-39,-1-15 21,2 14 7,1 4 34,1 9-33,3 8-32,9 12-8,-1 0 0,-2 1 1,-1 0-1,4 20-4,-6-19 10,1-1 1,2 1-1,1-2 1,12 22-11,-22-47-88,1 0 52,5 10 17,-5-7-74,0-4-14,-1 0-51,1 0-62,-1 0-72,0-1 69,-1 0-34,1-1-37,0 1-40,0-1-41,-1 0-44,1 1-47,0-1-49,0 0-51,0 0-54,0-1-56,0 1-59,1-1-61,-1 0-64,0 0-66,0 0-68,0 0-45,0 0-99,0-1-323,2 1-837</inkml:trace>
  <inkml:trace contextRef="#ctx0" brushRef="#br0" timeOffset="31045.27">4069 4797 1569,'-4'-3'707,"1"0"49,2 0 861,11 4 1714,-6 1-2543,1 0-40,-1 0-51,0 1-63,0-1-74,-1 1-85,0 0-95,-1 0-108,5 11 414,0 1-79,1 0-76,-1 0-69,0 0-64,0 0-59,0 0-54,-1 1-48,6 12 84,-1 0-107,-1-1-85,12 48 90,-15-43-88,1 50 13,-4-27 3,-4-52-112,1-4 76,-1-1-46,1-16 31,1-48 96,2-2-93,2-41-41,-5 61-23,7-31-35,-4 52-4,1 0 1,2 0 0,0 0 0,2 1 0,10-21 3,-19 46-1,1-1 0,-1 1 0,1 0 0,0-1 0,0 1 0,-1 0 0,1-1 0,0 1 0,0 0 1,0 0-1,0 0 0,0 0 0,0 0 0,1 0 0,-1 0 0,0 0 0,1 0 0,-1 1 0,0-1 0,1 0 1,0 1-1,-1 0 0,0 0 0,0 0 1,0 0-1,0 1 0,0-1 0,0 0 0,0 0 0,0 1 0,0-1 0,0 1 1,0-1-1,-1 1 0,1-1 0,0 1 0,0 0 0,0-1 0,0 1 0,-1 0 1,1 0-1,0 0 1,4 6-5,0 0 1,0 0-1,-1 1 1,-1-1-1,1 1 1,0 1 4,8 21 0,3 5 4,-2 0 0,-1 1 0,-2 1 0,0 9-4,-9-42 3,0-1 0,0 1 1,1 0-1,-1-1 0,1 1 0,0-1 1,0 1-1,0 0-3,11 24 70,-6-21-4,-5-5-36,-5-4 2,2-4 62,2-12-32,-1 2-29,-1 8-13,1-1 0,-1 1 0,1-1 0,1 0-1,1-6-19,1-24 29,-3 17-16,-1-18-2,2 0 1,2 0-1,5-21-11,-6 50-4,0 0-1,1 0 1,1 0-1,0 0 1,0 0-1,1 1 1,0 0-1,1 0 1,0 0-1,1 1 1,0 0-1,0 0 1,1 1-1,5-5 5,-12 12 0,-1 1 0,1-1-1,-1 1 1,1 0 0,-1-1-1,1 1 1,-1-1 0,1 1-1,0 0 1,-1 0-1,1-1 1,0 1 0,-1 0-1,1 0 1,0 0 0,-1 0-1,1 0 1,0 0-1,-1 0 1,1 0 0,0 0-1,-1 0 1,1 0 0,0 0-1,-1 0 1,1 0-1,0 1 1,-1-1 0,1 0-1,-1 0 1,1 1 0,1 0 0,-1 1 1,1-1-1,-1 1 0,1-1 1,-1 1-1,0 0 0,0-1 1,0 1-1,0 0 0,0 0 1,0 0-1,16 56 21,-15-52-19,6 36 35,1 30-37,-7-46 12,1 0 1,1 0 0,2-1-1,0 1 1,2-2 0,3 7-13,-8-24 103,1-1-39,-1-2-57,0-1-72,0-2-89,-1 0-104,1-2-120,-2 0 139,0 1-37,0-2-38,0 1-39,1 0-43,-2-1-44,1 0-46,0 0-48,0 0-50,0-1-53,0 1-53,-1-1-57,1 0-58,-1 0-59,1 1-63,-1-2-65,1 1-65,-1 0-68,0 2 582,0 0-34,1-1-666,-1 0-366,1-2-937</inkml:trace>
  <inkml:trace contextRef="#ctx0" brushRef="#br0" timeOffset="31753.7">4728 4544 4450,'0'0'1018,"0"0"-398,1 0 148,-1 0-84,0 0-78,1 0-74,-1 0-68,1 1-65,0-1-58,0 0-55,0 1 33,1-1-84,0 1-71,-1-1-56,2 1-33,3 1-10,-3-1 13,-2 0 79,0-1-36,0 1 34,16 7 606,1-3-107,1-3-96,-1-2-86,2-2-76,-1-2-66,0-2-57,-1-2-46,12-8 78,-20 9-189,0 0 0,-1 0-1,0-1 1,0 0 0,3-5-116,2-4 209,-3 0 46,-3-3-87,-7 19-149,-1 0-1,0 0 0,0 0 1,0 0-1,1 0 0,-1 0 1,0 0-1,-1 0 0,1-1 1,0 1-1,0 0 0,0 0 1,0 0-1,-1 0 0,1 0 1,-1 0-1,1 0 0,-1 0-18,-5-6 152,-4 2-40,1 2-69,0 1-35,-3-3 17,12 5-24,0 0 0,-1-1-1,1 1 1,-1 0 0,1 0-1,0 0 1,-1 0 0,1-1-1,-1 1 1,1 0 0,-1 0 0,1 0-1,-1 0 1,1 0 0,-1 0-1,1 0 1,-1 0 0,1 0-1,0 0 1,-1 0 0,1 1 0,-1-1-1,1 0 1,-1 0 0,1 0-1,0 1 1,-1-1 0,1 0 0,-1 0-1,1 1 1,0-1 0,-1 0-1,1 1 0,-9 1 4,9-2-4,-1 0 0,1 0 0,0 0 0,0 0 0,-1 0 0,1 0 0,0 0 0,0 0 0,0 0 0,-1 0 0,1 0 0,0 0-1,0 0 1,0 0 0,-1 0 0,1 0 0,0 0 0,0 0 0,0 0 0,-1 1 0,1-1 0,0 0 0,0 0 0,0 0 0,0 0 0,-1 1 0,1-1 0,0 0 0,0 0 0,0 0 0,0 0 0,0 1 0,0-1 0,0 0 0,0 0 0,-1 0 0,1 1 0,0-1 0,0 0 0,0 0 0,0 1 0,0-1 0,0 0 0,0 0 0,0 0 0,0 1 0,0-1 0,1 0 0,-1 0 0,0 0 0,0 1 0,-1 0 2,1-1 0,0 1 0,-1 0 0,1-1 1,-1 1-1,1 0 0,-1-1 0,0 1 0,1 0 0,-1-1 0,0 1 0,1-1 0,-1 1 0,0-1 1,1 1-1,-1-1 0,0 0 0,0 1 0,0-1 0,0 0 0,1 0 0,-1 0 0,0 1 0,0-1 1,0 0-1,0 0 0,0 0 0,1 0 0,-1 0 0,0-1 0,0 1 0,0 0 0,0 0 0,1-1 1,-1 1-1,0 0 0,0-1 0,0 1 0,1-1 0,-1 1 0,0-1 0,1 1 0,-1-1 0,0 1 1,1-1-1,-1 0 0,1 1 0,-1-1 0,1 0 0,-1 1 0,1-1 0,0 0 0,-1 0 0,1 0 1,0 1-1,-1-1 0,1 0 0,0 0 0,0 0 0,0 0 0,0 0-2,0-1 1,-1 1 0,1-1 0,-1 0 0,1 0 0,-1 1 0,0-1 0,1 0 0,-1 1 0,0-1 0,0 1 0,0-1 0,0 1 0,0-1 0,-1 1 0,1 0 0,0 0 0,-1 0 0,1-1 0,-1 1 0,1 1 0,-1-1 0,1 0 0,-1 0 0,0 0 0,0 1-1,-15-10 7,17 9-7,-1 1 0,1 0 0,0 0 0,-1 0 0,1 0-1,0-1 1,-1 1 0,1 0 0,-1 0 0,1 0 0,0 0 0,-1 0 0,1 0 0,-1 0-1,1 0 1,0 0 0,-1 0 0,1 0 0,-1 0 0,1 0 0,0 1 0,-1-1-1,1 0 1,-1 0 0,1 0 0,0 1 0,-1-1 0,1 0 0,0 0 0,-1 1 0,1-1-1,0 0 1,0 0 0,-1 1 0,-12 17-9,-2 23-7,8 4 2,2-1 40,3-22 46,1-1 0,2 23-72,0-32 44,1 1 0,0-1 0,1 1 1,2 4-45,-2-8 34,1 1 0,0-1 0,1 1 0,0-1 0,0-1 1,1 1-1,0-1 0,1 0 0,3 3-34,1 1 80,0 0 0,1-1 0,0-1 0,1 0 0,13 8-80,-21-15 24,0-1 1,0 0-1,0 0 0,1 0 0,-1-1 1,0 1-1,1-1 0,-1 0 1,1-1-1,1 1-24,-1-2 21,0 1 0,0-1 0,0 1 0,0-2 0,0 1-1,5-2-20,-5 0 20,0 1 0,0-1 0,0 0 0,0-1 0,0 1 0,-1-1 0,0 0 0,3-3-20,12-13 36,-6 2-48,0-1-53,-1-1-69,-1 1-83,-3 5-17,-1 0-140,0 1-63,0-1-87,-1 0-108,-3 4 140,1 1-65,-1-1-71,0 0-78,-1 2 54,1-1-63,-1 1-66,0 0-70,-1-1-73,1 0-79,0 1-80,-1-1-86,-1 6 574,0 0-34,1-4-722,0-1-391,0-5-1009,-2 13 2746</inkml:trace>
  <inkml:trace contextRef="#ctx0" brushRef="#br0" timeOffset="32496.97">5285 4226 2913,'-1'-2'109,"0"1"33,-1-3 235,0 2 109,0-1 94,-1 0 218,0 0 86,0 1 254,-1-1 627,1 3-570,1 0-86,1 2-443,0-1-77,1 0-267,0 1-39,1 0-45,-1 0-47,1 0-51,0 1-55,0 0-60,0 0-62,4 7 563,0 1-70,0-1-64,0 0-57,0 1-54,1-1-47,-1 0-41,1 0-37,5 12 81,-1-4-108,11 25 111,-15-29-139,-1 0 34,8 11-33,10 9-23,-1-3 10,-11-9 28,-16-35 103,0-2-51,1 1-43,0-2-38,0-6-18,-1 0-45,-5-51-61,6 43 69,3 22-10,-4-78-23,4 65-9,2 1 0,1-1 0,0 1 0,2 0-1,1-7 10,-3 22-2,1 0-1,-1 0 0,1 0 1,-1 0-1,2 0 0,-1 0 1,0 0-1,2-1 3,16-23-27,-21 28 26,1 0-1,-1 0 1,1 0-1,0 0 1,-1 0-1,1 0 1,0 0-1,0 0 1,0 0-1,0 0 0,0 1 1,0-1-1,0 0 1,0 1-1,0-1 1,0 1-1,0-1 1,1 1-1,-1-1 0,0 1 1,0 0-1,0-1 1,1 1-1,-1 0 1,0 0-1,0 0 1,1 0-1,-1 0 1,0 0-1,0 1 0,1-1 1,-1 0-1,0 1 1,0-1-1,0 1 1,0-1-1,1 1 1,-1-1-1,0 1 1,0 0-1,0-1 0,0 1 1,0 0 1,5 3-2,-1 1-1,1-1 1,-1 1 0,0 0 0,0 1-1,3 4 3,6 11 14,-1 1-1,-1 0 0,-1 1 0,-1 0 1,4 14-14,2 5 32,-5-20-5,0-1 1,2 0-1,0-1 0,1 0 1,14 13-28,-21-24 10,-6-7-81,1-1-56,-1 0-53,1-1-51,-1 0-47,0-1-44,1-1-42,-1 1-37,1-4-502,-1-1-114,1 0-89,-1-2-63,2-19-2899,-3 22 3232,0 0 32,0 0-39,0 0 65,0 2 78,0 0 91,0-7-955,-1-6-655</inkml:trace>
  <inkml:trace contextRef="#ctx0" brushRef="#br0" timeOffset="32876.58">5497 3283 3041,'-3'-6'572,"1"0"58,0-1 53,0 0 46,1-1 41,0 0 35,2-7 887,-1 14-1485,0-1 0,0 1 0,0-1 0,0 1 0,1 0 0,-1-1 0,1 1-1,-1-1 1,1 1 0,-1 0 0,1 0 0,0-1 0,0 1 0,0 0 0,-1 0 0,1 0-1,0 0 1,1 0 0,-1 0 0,0 0 0,0 0 0,0 0 0,0 1 0,1-1-207,17-1 2045,-12 3-1672,-1 2-49,0 0-46,-1 2-41,0 0-37,0 2-34,4 7 82,0 5-62,8 27 82,-12-30-99,40 94 341,-26-64-344,-1-2-34,31 91 189,-13-33-150,3-1-37,-19-53-59,3-2 0,1-1 0,6 5-75,-16-29-10,3-1 50,-10-13-8,0 1 0,1-1 0,0-1 1,0 0-1,0 0 0,1-1 0,0 1-32,26 5 48,-17-10-71,0-4-41,5-9-101,-1-9-110,-13 9-27,0 0-85,-1 0-96,0-1-111,0 0-121,-5 7 308,1-1-35,0 1-36,0-1-39,-1 1-39,1-1-41,0 1-45,-1-1-45,1 0-45,0 1-49,-1-1-48,1 1-51,0-1-52,0 0-54,-2 5 354,0-1-48,-1 0-43,1 0-39,0-1-193,1 1-39,3-8-2116,-6 11 3096</inkml:trace>
  <inkml:trace contextRef="#ctx0" brushRef="#br0" timeOffset="33142.51">5520 3950 4290,'2'-4'914,"0"0"-76,1 0-71,-1 0-69,1 1-64,0-1-60,0 1-57,0 0-53,1-1 29,0 0-65,1 0-56,0 1-52,0-1 7,1 0-53,1 0 3,4-3 70,6-4 219,-11 7-337,0 0 40,16-13 369,7-4 44,-1 0-108,1 1-99,1-1-89,0 2-79,0 1-68,1 1-59,1 1-48,1 2-145,-19 8-25,1 0-103,-7 3 14,0 0-47,-2 0-13,1 1-42,-1-1-47,1 1-50,-1 0-56,1 0-60,0-1-63,-1 1-68,-1 1 206,6-3-422,-7 3 472,0 0-75,0 0-78,-2 0 168,0 0-35,0 0-39,1 0-42,-1 1-45,0-1-51,1 0-54,-1 0-57,1 0-8,-1 0-48,0 0-43,1 1-38,0-2-194,0 1-38,6-2-2116</inkml:trace>
  <inkml:trace contextRef="#ctx0" brushRef="#br0" timeOffset="34190.21">2231 6679 1457,'-18'0'692,"-24"-1"834,18 1-613,13 0-413,-1-1 39,-3 1 256,-1 1 105,3-1-55,0 0 99,0 1 110,-1 0 122,10-1-823,0 0 36,0-1 244,2 0 40,2-3 700,2 1-514,1 1-374,0 0-56,0-1-71,1 2-83,-1-1-97,0 0-110,0 1-125,-1 1-22,-1-1-36,44-10 604,-1-2-51,0-1-49,-1-1-45,0-1-42,-1 0-38,43-21 163,-19 6-169,0-1-59,13-9-19,39-21 20,34-18 49,-50 29-11,87-38 10,1 1-38,161-76 85,-4-11-111,16-23-30,180-105-9,-59 17-21,-44 24 29,-131 83 20,-294 171-173,1 1 0,0 1 0,0 0 0,11-2 0,12-1-98,-19 4-13,0-1-53,-3 0-118,-7 2 81,-1 1-56,-1 2-76,-1 4-96,-4-1 12,-1 1 45,-5 5-652,-1-5 451,2-1 244,-1 0-37,-1 1-195,0-1-101,1 0 162,0 0-58,1-1-61,-1 1-68,1 0-72,-1 0-78,1-1-82,1 1-89,-3 2-600,2-2 861,1-1 275,0 0-53,0 0-63,0 0-76,0 0-86,0 0-99,0 0-110,0 0-121,1-1 511,0 1 43,-1-1-62,1 1-24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25:02.732"/>
    </inkml:context>
    <inkml:brush xml:id="br0">
      <inkml:brushProperty name="width" value="0.05" units="cm"/>
      <inkml:brushProperty name="height" value="0.05" units="cm"/>
    </inkml:brush>
  </inkml:definitions>
  <inkml:trace contextRef="#ctx0" brushRef="#br0">57 6226 896,'-1'0'771,"-1"1"-116,1-1-46,-1 0-41,1 1-38,-1 0-34,-2 0 411,2 0-302,-1 0-34,-4 1 1055,4-2-786,1-1 74,1 0-244,1 0 64,0 1-282,1 0-53,-1 0-50,1-1-45,0 1-42,1-1-38,1 0 125,0-1-126,0 1-63,5-5 191,-6 5-143,8-9 192,0-1-48,3-2 24,0 1-57,-1-1-51,1 1-41,3-2 0,1 0-36,38-24 301,15-5-90,-2-1-102,12-13-41,37-34 16,-31 21-136,2 4-40,-22 20 15,53-27-114,9-1 41,-85 49-72,-1 1-81,-39 22 24,0 2-53,-2 0-48,0 1-42,-2 3-332,-2 1-99,-8 10-1051,8-12 1185,0 0 60,-29 20-4313,18-12 2684,2-2 201,0 1-103,-12 7-1656</inkml:trace>
  <inkml:trace contextRef="#ctx0" brushRef="#br0" timeOffset="732.33">163 6015 352,'1'-4'953,"0"-1"-280,1-4 586,1-3 142,3-7 609,-2 10-990,1 1 46,-2 3-318,1 0 40,-1 2-96,1 0 37,0 1 43,0 0 46,-4 2-429,1 0-34,-1 1 259,0 0-117,0 1-103,-1 1-35,0 0-102,0 1-50,-1 1-13,1 0 27,-4 8 63,0 1-46,-1-1-44,0 0-38,-5 6 15,0 0-64,-1 0-49,0-1-35,-24 41-23,23-34 44,-51 73 4,54-85-32,2-14 76,7 0-83,1 0 1,0 1-1,-1-1 0,1 0 0,0 0 1,0 0-1,0 0 0,0 0 1,-1 0-1,1 0 0,0 0 0,1 0 1,-1 1-1,0-1 0,0 0 1,0 0-1,1 0 0,-1 0 1,0 0-1,1 0 0,-1 1 0,0-1 1,1 0-1,-1 0 0,1 1 1,0-1-1,-1 0 0,1 0-9,7-8 107,-1 1 0,1 0 0,0 1 0,9-6-107,5 1 148,-11 11-79,13 5-38,-5-1-21,19-1-3,-1-2 0,1-2 0,0-1 1,8-4-8,-4 1-35,-2-2-42,-37 8-93,1-1 65,1-1 35,7-2 45,-9 3-51,1 0-79,-2 0 11,0 0-44,0 1-51,0-1-57,0 0-61,1 0-70,-1 1-73,0-1-81,0 0-85,0 1-93,0-1-97,1 1-105,-1-1-109,0 1-116,0 0-121,1-1-128,-3 1 810,1 0-40,1 0-763,-1-1-420,2 1-1075</inkml:trace>
  <inkml:trace contextRef="#ctx0" brushRef="#br0" timeOffset="2736.66">1304 4615 1729,'0'-3'859,"0"1"-83,0 0-77,0 0-71,0-1-64,0 1-57,-1 0-49,1 0-45,0-1 72,0 0-48,-1-10 1404,1 10-1190,0 1-284,1 0 35,-1-1 243,1 0 98,0 0 113,0 2-380,0 0 34,-1 1 83,-1 0-75,1 1-68,0 0-63,0 0-58,0 0-53,0 0-48,0 1-42,-1 1 56,1 0-92,-1 1-63,0 4 40,0-2 19,-2 18 166,2 2-100,1-7-106,1 0-36,0 20-4,2 28-12,4 122-4,-5-178-9,4-19 1,7-27 30,-10 27-53,78-222 115,-65 182-124,-13 39-14,1 0 1,0 0-1,0 1 1,1-1-1,0 1 1,1-1 3,-3 5-2,0 0 0,0 1 0,0-1 0,0 1 1,1 0-1,-1 0 0,1 1 0,0-1 0,0 1 0,0-1 0,0 1 0,0 0 0,4-1 2,-7 3 0,1 0 0,-1 0-1,1 0 1,0 0 0,-1 0-1,1 1 1,-1-1 0,1 0-1,-1 1 1,1-1 0,-1 1-1,1 0 1,-1-1 0,0 1 0,1 0-1,-1 0 1,0 0 0,1 0-1,-1 0 1,0 0 0,0 0-1,0 0 1,0 0 0,0 1-1,0-1 1,0 0 0,-1 1-1,1-1 1,0 0 0,-1 1-1,1-1 1,-1 1 0,1 0 0,3 10-3,0-1 0,0 1 1,1 10 2,-4-17 0,4 21-2,-2 0 1,-1 0-1,-1 11 2,2 14 2,-3-49-2,0-1-1,0 1 1,0 0 0,0 0-1,0 0 1,1-1 0,-1 1-1,1 0 1,0 0 0,-1-1-1,1 1 1,0 0 0,0-1 0,0 1-1,0-1 1,0 1 0,0-1-1,0 0 1,1 1 0,-1-1-1,1 0 1,-1-1 1,0 1-1,0-1 1,1 1-1,-1-1 1,0 0-1,0 0 1,1 0-1,-1 0 0,0 0 1,1 0-1,-1 0 1,0 0-1,1-1 1,-1 1-1,0 0 1,0-1-1,1 1 1,-1-1-1,0 1 1,0-1-1,0 0 0,0 0 1,0 1-1,0-1 1,0 0-1,1 0 0,4-5 6,0 1 1,-1-1-1,0 0 0,0 0 0,0-1 0,0 1 1,-1-1-1,0 0 0,-1 0 0,0-1 0,2-4-6,4-17 15,0-1-1,0-15-14,7-21 15,-11 50-7,-1 1-1,-1-1 0,0 0 1,0-9-8,-3 51-48,8 60 48,-4-62 1,-2-10-2,0 0 0,1-1-1,0 1 1,3 3 1,-5-13-1,0-1 1,1 0-1,-1 0 0,1 0 1,0 0-1,0 0 0,0-1 1,0 1-1,0-1 1,1 1-1,-1-1 0,1 0 1,0 1-1,-1-1 0,1-1 1,0 1-1,0 0 0,0-1 1,3 1 0,-5-1 1,0-1 1,1 0-1,-1 0 1,0 0-1,1 0 1,-1 0-1,0 0 1,1-1-1,-1 1 1,0 0-1,1-1 1,-1 1-1,0-1 1,0 1-1,1-1 1,-1 0-1,0 1 1,0-1-1,0 0 1,1 0-2,23-23 23,-15 14 1,-5 4-16,1 0 1,-1-1-1,0 0 1,0 0-1,-1 0 0,0-1 1,0 1-1,-1-1 0,0 0 1,-1 0-1,1 0 1,-1 0-1,-1-1 0,0 1 1,0-1-1,0 1 0,-1 0 1,-1-7-9,1 10 5,-1-1 0,1 1 0,-1-1 0,-1 1-1,1-1 1,-1 1 0,0 0 0,0 0 0,0 0 0,-1 0 0,0 0 0,0 0 0,0 1 0,-1 0 0,1-1-1,-2 0-4,1 2 0,1 0 0,-1 1 0,0-1 0,0 1 0,0 0-1,0 0 1,0 0 0,0 0 0,-1 1 0,1 0-1,-1 0 1,1 0 0,-1 0 0,1 1 0,-17 0-175,3 3 110,1 4 81,14-5-4,0 0 1,0 0 0,0 0 0,1 0-1,-1 1 1,1-1 0,0 1 0,0 0 0,-1-1-1,0 4-12,-4 8-12,2-1-62,2 1-81,2-4 8,0-1-43,0 0-50,1 1-54,1 0-59,0-1-64,0 1-68,1-1-74,0 1-79,0-1-83,1 0-88,0-1-94,1 0-98,0 0-103,0 0-108,0-1-113,0-2 321,-2-3 456,0 1-33,0 0-150,0-1-52,0 1-119,0 0-50,1 1-241,0 1-650</inkml:trace>
  <inkml:trace contextRef="#ctx0" brushRef="#br0" timeOffset="3450.77">2161 4323 1985,'-4'0'752,"0"-1"98,1-2 269,-2-3 688,3 0 752,2 5-1348,2 4-99,-2-2-433,0 0-115,-1 1-103,1 1-91,-1 0-30,0 1-95,-1 1-46,0 1-24,0 1 13,2-4 32,-1 2-3,0 1-36,0-1-35,-1 4 63,2-1-89,2 14 74,1-3-44,0 2-48,2 22 1,-4-39-97,-1 0-1,1 0 1,1 1-1,-1-1 1,0 0-1,1 0 1,0-1 0,0 1-1,0 0 1,0 0-1,1-1 1,1 2-6,-3-4 3,1 1 0,-1-1-1,1 0 1,-1 0 0,1 0 0,-1 0 0,1 0 0,0 0-1,0 0 1,-1-1 0,1 1 0,0 0 0,1-1-3,-1 0 6,0 1 0,1-1 1,-1-1-1,0 1 0,0 0 1,0 0-1,0-1 0,0 1 1,0-1-1,0 0 0,0 0 0,0 0 1,0 0-1,0 0 0,-1 0 1,3-1-7,0-2 16,0 1 1,0-1-1,0 0 1,-1 0-1,1 0 1,-1-1 0,0 1-1,0-1 1,-1 0-1,1 0 1,0-2-17,10-39 100,-10 26-66,-1 1 0,0-1 0,-1 1 0,-2-11-34,-1-3 67,-1 0 33,5 20 16,9 8 115,-6 38-157,6 31-62,-8-41 3,1-1 0,5 17-15,-7-34 2,-1 1-1,1-1 0,1 1 1,-1-1-1,1 0 1,0 0-1,0 0 0,1 0 1,-1-1-1,1 1 1,0-1-1,3 3-1,-5-6 2,0 1-1,0-1 1,0 1 0,0-1 0,0 0-1,0 0 1,0 0 0,1 0-1,-1 0 1,0 0 0,1-1 0,-1 1-1,0-1 1,1 0 0,-1 1-1,1-1 1,-1 0 0,0-1 0,1 1-1,-1 0 1,1-1 0,-1 1-1,0-1 1,1 0 0,-1 1 0,0-1-1,0 0 1,2-2-2,5-2 13,-1-2 1,0 1-1,0-1 0,0 0 1,-1-1-1,1-2-13,11-10 19,-13 13-4,-1 0-1,0 0 1,0-1 0,-1 0 0,0 1 0,0-2 0,-1 1-1,0 0 1,0-1 0,-1 1 0,0-1 0,-1 0-1,0 0 1,0 0 0,-1 0 0,0 0 0,0 1 0,-1-1-1,-2-7-14,-8-31 113,-8 4 45,-8 6 62,-6 9 75,22 23-220,7 7-49,5 4-63,3 3-82,2 2-99,1-1-116,-4-5 119,0-1-36,-1-1-37,-1-1-40,2 1 154,-1-1-63,0 0-60,1 0-62,-1 0-58,0 0-58,1-1-56,-1 1-56,1-1-55,0 0-52,0-1-52,0 1-52,0 0-48,0-1-49,1 0-47,-1 0-46,-1 0 394,-1 0-47,0 0-42,1 0-36,0 0-185,-1 0-35,5 0-2006</inkml:trace>
  <inkml:trace contextRef="#ctx0" brushRef="#br0" timeOffset="14737.93">2499 5403 816,'-6'-24'2720,"3"8"-1016,-1 1-80,-1 0-106,2 7-808,0 1-38,1 4-74,0 0-74,0 0-67,-1 0-59,0-1 12,0 1-62,-3-2 84,1 0-68,-6-5 363,-7-1-283,-1 10-81,-1 10-106,10-3-176,0 2-35,1 0-39,0 1-42,0 1-45,1-1-48,0 1-51,1-2-54,2 0-58,0-1-59,-5 8 329,1 0 45,-7 17 130,3 5 140,9-22-132,0-1 1,2 1-1,0-1 0,1 1 1,0 5-163,2 14 210,3-9-118,2 0-78,2-1-96,2-1-113,-10-22 195,1 0-1,-1 0 1,1 0 0,0 0 0,-1 0 0,1 0 0,0 0 0,0 0 0,-1 0 0,1 0 0,0 0 0,0 0 0,0 0-1,0-1 1,0 1 0,0 0 0,0-1 0,1 1 0,-1-1 0,0 1 0,0-1 0,0 0 0,1 0 0,-1 1 0,0-1 0,1 0 0,0 0-1,0-1 1,1 1 0,-1-1 0,0 0 0,1 1 0,-1-1 0,0 0 0,0 0 0,0-1 0,0 1-1,0 0 1,0-1 0,1 0 0,7-7 3,-1 0 1,0 0-1,0-1 0,4-7-3,-12 15 1,13-17 10,0-2-1,-1 0 1,-1 0-1,-1-1 1,-1 0-1,7-23-10,-14 35 4,0 0 1,0 0-1,-1-1 0,-1 1 0,0-1 0,0 1 0,-1-1 0,0 1 1,-1-1-1,0 1 0,-1-1 0,0 1 0,-1 0 0,0 0 0,0 0 1,-1 0-1,-2-3-4,6 13 0,0-1 0,0 1 1,0-1-1,0 1 1,-1-1-1,1 0 0,0 1 1,0-1-1,-1 1 0,1-1 1,0 1-1,0 0 0,-1-1 1,1 1-1,-1-1 0,1 1 1,-1 0-1,1-1 1,0 1-1,-1 0 0,1-1 1,-1 1-1,1 0 0,-1-1 1,1 1-1,-1 0 0,0 0 1,1 0-1,-1 0 0,0 0 0,-3 15 7,6 26 8,4 2 58,1-1 1,12 34-74,-14-60 15,1 0 0,1 0 0,7 13-15,-9-21-4,0 0 0,1 0 1,0-1-1,0 1 0,0-1 0,1 0 0,2 1 4,-8-7-182,1 0 53,-1 0 44,1 0 36,0 0 26,6 3 59,-4-3-48,0 0-50,-1 0-72,-1 0 11,0-1-37,0 0-43,0 0-48,0 1-52,0-1-56,0 0-63,0-1-65,0 1-71,-1 0-76,1-1-80,0 0-86,-1 0-89,0 0-95,1 0-99,-1 0-103,-1 0 195,1 0-108,-1 0-327,1-1-829</inkml:trace>
  <inkml:trace contextRef="#ctx0" brushRef="#br0" timeOffset="15234.9">2894 5192 3041,'-3'-1'922,"1"1"-95,0-2-88,1 1-79,-1-1-74,1-1-64,0 1-59,-1-1-49,1 1-2,0-1-44,-2-1 183,-6 1 650,5 4-784,-1 2 55,-2 2-62,1-1-36,-7 5 273,0 1-119,1 1-99,-3 3-21,2 1-84,8-10-212,1 1 0,0 0 1,0 0-1,1 0 0,0 0 0,0 1 0,-1 0-112,-2 10 132,-1 3 9,3-1-36,8-1-45,12-1-57,-10-14-2,0 1 1,0-1-1,0 0 1,0-1 0,1 1-1,-1-1 1,1-1-1,-1 1 1,1-1 0,0 0-1,0-1-1,83 1-7,-34-2 18,-45 1-8,25 4 33,-36-4-35,1 0 0,-1 0 0,0 0 0,1 0 0,-1 0 0,0 1 0,1-1 0,-1 0 0,0 0-1,0 1 1,1-1 0,-1 0 0,0 0 0,1 1 0,-1-1 0,0 0 0,0 0 0,0 1 0,1-1 0,-1 0 0,0 1 0,0-1 0,0 0-1,0 1 1,0-1 0,0 1 0,0-1 0,0 0 0,0 1-1,-10 15 27,-13 8-1,15-14-20,-1-1-1,-1 1 1,1-2 0,-2 1 0,1-2-1,-1 1 1,0-1 0,0-1 0,-4 2-6,6-5-30,-16 7 38,16-4-43,2 0-46,1 1-67,3 1-86,3 1-105,1-5-141,1-2-83,1-2-193,2-4-464,1-3 6,-3 3 469,0 0 196,-1 1 86,-1 1 103,5-6-722,-3 4 497,1 0-37,0 0-41,0 0-48,1 1-53,0 0-57,4-2-604,7-2-826</inkml:trace>
  <inkml:trace contextRef="#ctx0" brushRef="#br0" timeOffset="11609.63">8875 732 4418,'1'-4'568,"0"-1"94,0 1 81,0-1 65,2-3 767,2-3 1135,-3 7-1574,0 2-64,1 0-85,-1 1-112,-1 2-488,-1-1-40,1 1-41,0 1-47,0 0-48,0 0-54,-1 1-56,1 0-60,-1 1-64,1 0-66,0 13 453,1 0-54,0 0-49,1-1-46,0 1-39,1-1-35,3 17 56,0-3-89,6 43 43,-8-19-103,2 14-9,-4-47-68,3-1-34,-3-18-1342,0-9-3,0-2 42,-2 4 84,1-9-551,-2 10 1166,0-1-76,0 1 46,0 0-90,0 0-105,0 0-122,0 1 424,0 1-36,-1-3-718,1-2-393,-1-3-1008,1 10 2712</inkml:trace>
  <inkml:trace contextRef="#ctx0" brushRef="#br0" timeOffset="11859.2">8774 543 1617,'-2'-4'1600,"1"1"-409,-1 0-74,1 0-73,0 0-71,0 0-67,1 0-66,-1 1-63,1-1-60,0 1-59,1 0-55,-1 0-54,1 0-51,0 0-48,0 0-47,0 0-43,2 0 131,0-1-95,0 1-87,0 0-76,2 0-39,0 0-78,1 0-56,5 0-69,-8 1 197,0 1-109,0 0-104,0 0-99,-1 1-94,1 0-88,-1 0-85,1 0-79,-1 0-73,0 1-70,0 0-63,0 0-60,0 0-54,0 0-49,0 0-44,0 0-39,1 0-284,0 1-45,2 2-1344,-2-3 1128,0-2-597,-3 0 1823</inkml:trace>
  <inkml:trace contextRef="#ctx0" brushRef="#br0" timeOffset="12299.05">9110 89 4914,'4'-8'1171,"1"0"-73,0 2-68,1 0-64,0 0-61,1 1-56,0 1-54,0-1-49,4-3 336,0 0-97,-1-1-82,-2-1-68,-5 6-482,-1 3-57,0 0-53,0 2-46,0 1-41,-1 1-35,1 5 41,0 16 59,-2-18-46,-4 30 277,-2 0-87,1-7-128,4-13-74,1 0 1,0 0-1,1 0 1,2 11-164,1 20 274,0 41 138,-1-33-193,0 0-34,-2 1-37,-1 0-42,3 45 20,1-27-71,-1-30-30,2-1-1,2 0 0,4 8-24,9 60 53,-20-89 85,-2-13-118,-2-1-37,-1-1-41,-1-1-43,-1-2-46,0-1-50,-1-2-52,0-1-56,0-1-58,0-3-61,1 0-66,0-3-67,1-1-71,1-2-73,1-1-423,-3-16-1414,6 18 1712,0 1-53,0-2-182,1 1-112,-1 4 536,1 0-37,0 0-40,0 1-44,0 1 177,0 0-40,0-3-722,0-1-408,0-3-1029,0 10 2757</inkml:trace>
  <inkml:trace contextRef="#ctx0" brushRef="#br0" timeOffset="12763.87">9011 655 1585,'1'0'972,"-1"0"-87,1-1-76,0 1-73,0-1-67,-1 1-65,1-1-61,0 1-56,0-1-53,0 0-50,0 0-44,0 0-42,0 1-37,0-1-34,1-1 142,1-1-73,4-2 316,-5 3-298,0 0 68,0 2-140,-1-1 42,12-4 523,1-1-58,4-1 89,-1 0-86,0 0-84,1-1-86,-1 1-85,0-1-85,1-1-85,-1 1-86,-1-1-85,1-1-85,-1 0-86,0 0-85,-1-1-85,0-1-86,-1 0-85,0-1-86,-11 9 160,1 0 62,0 0 25,4-7-202,-6 7 224,2-2-177,-2 3 120,0 0-45,0-1-212,-1 1 197,1 1-35,-1-1-37,0 1-40,0-1-43,0 1-45,0-2-335,1 1-105,-1-1-91,1 0-82,-1 0-310,1-1-79,0 0-377,0-4-1019</inkml:trace>
  <inkml:trace contextRef="#ctx0" brushRef="#br0" timeOffset="5517.12">3320 3648 3153,'-2'-3'1315,"-1"-1"71,-1-3 340,-3-2 912,3 4-834,2 3-73,2 2-907,0 1-35,2 2-40,0 0-46,2 4-446,-1 0-51,1 1-45,-2 1-39,1 1-18,0 1-37,4 21 15,-3-6 8,3 5-48,-5-17-31,0 0 0,1-1-1,1 0 1,0 0 0,1 0-1,0 0 1,1 0 0,0-1 0,1 0-1,3 2-10,-10-13 2,1-1 0,-1 1 0,0-1 0,1 0 0,-1 1 0,1-1 0,-1 1 0,1-1 0,-1 0 0,1 0 0,-1 1 0,1-1 0,-1 0 0,1 0 0,-1 0 0,1 0 0,-1 1 0,1-1 0,0 0 0,-1 0 0,1 0 0,-1 0 0,1 0 0,-1 0 0,1-1 0,-1 1 0,1 0 0,0 0 0,-1 0 0,1-1-2,16-12 65,7-21 18,-17 17-54,0 0 1,-1 0-1,-1-1 0,-1 0 0,0 0 0,0-17-29,7-29 65,-8 48-49,-1 0 0,-1 0 0,0 1 1,-1-1-1,-1 0 0,0 0 0,-4-15-16,5 26 7,4 13 2,8 29 12,1 2-10,1-9-11,1-1 0,1 0 0,2-1 0,1-1 0,1-1 0,8 8 0,2 3-1,-1 1-1,11 24 2,-30-44-4,-1 1-1,0 0 1,-2 1 0,5 15 4,-7-13-10,-1 0 0,0 0 0,-2 1 0,0-1 1,-2 1-1,0-1 0,-2 1 0,0-1 0,-1 1 0,-2-1 0,-2 7 10,2-13-2,-1-1 0,0 1 0,-1-2-1,-1 1 1,0-1 0,-2 1 2,-59 78 27,62-85-33,0-1 1,0 0 0,0 0-1,-1 0 1,0-1-1,-7 3 6,-34 17-103,17-14-39,-1-3-86,1-2-105,16-5 120,1 0-34,5-2 134,0-1-107,1 0-106,0-1-106,0 0-105,2-2-105,-1 0-105,2-1-103,0 0-104,1-2-103,0 0-103,1-1-102,1 0-101,0-1-102,2-1-100,0-1-101,1 6 1025,0 0 41,0-1-78,0-4-295</inkml:trace>
  <inkml:trace contextRef="#ctx0" brushRef="#br0" timeOffset="6531.85">3754 3518 4114,'-2'-2'812,"0"0"-42,-1 0-39,1 0-39,-2-1 261,0 0-75,0-1-69,-1 1-65,1 0-59,-1 0-55,1 1-49,-1 0-44,1 1-39,0 1-34,-4 3 382,3 3-224,0 10 267,4-9-642,0 0-39,2 10 107,2 0-113,1 0-88,2 4-56,10 25-16,-11-32 26,-4-10-60,2 6 2,1-1 0,0 0 0,0 0 0,1 0 1,4 6-11,-7-13 1,-1 0 1,1 1 0,0-1 0,1 0 0,-1-1 0,0 1 0,0 0 0,1 0 0,-1-1 0,1 0 0,0 1 0,-1-1 0,1 0 0,0 0-1,0-1 1,-1 1 0,1 0 0,0-1 0,0 0 0,0 0 0,2 0-2,-2 0 11,1 0-1,0 0 1,0-1 0,0 0-1,0 0 1,0 0-1,0 0 1,-1 0 0,1-1-1,-1 0 1,1 1 0,-1-2-1,1 1 1,-1 0 0,0 0-1,0-1 1,1-1-11,1-1 16,-1 0 1,0-1 0,0 0 0,0 0-1,-1 1 1,0-2 0,0 1-1,0 0 1,-1-1 0,0 0-17,1-3 22,0 0 1,-1 0-1,-1 0 1,0 0-1,0-1 1,-1 1-1,0 0 1,0 0-1,-1-1 1,-1 1-1,0 0 1,0 0-1,-4-8-22,1 7 33,-1 0 0,0 0 0,-8-8-33,7 10 5,0 0 0,-1 1-1,1 0 1,-2 0-1,-1-1-4,7 7-6,-1-1 0,1 1-1,0 0 1,-1 0 0,0 0-1,1 0 1,-1 1 0,0-1-1,0 1 1,0 0-1,0 0 1,0 0 0,-3 1 6,5 0-8,-1 0-1,1 0 1,0 1 0,-1-1 0,1 1-1,0-1 1,0 1 0,-1 0 0,1 0 0,0 0-1,0 0 9,-1 1-16,0 0 0,0 0 1,1 0-1,-1 1 0,0-1 0,1 1 0,0 0 0,-2 2 16,-12 30-107,7 7 34,8-29 55,1 0-1,0 0 1,0 1-1,1-1 0,1 2 19,-1-13-5,-1 1 0,1-1 0,0 0 0,0 1 0,0-1-1,0 1 1,0-1 0,0 0 0,0 0 0,1 0-1,-1 0 1,1 0 0,0 0 0,1 2 5,0-3-2,-1 1 0,0 0 0,1-1 0,-1 1 0,1-1 0,-1 0 0,1 0 0,0 0 0,0 0 0,-1-1 0,1 1 0,0-1 2,2 1 0,-1-1 0,0 0 1,1 0-1,-1 0 0,0-1 1,0 1-1,1-1 1,-1 0-1,0 0 0,0-1 1,0 1-1,0-1 1,0 0-1,0 0 0,-1 0 1,4-3-1,17-15 9,0-1 0,-1-1 1,-1-1-1,-1-1 0,6-11-9,-18 22 8,0 0 1,-1-1-1,0 0 1,-1-1-1,-1 0 0,0 0 1,-1 0-1,-1-1 1,-1 1-1,0-1 1,1-9-9,-3 6-35,-2 42-70,-1-3 56,2-6 48,-4 35-11,2-22-9,0 0-1,3 23 22,0-42-2,0 0 0,0 0-1,0 0 1,1 0 0,1 0 0,-1 0-1,1-1 1,1 1 0,-1-1-1,1 0 1,4 5 2,-8-11 1,1 0 0,0 0 0,0 0 0,0 1 0,0-1 0,0 0 0,0 0 0,0 0 0,0-1 0,0 1 0,1 0 0,-1 0 0,0-1 0,0 1 0,1 0 0,-1-1 0,0 0 0,1 1 0,-1-1 0,1 0 0,-1 1 0,1-1 0,-1 0 0,2 0-1,-1-1 5,1 0-1,-1 1 0,0-1 0,0 0 1,1 0-1,-1-1 0,0 1 0,0 0 1,0-1-1,0 1 0,-1-1 0,1 1 1,1-3-5,6-6 23,-1-1 0,0 0 1,-1 0-1,5-12-23,-11 22 0,23-46 73,8-22-73,-25 51 9,-1 1 0,-1-1 0,0-1 0,-1 1 0,1-15-9,-6 15 10,1 16-9,0 0 1,-1 0-1,1 0 0,0 0 0,0 0 1,1 0-1,-1 0 0,0 0 0,1 0 1,-1 0-1,1-1-1,-1 3-2,0 0 1,-1-1-1,1 1 1,0 0-1,-1 0 1,1 0-1,0 0 1,0 0-1,-1 0 0,1 0 1,0 0-1,-1 0 1,1-1-1,0 1 1,-1 1-1,1-1 1,0 0-1,-1 0 1,1 0-1,0 0 1,0 0-1,-1 0 1,1 0-1,0 0 0,-1 0 1,1 0-1,0 1 1,0-1-1,-1 0 1,1 0-1,0 0 1,0 1-1,-1-1 1,1 0-1,0 0 1,0 1-1,0-1 0,-1 0 1,1 0-1,0 1 1,0-1-1,0 0 1,0 1-1,0-1 1,0 0-1,0 0 1,0 1-1,0-1 1,0 0-1,0 1 0,0-1 1,0 0-1,0 1 1,0-1-1,0 0 1,0 1-1,0-1 1,0 0-1,0 1 2,1 9 2,0 1 1,0-1-1,2 1 0,-1-1 1,1 0-1,0 0 0,1 0 1,0 0-1,6 8-2,4 6 9,0-1 0,2-1 0,5 6-9,-16-23 150,0 0-90,-1-1-90,1 0-94,0-1-94,1-1-97,-1 0-98,0-1-102,1-1-102,-1 0-105,0-1-106,1-1-110,-1-1-109,0 0-113,0-2-115,1 0-116,-5 3 721,1 1-55,-1-1-50,1 0-43,0 0-211,0 0-44,0-1-254,1-1-711,-3 4 2028</inkml:trace>
  <inkml:trace contextRef="#ctx0" brushRef="#br0" timeOffset="15994.56">4028 4837 1937,'1'-3'285,"0"-1"107,0 2 92,-1-1 78,1 0 166,0 1 64,0-5 1985,-2 5-1631,0 1-512,0 0-52,-1-1-29,-1 1-89,1 0-103,-2 0-119,-4-2 507,0 1-59,-1 0-58,0 1-54,0 0-51,0 0-49,0 0-45,-1 1-44,-1 0 26,0 0-53,-1 0-48,1 1-43,-6 0 65,0 1-69,1-1-53,1 1-37,-8 4-14,5 3-56,5 3-44,4 2-34,7-7-27,0 0-1,0-1 0,1 1 0,0 0 0,0 0 0,1 0 0,0 0 0,0 0 1,0 0-1,2 2-1,-1 2 2,0 0 0,1 0 1,0 0-1,1-1 0,0 1 0,1-1 1,2 4-3,-5-12 0,0 1 1,0-1-1,0 0 1,0 0-1,1 0 1,-1 0-1,1 0 1,0 0-1,-1 0 1,1 0-1,0 0 1,0-1-1,0 1 1,0-1-1,0 0 1,1 1-1,-1-1 0,0 0 1,1 0-1,-1 0 1,0-1-1,1 1 1,-1-1-1,1 1 1,-1-1-1,1 0 1,-1 0-1,1 0 1,0 0-1,-1 0 1,1-1-1,-1 1 1,2-1-1,-1-1 1,0 1 1,1-1-1,-1 0 1,0 1-1,0-2 1,-1 1-1,1 0 1,0 0-1,-1-1 1,0 0-1,1 1 0,-1-1 1,0 0-1,1-2-1,22-45 25,12-80 7,-17 23-29,-14 146-3,-4-29 2,0 0-1,1 0 1,0 0 0,0 0 0,1 0-1,0 0 1,3 2-2,8 24 4,-12-28-114,0 1 61,3 6 62,13 31 258,-9-28-221,-4-9-78,1-2-50,0 0-61,1-1-72,0-2-81,1-1-93,1-3-102,0-1-114,-7 1 255,-1-1-39,1-1-38,0 1-34,2-2-556,-1-2-111,1 0-348,-1-2-104,0-1-404,-1-4-1061,-3 9 2075,0 0-78,1-1-283,-1-2-746</inkml:trace>
  <inkml:trace contextRef="#ctx0" brushRef="#br0" timeOffset="16510.43">4226 4639 272,'0'-6'1777,"0"2"-394,1 0-86,2 1-87,0 2-87,0 0-84,1 0-86,1 2-84,0 0-85,-1 0-84,1 1-84,0 0-83,-1 1-82,0-1-83,-1 1-82,0 0-82,3 5 268,-1 1-59,-1 0-54,-1 0-48,1 5 73,-1 1-81,-1 1-66,-1-1-49,6 28 245,-4-27-254,4 17 341,-6-24-416,2-8 30,1-5-42,8-16 3,11-27-16,11-47 11,-4 16-52,-28 72-35,23-58 17,-24 61-19,1 0-1,-1 1 1,0-1 0,1 1-1,0-1 1,-1 1 0,1-1-1,0 1 1,0 0-1,1 0 1,-1 0 0,0 0-1,1 0 1,-1 1 0,1-1-1,-1 1 1,1-1-1,0 1 1,2-1-1,-3 2 1,-1 1 0,0-1 0,1 1 0,-1 0 0,0-1 0,0 1 0,1 0 0,-1 0-1,0-1 1,0 1 0,0 0 0,0 0 0,0 0 0,0 1 0,0-1 0,-1 0 0,1 0 0,0 0 0,-1 1 0,1-1 0,0 0 0,-1 0-1,0 1 1,1-1 0,-1 1 0,0-1-1,13 43 16,-12-41-13,9 40 28,13 36-31,4-20-3,-22-50-7,1-1 0,0 0 0,0 0 0,1 0 0,0 1 10,0-4-44,-1-1-105,1-2-102,0-1-97,0-1-95,0-1-89,0-1-87,0-1-82,1-1-78,-2 0-76,1-1-69,0 1-68,-1-2-63,0 1-59,-1 0-56,0 0-51,-2 2 260,0 1-98,-1-1 212,0 1-37,2-2-961,0 0 286</inkml:trace>
  <inkml:trace contextRef="#ctx0" brushRef="#br0" timeOffset="7336.18">5138 2726 1233,'8'-8'5348,"-4"7"-3223,-1 1-1002,-1 0-57,1 1-68,-1 0-82,0 0-224,0 0-72,0 0-80,-1 0-87,0 1-94,0 0-101,-1 0-109,0 0-115,1 2 160,0 0-39,1 2 69,-1-5-195,-1 1-1,1-1 1,-1 0 0,1 1-1,-1-1 1,0 0 0,0 0-1,1 1 1,-1-1 0,0 1-1,0-1 1,0 0 0,-1 1-1,1-1 1,0 1-29,-4 17 233,1 0-65,2-9-88,0 1 0,1-1 0,0 0-1,1 7-79,-2-11 215,0-8 74,2-6 47,5 2-178,6-11 138,-6-4-95,-5-3-73,-4-2-56,-18-45 12,12 49-22,8 19-58,0 1-1,0-1 1,-1 1 0,1 0-1,-1 0 1,1 0-1,-1 0 1,0 0-1,0 0 1,0 0-1,0 1 1,0-1 0,0 1-1,0-1 1,-1 1-4,-1-1 0,1 1 1,-1-1 0,1 1-1,-1 0 1,1 1-1,-1-1 1,0 0 0,0 1-1,1 0 1,-2 0-1,0 0-4,0 0 1,0 1-1,0 0 1,1 0-1,-1 0 0,0 0 1,1 1-1,-1 0 1,1 0-1,0 0 1,-1 0-1,1 1 1,0-1-1,0 1 0,1 0 1,-3 3 3,-3 6-4,1 0-1,1 0 1,0 1-1,1 0 1,1 1 0,0-1-1,0 1 1,1 0 0,1 0-1,1 0 1,-1 4 4,2-5 2,0-1 1,0 0-1,1 0 1,1 0-1,0 0 1,1 1-1,0-1 1,4 11-3,-5-19 1,0 0 0,1 0 0,0 0 0,-1 0 0,1-1 0,1 1 0,-1-1 0,1 1 0,-1-1 0,1 0 0,0 0 0,0 0 0,0 0 0,0 0 0,1-1 0,-1 0 1,1 1-1,0-1 0,-1-1 0,1 1 0,0 0 0,0-1 0,0 0 0,0 0 0,0 0 0,1 0 0,0-1-1,16 1 141,-1-2-71,-1-2-101,-9 1-30,-1-1-35,3-1-94,0-1-77,-1 0-86,0-1-94,-4 1 116,0 1-41,0 0-45,-1-1-45,0 0-49,1 0-49,-1-1-53,0 1-54,0-1-55,0 0-59,-1 0-60,1 0-62,0-1-65,-1 1-65,0-1-69,0 1-70,-1 0-22,0 1-109,2-2-368,1-2-953</inkml:trace>
  <inkml:trace contextRef="#ctx0" brushRef="#br0" timeOffset="8023.88">5614 2553 1697,'-1'-1'750,"1"-1"-44,0 1-42,-1-1-40,0 1-37,0-1-36,-2-1 456,1 1-457,0 1-38,-3-3 421,0 0 62,-4-3 357,3 3-325,2 1-300,1 1-74,1 1 58,-1-2-77,0 1-61,0 0-58,-1 1-54,0 0-52,1 0-49,-1 1-47,0 0-43,-1 1-40,1-1-38,-5 3 90,1 0-116,-1 2-94,2-1-67,0 1-37,-15 11-162,14-8 152,2-1 80,3-4 24,0 1 34,-7 9-101,0 2 0,2 0 0,-1 0 0,2 0 0,0 1 0,1 0 0,1 0 0,0 1 0,0 2 5,3-9-4,1 1-1,-1 0 1,2 0 0,-1 0 0,2 0-1,-1 0 1,2 0 0,-1-1 0,1 1-1,1 0 1,0-1 0,0 1 0,1-1-1,1 0 1,0 0 4,-2-5-2,0 0 0,0 0-1,1-1 1,-1 1 0,1-1 0,0 0-1,1 0 1,-1 0 0,2 0 2,-4-2 0,1-1 1,-1 1-1,1-1 1,-1 0-1,1 0 0,0 0 1,-1 0-1,1 0 1,1-1-1,-2 1 3,-1-1 0,1 0 0,0 0 0,0 0 0,0-1 0,0 1 0,0 0 0,-1 0 0,1-1 0,0 0 1,0 1-1,-1-1 0,1 0 0,1 0-3,1-1 9,1 0 0,-1-1 1,0 1-1,0-1 0,0 0 1,0 0-1,0 0 0,-1-1 1,1 1-1,-1-1 0,0 0 1,0 0-1,0 0 0,-1 0 1,0-1-1,2-2-9,36-97 107,-34 85-99,-1 0 1,-1-1 0,0 0-1,-1 1 1,-2-1-1,0 0 1,-1 0 0,0 0-1,-5-19-8,2 24-7,2 13 5,0 0-1,0 0 1,1 0-1,-1 0 1,1 0-1,0-1 1,-1 1-1,1 0 0,0 0 1,0 0-1,0 0 1,1 0-1,-1-2 3,-3 3-58,3 1 57,0 0-1,-1 0 0,1 0 1,0 0-1,-1-1 1,1 1-1,-1 0 1,1 0-1,0 0 1,-1 0-1,1 0 1,-1 0-1,1 1 1,0-1-1,-1 0 1,1 0-1,-1 0 1,1 0-1,0 0 1,-1 0-1,1 1 1,0-1-1,-1 0 1,1 0-1,0 1 1,-1-1-1,1 0 1,0 1-1,0-1 1,-1 0-1,1 0 0,0 1 1,0-1-1,-1 1 1,1-1-1,0 0 1,0 1-1,0-1 1,0 0 1,-2 12-34,-2 23-21,4-29 54,0 0 0,0 0 0,1 1 0,0-1 0,0-1 1,1 1-1,-1 0 0,2 1 1,24 79-14,-25-80 15,1 0 0,-1 0 0,1 0 0,0-1 0,0 1 0,1-1 0,0 0 0,0 0 0,0 0 0,0 0 0,1-1 0,0 1 0,0-1 0,0 0 0,3 1-1,1 0 11,-1 0 0,1-1 0,0 0 0,0 0 0,0-1-1,1 0-10,3-3 76,-5-4-99,-2 0-92,-2 1 12,-2 0-35,2-1-91,-1 0-72,0-1-79,0 1-89,-1 0-96,0 0-107,0 0-113,0 1-123,-1-2 158,0 1 84,0 0-11,1-7-835,-1 8 927,-1 0 98,0 0-44,0 0-55,1 0-63,-1 1 33,0-1-41,0-2-763,0-1-426,0-3-1080</inkml:trace>
  <inkml:trace contextRef="#ctx0" brushRef="#br0" timeOffset="8584.08">5897 2323 3330,'-1'0'-30,"0"-1"63,1 0 58,-1 0 56,1 1 52,0-1 48,-1 0 45,1 1 42,0-1 117,0 0 49,0 0 42,0 1 38,0-1 156,0 0 34,1-1 1645,0 2-438,-1-1-762,1 2-306,-1-1-499,0 0-34,1 0 40,-1 1-66,0 0-72,0 0-79,1 0-87,-1 0-92,0 0-99,0 0-107,0 8 736,1-1-105,1-1-88,-1 1-74,1 0-53,0 0-47,-2 17 256,-1-7-213,3-1-70,1 1-54,0-1-38,4 25 31,-6-34-83,0-1 1,1 0-1,0 1 1,1-1-1,2 5-12,-3-5 12,1 0 0,-1 0 0,0 0 0,0 0-1,-1 0 1,1 4-12,3 24 37,-1-22 41,5-18 68,5-11-25,-5-3-12,-2-16-24,-3 13-39,25-89 65,-9 49-76,19-37-35,-37 93-1,1 2-1,0-1 0,0 0 0,0 1 1,0-1-1,1 1 0,0 0 0,0 0 0,0 0 1,0 1-1,1 0 0,-1-1 0,1 1 2,-3 2 2,0 0-1,-1 1 1,1-1-1,0 0 1,0 0-1,0 1 1,0 0-1,0-1 1,0 1-1,0 0 0,0 0 1,0 0-1,1 0 1,-1 0-1,0 0 1,0 1-2,0-1 6,0 1 1,0 0-1,0 0 1,0 0-1,-1 0 1,1 0-1,0 1 1,0-1-1,-1 0 1,1 1-1,-1 0 1,1-1-1,-1 1 1,0 0-1,1-1 1,-1 1-1,0 0 1,0 0-7,6 14 90,0 0 0,-1 0 0,-1 1 0,2 12-90,12 34 211,-16-55-182,0 0 0,1 0 0,0 0 0,1-1-1,-1 0 1,3 3-29,-1-3-36,3 5 82,0 1 53,-2-5-64,-1-1-57,0 0-69,-1-2-53,0 0-74,1-1-88,0 0-100,-6-4 316,0 0-1,1 0 1,-1 0 0,0 1-1,0-1 1,1 0 0,-1 0 0,0 0-1,1 0 1,-1 0 0,0 0-1,1 0 1,-1 0 0,0 0-1,0 0 1,1 0 0,-1 0-1,0 0 1,1 0 0,-1 0-1,0 0 1,0-1 0,1 1 0,-1 0-1,0 0 1,0 0 0,1 0-1,-1-1 1,0 1 0,0 0-1,1 0 1,-1 0 0,0-1-1,0 1 1,0 0 90,3-5-1408,-1 1 162,0-1-94,-1 3 626,-1-1-34,1 2-36,-1-1-41,0 0 43,1 1-77,-1-1-68,0 0-60,1 0-265,-1 0-59,1-1-319,0 0-880</inkml:trace>
  <inkml:trace contextRef="#ctx0" brushRef="#br0" timeOffset="9915.79">6929 1840 1361,'-6'-15'1681,"2"0"73,2-1 92,0 0 69,0-2 205,-3-6 1111,5 24-2820,0 1-43,1 0-41,-1 0-39,1 2 153,0 1-111,1 1-97,0 0-81,-1 0-67,1 1-48,5 23-73,-5-20 107,-1-5 4,-1 0 35,6 45 15,2 1-57,2-3-40,3 9-13,3-2-1,9 18-14,-23-67 2,1 0-1,-1 0 1,1-1-1,-1 1 1,1-1-1,1 0 0,-1 0 1,1 0-1,-1 0 1,1-1-1,0 1 0,4 2-1,-6-5 2,0 0 0,-1 0-1,1-1 1,0 1 0,-1 0-1,1-1 1,0 1 0,0-1-1,-1 1 1,1-1 0,0 0-1,0 0 1,0 0 0,0 0-1,-1 0 1,1 0 0,0-1-1,0 1 1,0 0 0,-1-1-1,1 0 1,0 1 0,0-1-1,-1 0 1,1 0 0,-1 0-1,1 0 1,-1 0 0,1 0-1,-1 0 1,0-1 0,1 1-1,-1 0 1,0-1 0,0 1-1,0-1 1,0 1-1,1-2 0,6-12 21,-1 1 0,0-1 1,-1 0-1,0 0 1,-1-1-1,-1 1 1,0-1-1,-2 0 0,0-1 1,0-9-23,0-24 93,-2-1 0,-7-41-93,5 68 30,-9-66 43,9 82-52,0 0 0,0 0 0,-1 0 0,0 0 0,-3-5-21,6 13 5,-1-1-1,1 1 0,0-1 1,-1 1-1,1 0 0,0-1 1,-1 1-1,1 0 0,-1-1 1,1 1-1,-1 0 0,1-1 1,-1 1-1,1 0 0,-1 0 0,1 0 1,-1-1-1,1 1 0,-1 0 1,1 0-1,-1 0 0,1 0 1,-1 0-1,0 0 0,1 0 1,-1 0-1,1 0 0,-1 0 0,1 0 1,-1 1-1,1-1 0,-1 0 1,1 0-1,-1 1 0,1-1 1,-1 0-1,1 0 0,-1 1 1,1-1-1,-1 0 0,1 1 1,0-1-1,-1 1 0,1-1 0,0 1 1,-1-1-1,1 1 0,0-1 1,-1 1-1,1-1 0,0 1 1,0-1-5,8 61 35,-4-40-36,1 0 0,0 0 1,1-1-1,2 1 1,8 17 0,-11-30-120,0 1 53,5 5 38,16 16 69,-17-21-86,0-1-67,1 0-97,-5-4 61,1-1-32,-1 1-37,1-1-39,-1 0-42,1-1-46,0 1-48,-1-1-52,1 0-54,0 0-58,0-1-61,0 0-64,0 0-67,1 0-70,-7-1 723,2 0-271,3 0-429,-3 0 481,0 0-69,0-1-69,0 1-155,-1-1 255,-1 1-37,1 0-42,0-1-43,0 0-49,0 1-50,0-1-392,1-1-86,-1 1-296,1-2-769</inkml:trace>
  <inkml:trace contextRef="#ctx0" brushRef="#br0" timeOffset="10599.93">7508 1507 864,'6'-2'3437,"-3"-1"-2347,2 0-40,-1 0-216,0 0-42,1 0-51,-1 0-57,0 0-162,-1 1-48,1-1-53,-1 1-55,-1 0-60,1 0-65,-1 0-67,-1 0-71,2-2 158,0 1 61,0-1 44,0 1 37,6-13 1667,-8 10-1390,-1 4-379,-1-1-32,0 0-40,-1 0-46,-1 1-51,0-1-58,1 2 116,-2 0-46,-6 1 37,0 1-103,-7 3 26,9 1-98,1 0 1,0 1 0,1 0 0,-1 1-1,1-1 1,0 1 0,1 0 0,-4 6-7,-36 67 43,38-66-42,4-10-1,1 0 0,1 1 1,-1-1-1,0 0 0,1 1 0,0 0 0,0-1 0,0 4 0,1-7 0,0 0 0,0 0 0,0 0 0,0 0 0,0 0-1,1 0 1,-1 0 0,0 0 0,0 0 0,1 0 0,-1 0 0,0 0 0,1 0 0,-1 0 0,1 0 0,0 0 0,-1 0-1,1 0 1,-1 0 0,1-1 0,0 1 0,0 0 0,0 0 0,-1-1 0,1 1 0,0-1 0,0 1 0,0-1 0,0 1-1,0-1 1,0 1 0,0-1 0,0 0 0,0 0 0,0 1 0,0-1 0,0 0 0,1 0 0,-1 0 0,81 3 25,3-4-25,-10 0 9,-74 1-8,0-1-1,1 1 0,-1 0 0,1 1 0,-1-1 1,0 0-1,1 0 0,-1 1 0,0-1 1,1 0-1,-1 1 0,0-1 0,0 1 1,1 0-1,-1-1 0,0 1 0,0 0 0,0 0 1,0 0-1,0 0 0,0 0 0,0 0 1,0 0-1,0 0 0,-1 0 0,1 0 0,0 0 1,-1 1-1,1 1 1,0 0 0,0 0 0,-1 0 0,0 0 1,1 0-1,-1 1 0,-1-1 0,1 0 0,0 0 1,-1 0-1,1 0 0,-2 3-1,-1 3 3,0 0 0,0 0 0,-1 0 0,0 0 0,-1 0 1,0-1-1,0 0 0,-5 5-3,-18 16-12,-22 14 57,23-26-39,-2-4-37,24-11 8,-1-1 0,1 0 1,-1 0-1,1 0 0,-1-1 1,-1 1 22,4-3-652,3-3 52,7-9-515,2 2 316,-3 5 237,-2 1 63,-1 2-38,-1 3 261,3-5-406,0 0 47,13-15-1294,-10 13 1076,-3 3 311,0 0-35,1-1-92,0 1-62,0-1-73,0 0-84,0 1 10,1-1-52,1-1-238,4-5-640</inkml:trace>
  <inkml:trace contextRef="#ctx0" brushRef="#br0" timeOffset="11041.57">7888 1476 1329,'-4'0'1148,"1"1"-91,2 0-64,0 0-63,2 1-61,0 0-61,1-1-61,1 1-58,0 0-58,1-1-57,0 1-57,0-1-54,-1 0-55,1 0-53,0-1-52,-1 0-52,6-2 435,-1-2-89,1-1-83,-1 0-74,0-2-68,-1 0-60,1 0-53,-1 0-46,3-2 15,0 0-52,21-16 300,-2 3-128,-4-4-79,-7-5-61,-16 27-185,-1-1 1,0 0-1,0 1 0,0-1 1,0 0-1,-1 0 0,0-1-23,0-2 25,0 0-1,-1 0 1,0 0 0,0 0-1,-1 0 1,-1-4-25,2 10 7,0 0-1,0-1 1,0 1 0,0 0 0,0 0 0,-1 0 0,1 0-1,-1 0 1,1 0 0,-1 0 0,0 0 0,0 1 0,0-1-7,0 1 2,0 0 0,0 0 0,0 0 0,1 0 0,-1 0 0,0 1 0,0-1 0,0 1 0,0-1 0,0 1 0,-2 0-2,-2 0-1,0 0 1,0 0-1,0 0 0,0 1 1,1 0-1,-1 0 0,0 1 1,0 0-1,0 0 0,1 0 1,-1 0-1,1 1 0,0 0 1,0 0-1,0 1 0,0-1 1,1 1-1,-1 0 0,1 0 1,0 1-1,0-1 0,0 1 1,1 0-1,-3 4 1,-6 8 10,1 1 0,1 0 1,0 1-1,2 1 0,0-1 0,1 1 0,-1 6-10,5-16 5,1 1 0,0-1 0,1 1 1,0-1-1,1 1 0,0 0 0,0-1 0,1 1 0,0 0 0,1-1 0,0 1 0,1-1 0,0 0 0,1 0 0,2 3-5,-4-9 3,0-1 0,1 1 0,-1-1 0,1 0-1,0 1 1,0-1 0,0 0 0,1-1 0,-1 1 0,1-1 0,-1 1 0,1-1 0,0 0 0,0-1 0,0 1 0,0-1 0,0 1 0,1-1 0,3 0-3,10 2 14,1-1 0,0 0 0,-1-2 1,2 0-15,-5 0 4,3-2-76,0-2-56,-1-2-72,0-2-92,-5 2 37,-1-1-54,-1 0-61,1-2-64,2-1-209,-1-2-121,-6 7 333,0-1-35,0 0-35,0 0-37,-1 0-38,0 0-40,1 0-41,-1 0-42,0 0-43,0 0-46,-1 0-46,1 0-48,-1 1-266,0 0-116,0-2-366,3-3-940,-7 10 2539</inkml:trace>
  <inkml:trace contextRef="#ctx0" brushRef="#br0" timeOffset="16976.23">5478 3904 4338,'-1'-2'342,"1"0"44,0 0 42,-1 0 36,1-1 134,0 0 39,-1 0 374,1 0 44,1-1 732,0 4-624,0 0-467,0 2-33,1 0-42,0 2-51,1 3-33,0 0-76,-1 1-69,1 0-62,-1 4 63,1 0-103,-1 1-80,0 0-57,4 21 156,-3-20-140,-2-9-241,1 0 38,0 6 56,0 0 83,3 17 239,-4-19-269,-1 0-40,0 1-65,0 0-100,0-5 10,0 1-39,-1-1-44,0 0-46,0 0-52,0-1-54,0 1-59,-1-1-61,2-4 147,0 1 78,0-1 67,-1 0 57,1 0 46,0 1 33,-1 0-49,1-1 0,0 0-85,-1 0 20,1 0-47,0 0-54,0 0-61,0 1-97,0-1-84,0 0-93,0 0-100,0 0-109,0 0-117,0-1-123,0 1 473,0 0-33,0 0-8,0 0-44,0-1-39,0 1-34,0-1-185,1 1-33,-1-2-2015</inkml:trace>
  <inkml:trace contextRef="#ctx0" brushRef="#br0" timeOffset="17227.4">5422 3591 6419,'4'-11'1745,"-1"5"-615,0 2-220,-1 0-39,1 2-181,0 1-36,-1 0-41,1 0-48,1 1 70,0 1-89,0 1-98,0 0-108,0 1-117,0 1-126,-2-2-98,1 0-36,-1 1-35,0-1-38,0 0 94,-1 0-71,1 0-68,0 0-63,0 0-60,0 0-57,0 0-51,0 0-50,1 0-145,0 1-59,0-1-51,-1 0-45,2 1-198,-1-1-44,1 1-239,1 0-654,-2-1 809,-1-1-103,1 0-331,2 1-860,-5-2 2328</inkml:trace>
  <inkml:trace contextRef="#ctx0" brushRef="#br0" timeOffset="17733.91">5851 3663 2801,'0'-3'833,"-1"0"-46,1 0-40,0 0-40,0 0-36,0 0-34,-1-3 548,0-1 103,0 0-111,-1 1-182,-2-8 1247,6 19-1722,-1-1-45,0 1-42,1-1-42,-1 1-39,0 0-37,0 0-34,0 0-34,0 3 65,1 0-63,-1 0-58,1 0-50,-1 1-45,0-1-37,2 9-29,4 35-167,-4-36 190,-1-8 21,0 0 41,0 8-87,0 0 0,-1 0 0,0 1-1,-1 3-27,1 35 62,-1-54-59,0 0-1,0 0 0,0-1 0,0 1 1,0 0-1,0 0 0,0 0 0,0-1 1,0 1-1,1 0 0,-1 0 0,0 0 1,0-1-1,1 1 0,-1 0 0,1 0 1,-1-1-1,1 1 0,-1 0 0,1-1 1,-1 1-1,1-1 0,0 1 0,-1-1 1,1 1-1,0-1 0,-1 1 1,1-1-1,0 0 0,0 1-2,0-1 3,0-1-1,-1 1 1,1 0 0,0-1-1,0 1 1,-1-1-1,1 1 1,0-1 0,-1 1-1,1-1 1,0 1 0,-1-1-1,1 1 1,-1-1 0,1 0-1,-1 1 1,1-1 0,-1 0-1,1 0 1,-1 0-1,0 1 1,1-1 0,-1 0-1,0 0 1,0 0 0,1 1-1,-1-1 1,0 0 0,0-1-3,3-15 19,17-67 43,-16 68-54,1 0-1,1 0 0,1 0 0,0 1 1,1 0-1,5-7-7,-1 3-2,-1 0 0,0-1-1,-2 0 1,0-1 0,1-7 2,-9 26-2,0-1 0,0 1 0,-1-1 0,2 1 0,-1 0 0,0-1 0,0 1 0,1 0 0,-1 0 0,1 0 0,0 0-1,-1 0 1,1 0 0,0 0 0,0 1 0,0-1 0,1 0 0,-1 1 0,0 0 0,1 0 0,1-1 2,-3 1-1,0 1-1,0 0 1,0 0 0,0 0-1,1 0 1,-1 0 0,0 0 0,0 1-1,0-1 1,0 0 0,0 0-1,0 1 1,0-1 0,0 0-1,0 1 1,-1-1 0,1 1 0,0 0-1,0-1 1,0 1 0,0 0 1,1 1-1,-1-1 0,1 1 0,-1 0 0,1 1 0,-1-1 0,0 0 0,0 0 0,0 1 0,0-1 0,0 0 0,0 1 0,-1 1 1,33 146 8,-32-145-142,1 0 64,-1 1 44,3 6 28,-2-7-30,1 1-98,-2-3 9,1 0-45,-1 1-80,1-1-74,0 1-83,0-1-95,0 0-103,0 0-113,0 0-124,-1-2 368,0 0-34,1 1-818,-1-1 721,-1-1-150,0-1 327,1 1-40,-1 0-137,0 0-71,1 0-82,-1 0-90,1 0 257,-1 0-37,1 0-716,0 1-394,1-1-1010</inkml:trace>
  <inkml:trace contextRef="#ctx0" brushRef="#br0" timeOffset="18517.38">6382 3284 4802,'-1'0'267,"0"-1"52,0-1 46,0 1 41,-1-1 129,1 1 45,0-2 354,0 0 51,0-3 1026,2 2-734,1 2-308,-1 1-531,1 0-37,0 1 107,0 0-74,-1 2-66,1-1-62,-1 2-54,1 0-48,-1 0-42,0 0-34,1 5 73,0 5 4,-1-9-83,-1-3-37,3 24 250,0-1-41,-1 1-37,0 0-34,1 25 134,0 0-98,-1-10-107,0 0-33,11 90 193,-2-75-136,15 36-44,-19-71-104,1-1 0,1-1 0,6 10-28,-9-19 12,-1 1 0,0-1 0,-1 1 1,0 0-1,2 8-12,-2 12 96,-4-29-93,0-1-1,0 0 1,0 0-1,0 0 1,0 1-1,0-1 1,-1 0-1,1 0 1,0 0 0,0 1-1,0-1 1,0 0-1,0 0 1,0 0-1,0 1 1,-1-1-1,1 0 1,0 0-1,0 0 1,0 0-1,0 0 1,-1 1-1,1-1 1,0 0-1,0 0 1,0 0 0,-1 0-1,1 0 1,0 0-1,0 0 1,0 0-1,-1 0 1,1 0-1,0 0 1,0 0-1,0 0 1,-1 0-1,1 0-2,-14-3 52,-13-11-10,25 12-43,-1-1-1,0 0 1,1 0 0,0 0 0,0 0 0,0-1 0,0 1 0,-1-3 1,-7-32-76,9-2-71,4-2-72,-1 10-7,-2 3-47,-3-16-189,-2 0 55,0 1 63,-2-1 68,0 1 77,-3 0 82,-1 1 90,-1 0 95,3 10-18,4 0 44,4-13 109,9 2 52,-5 35-187,0 0 1,0 1-1,1 0 1,1 0-1,-1 0 1,1 0 0,0 1-1,6-7-68,-3 5 76,1 1 0,-1 0 0,1 0 0,7-4-76,22-12 315,-28 19-200,0 0 0,0 1-1,0 0 1,1 1 0,4-1-115,26 0 328,-15 9-143,-5 4-62,0 5-36,-19-12-78,0 0 1,1 1 0,-1-1-1,0 1 1,0-1-1,-1 1 1,1 0 0,0 0-1,-1 0 1,0 0 0,1 0-1,-1 0 1,-1 0-1,1 2-9,0 1 9,0-1 0,-1 1 0,1 0 0,-2 0 0,1 0-1,-1 0 1,-1 5-9,-1 4 13,-2 0-1,0-1 1,0 1-1,-2-1 1,-5 10-13,-14 18 42,-2-1 0,-10 10-42,-5 6 30,31-44-66,8-9 48,-1-1 1,1-1-1,0 1 0,-1-1 1,0 0-1,0 0 0,1 0 1,-3 0-13,-10 2-23,0-4-92,9-1 11,0 0-37,1-2-42,0-1-47,1-1-41,0-2-47,2 0-56,2-1-62,0 0-70,2-1-76,0 0-85,1 0-90,1 0-98,1 0-106,0 0-112,1 1-120,0 0-126,-2 5 609,0-1-34,1 1-35,-1 0-36,1 0-38,-1 0-37,1 0-199,0 1-101,0-2-335,3-1-871</inkml:trace>
  <inkml:trace contextRef="#ctx0" brushRef="#br0" timeOffset="19062.28">6841 3079 2609,'1'-6'1153,"0"0"-102,1-1-89,-1 1-73,1-1 37,0-1-57,8-14 1822,-5 14-1486,-2 3-440,1 1 49,-3 4-455,0 0-58,-1 0-53,1 1-47,0 0-42,0 1-34,0 2 40,1 8 55,-1-9-50,-3 18 145,-1-1-55,0 0-46,-1 1-37,-3 16 77,5-22-157,0 0 1,1 0-1,1-1 1,0 1-1,1 2-97,3 13 141,2 1-41,-4-22-81,1-1 0,-1 0 1,1 0-1,0-1 0,1 1 0,0-1 0,0 0 0,1 0 0,0 0 1,1 0-20,-5-5 4,0-1 1,1 0-1,-1 0 1,1-1-1,-1 1 1,1 0 0,-1 0-1,1-1 1,0 1-1,-1-1 1,1 1-1,0-1 1,-1 0 0,1 0-1,0 1 1,-1-1-1,1 0 1,0-1-1,0 1 1,-1 0 0,1 0-1,0-1 1,-1 1-1,1-1 1,-1 0 0,1 1-1,-1-1 1,2-1-5,2 0 9,-1 0 0,1-1 0,-1 0 0,0 0 1,0 0-1,0 0 0,0-1 0,0 0 0,0 0-9,8-12 32,-1-1 0,0 0 0,-1-1-1,-1 0 1,4-14-32,-2 2 23,-2-1-1,-1 0 1,-1 0 0,-2-1-1,0-9-22,-3 15 12,1-17-8,4 20-52,-5 32-1,3 6 34,-2-6 15,0 13 2,-1 0-1,-1 0 0,-1 0 0,-1 8-1,-1-10 6,2-1 0,0 1 0,2-1 0,0 0 0,2 9-6,2-13 132,-3-9-102,0-2-36,1-1-44,-1-1-52,1 0-61,1-2-69,-1-1-77,1-1-85,-1 0-94,1-2-103,0 0-110,0-1-120,-3 3 364,1-1-33,-1 0-34,1 0-35,2-4-481,-2 3 565,-1 2 67,1-1-41,-1 0-51,0 1-62,0-1-73,0 0-84,0 0-94,0 0-104,0 0-181,0-1-95,0 0-330,1-3-863</inkml:trace>
  <inkml:trace contextRef="#ctx0" brushRef="#br0" timeOffset="19414.62">7363 2369 4242,'0'-1'819,"0"0"-37,0 0-36,0 0-35,0 1-34,0 0-34,0-1 546,0 2-124,-1 0-116,1 1-110,0 0-104,0 1-95,0 0-90,0 1-82,-1 0-76,1 0-68,0 1-63,0-1-54,0 2-48,-1 0-30,1 0-42,0 4-9,-1 15 5,1-18-18,0 0 47,0-1 43,1-1 63,-1 0 75,0-1 87,1 17 3,1 0-37,-1 0-36,1 0-32,2 22 189,0-1-106,2 9-40,0-1-94,1-4-78,9 61 125,-1-39-192,-8-40-43,2-1 0,8 19-39,-11-36-98,1 0 78,0-3 52,14 5 109,-8-9-112,-5-2-67,1-2-60,1 0-131,-5-1 62,0 1-39,0-1-44,0 0-47,0-1-50,-1 0-54,1 0-57,-1-1-62,0 1-64,0-1-69,-1-1-72,1 1-75,-1-1-79,-1 0-82,2-3-592,-2 4 860,-1 1 157,0 1-48,1-1-139,-1 0-95,0 0-114,-1 2 418,1-1-35,-1 1-26,0-1-34,1 0-696,-1-1-378,1-2-972,-1 5 2639</inkml:trace>
  <inkml:trace contextRef="#ctx0" brushRef="#br0" timeOffset="19645.79">7177 2865 6563,'0'-1'1106,"0"0"-105,1-1-100,0 1-93,1 0-87,0 0-79,0 0-72,1 0-68,0 0-143,0 1-35,2-2 233,3 1-17,-3 0-200,0 0-35,4 0 281,-5 0-150,9-3 192,1 1-56,-1-1-52,0 0-49,1 0-46,-1-1-43,0 1-40,1-1-37,2-1 18,0 0-43,15-6 173,7-3-44,17-10 83,-39 17-507,0 0 87,1-2 80,21-15 291,-25 15-322,-3 1-64,-1 1-40,0 0-52,0-1-59,-3 2-16,-1 0-39,1 0-42,0 0-47,-1 0-49,0 0-53,0-1-57,0 0-60,-4 5 90,1 0 80,0 0 31,1-5-257,-3 6 296,1 0 18,-1 0-37,1 0-46,-1 0-55,0 0 58,1 1-37,-1 0-38,0-1-43,0 1-45,0-1-48,0 1-53,1-1-54,-1 1 104,0 0-34,0-1-622,0 0-116,0 0-99,0 0-387,1 0-98,-1-1-467,0-1-1265,0 4 3576</inkml:trace>
  <inkml:trace contextRef="#ctx0" brushRef="#br0" timeOffset="21088.57">8533 2274 1024,'-3'-10'1959,"0"3"-665,2 4-542,-1-1 38,1 1 43,0-1 51,0 1 58,1-1 65,1 1 71,0 0 79,1 1-7,1 2-110,0 2-123,-1 0-509,0-1-35,-1 1-37,1 0-40,-1 0-39,1 0-43,-1-1-44,0 1-44,-1 0-48,0-1-48,0 21 323,-1 0-77,-1 2-69,0 0-60,0-2-54,0 1-37,0 5-25,1 13-32,8 25-14,6-26 84,-8-28 114,2-3-82,0-2-88,0-3-91,0-2-95,1-2-102,0-1-104,0-2-110,0-1-114,0-1-119,1-1-123,-2 0-128,-3 2 437,0 1-33,0 0-35,-1-1-34,1 1-36,0-1-35,-1 1-37,0-1-38,1 0-361,-2 2 546,0 0-43,0 1-37,0-1-34,0-1-180,1 1-34,4-5-1979,-7 6 2579</inkml:trace>
  <inkml:trace contextRef="#ctx0" brushRef="#br0" timeOffset="21411.16">8421 2055 4146,'-7'-17'1873,"6"8"-654,3 2-236,1 1-41,0 1-197,1 0-41,1 0-48,-1 1-55,0 0-165,0 0-41,-1 0-44,1 0-47,-1 0-51,-1-1-52,0 0-57,0 0-59,-1 7 72,1 3-71,2 2-56,1 2-43,7 15-167,-8-17 178,-1 1-108,1-1-121,-2-3 65,-1 0-35,1 0-24,0-1-34,-1 1-37,1 0-38,0-1-39,-1 1-40,1 0-44,0-1-42,0 1-47,-1-1-45,1 1-49,0-1-50,0 0-51,0 1-53,0-1-53,0 0-56,-1-1 46,1 1-67,0-1-251,1 2-660,-3-4 1826</inkml:trace>
  <inkml:trace contextRef="#ctx0" brushRef="#br0" timeOffset="22001.37">8894 2055 3057,'-1'-2'40,"1"0"36,-1-2 176,0 1 121,0 0 105,1 0 214,-1 0 104,0 0 259,0 1 637,1 2-5,0 1-641,0 1-261,0 0-108,1 1-213,0 0-109,0 1-122,0-2-168,-1 0-36,2 6 558,-1 0-92,-1 1-83,0-1-73,-1 3-17,-1-1-78,-1 7 9,-1-1-88,-2 11 69,3-10 2,-1 18 11,1-9-132,1 1-32,1-17-61,0 0 1,2 0 0,-1 0 0,1 0-1,0 0 1,2 5-23,-3-15 2,0 1-1,0-1 1,0 1 0,0-1-1,0 1 1,0-1-1,1 1 1,-1-1 0,0 1-1,0-1 1,0 1 0,1-1-1,-1 0 1,0 1-1,1-1 1,-1 1 0,0-1-1,1 0 1,-1 1 0,0-1-1,1 0 1,-1 1-1,1-1 1,-1 0 0,0 0-1,1 1 1,-1-1 0,1 0-1,-1 0 1,1 0-1,0 0 0,11-9 51,7-27 30,-18 34-75,53-150 311,-42 122-265,-8 19-34,0 0 1,1 0-1,1 1 0,0-1-19,19-33 41,-20 33-36,1 0-1,0 0 1,1 0-1,1 1 1,-1 0 0,2 1-1,-1 0 1,8-6-5,-15 14 0,0-1 1,1 1-1,-1 0 0,1 0 1,0 0-1,-1 1 1,1-1-1,-1 0 1,1 1-1,0-1 0,0 1 1,-1-1-1,1 1 1,0 0-1,0 0 0,0 0 1,-1 0-1,1 0 1,0 0-1,0 0 1,0 1-1,0 0 3,1-1 0,-1 2 0,0-1 0,0 0 0,0 0 0,0 1 0,-1-1 1,1 1-1,0-1 0,-1 1 0,1 0 0,-1 0 0,1 0 0,0 1-3,3 6 19,0 1-1,0 0 0,-1 0 1,-1 0-1,1 0 1,-1 5-19,10 47 75,-10-42-42,1 0 0,1-1 0,0 0 0,2 0 0,7 17-33,-3-21-3,-10-13 8,1-1 0,-1 0 0,1 1 0,0-1 0,-1 0 0,1 0 0,0 0 0,0 0 0,0 0 0,0-1 0,0 1 0,0-1 0,-1 1 0,1-1 0,1 1 0,0-1-5,8 0-18,1-3-51,-3 1-39,1-2-55,0 0-67,0-1-75,0 0-86,-1-1-94,0 1-106,0-1-114,-2 2 45,-1 0-87,0 1-92,0 0-96,-1 0 266,-1 1 57,-2 1 259,0 0-36,-1 0-41,1 0-45,0 0-50,0 0-53,0-1-99,1 1-60,-1-1-52,0 0-45,1 0-219,-1 0-45,1 0-264,2-2-729</inkml:trace>
  <inkml:trace contextRef="#ctx0" brushRef="#br0" timeOffset="23527.46">4371 6039 1137,'-1'-4'919,"0"1"-85,1-1-38,-1 0-37,0 1-40,1-1-39,-1 0-41,1 0-41,-1 0 69,1-1-62,-1 1-63,1-1-64,-1 1-66,-1-1-66,1 0-68,-1 1-69,-2-4 470,-1 2-63,-1 0-58,-1 1-53,-1 1-49,0 1-44,-1 0-38,-1 1-36,-5 0 143,-1 2-58,-28 4 690,32 2-879,0 3-83,-3 5-48,-4 10-34,7-10-23,7-8-32,0 1 0,1 0 0,-1 0 1,2 0-1,-1 1 0,1 0 0,-2 5-14,2-3 10,0 1 1,0 0-1,1 0 0,1 0 1,0 0-1,1 1-10,-1-5 3,1 1-1,1-1 1,-1 0-1,1 0 1,0 1 0,1-1-1,0 0 1,0 0 0,0 0-1,1-1 1,0 1-1,0-1 1,1 1 0,0-1-1,0 0 1,1 0-1,-1-1 1,1 1 0,4 2-3,-6-6 1,0 0 1,0 0-1,0 0 0,0 0 1,0-1-1,1 0 1,-1 1-1,0-1 1,1-1-1,-1 1 1,1 0-1,-1-1 1,1 0-1,0 0 0,-1 0 1,1 0-1,-1 0 1,1-1-1,-1 1 1,1-1-1,-1 0 1,3-1-2,-1 0 5,0 0 0,0-1 1,0 1-1,-1-1 0,0 0 1,1 0-1,-1 0 0,0 0 1,0-1-1,0 0 0,-1 0 1,0 0-1,1 0 0,1-4-5,3-6 14,0 0-1,-1 0 0,0 0 1,-1-1-1,-1 0 0,0 0 1,-1 0-1,-1-1 0,0 1 1,-1-1-1,-1-7-13,-1-92 77,4 146 101,8 3-45,-5-17-78,2 0 0,0-1 0,5 6-55,1 0 31,2 0 0,0-2 0,1 0-1,1 0 1,4 0-31,-17-15 159,1-1-64,-1-1-79,1 0-91,-1-2-106,0 0-117,-3-1 101,1 0-35,-1-1-36,0 1-38,0-1-39,0 1-42,1-1-42,-1 0-45,0 0-46,0 0-47,0-1-51,1 1-50,-1 0-53,0-1-54,0 1-56,1-1-58,-1 1-60,0-1-61,1 0-62,-1 1-64,-1-1 341,2 0-1082,2-2-1099,-6 4 2955</inkml:trace>
  <inkml:trace contextRef="#ctx0" brushRef="#br0" timeOffset="24103.45">4630 5888 1489,'-1'-2'844,"0"-1"-86,0-1 79,0 1 61,-1-1 118,-2-7 1932,2 6-1720,1 0-191,0 1-84,0 2-469,1 0-37,0 0-43,0 0-45,0 0-52,0 0-55,0 0-59,0 1-64,1 0 330,0 1-60,0 1-56,0-1-52,1 1-47,0 0-43,0 1-38,0-1-34,2 3 31,1-1-69,7 7 36,-10-7 8,10 12 27,-2 2-46,3 10-8,-1 0-53,10 21 8,-13-27-40,7 10 18,-3-14 24,-13-17-63,1 0 0,-1 0 0,0 0 1,1 1-1,-1-1 0,0 0 1,1 0-1,-1 0 0,1 0 1,-1 0-1,0 0 0,1 0 0,-1 0 1,0-1-1,1 1 0,-1 0 1,0 0-1,1 0 0,-1 0 1,0 0-1,1-1 0,-1 1 1,0 0-1,1 0 0,-1 0 0,0-1 1,0 1-1,1 0 0,-1-1 1,0 1-1,0 0 0,0 0 1,1-1-1,-1 1 0,0 0 0,0-1 1,0 1-1,0-1 0,0 1 1,1 0-1,-1-1 0,0 1 1,0 0-1,0-1 0,0 1 0,0 0 1,0-1-1,0 1 0,-1-1-2,7-23 51,-6 23-49,14-71 82,0-2-50,-2 18-24,2 0 1,4-2-11,-15 49-2,1 1 0,0 0 0,0 0 0,5-8 2,-8 15-1,0-1 0,0 1 1,0-1-1,0 1 0,0-1 1,0 1-1,0 0 0,0-1 1,1 1-1,-1 0 0,0 0 1,1 0-1,-1 0 0,1 0 1,-1 1-1,1-1 0,0 0 1,-1 1-1,1-1 0,0 1 1,0-1-1,-1 1 0,1 0 1,0 0-1,0 0 0,-1 0 1,1 0-1,1 0 1,2 3 0,-1 0 0,0 1-1,0-1 1,0 1 0,-1 0 0,1 0-1,-1 0 1,0 0 0,0 1 0,0-1-1,-1 1 1,1 0 0,4 7 0,10 14-24,-2-3-39,0 0-32,17 23-182,8 8-168,-22-34 54,0-1 0,17 15 391,-31-31-437,-1 0 101,0-1 3,0 0-65,0-1 4,-1 1-66,1-1-76,0 0-86,-1 0 31,1-1-72,-1 1-77,1-1-83,-1 0-89,1 0-94,-1-1-99,1 0-106,-1 0 150,0 0-88,0 0-313,2-1-827,-4 2 2271</inkml:trace>
  <inkml:trace contextRef="#ctx0" brushRef="#br0" timeOffset="24501.79">5320 5506 1345,'0'-1'818,"0"0"50,5-4 2139,-3 4-1748,-1 0-548,0 1-43,-1 1-53,1-1-63,-1 1-73,-1 1-84,1 0-94,-2 1-106,0 2 483,0 0-103,1 0-92,0 1-80,0 1-9,1 0-81,-1 2-15,1 4 58,0 3 100,0-11-267,-1 0 33,0 17 294,2 3-92,1 1-88,3 0-84,3-1-79,2-2-75,3-4-70,4-5-67,-14-12 47,-1-1-1,1 1 1,-1-1-1,1 0 1,0 0-1,0-1 1,-1 1-1,1 0 1,0-1 0,0 0-1,0 1 1,0-1-1,-1 0 1,1-1-1,0 1 1,0 0-1,0-1 1,1 0-8,1 0 18,-1-1 1,1 0-1,0-1 0,0 1 1,-1-1-1,0 0 0,1 0 1,-1 0-1,0 0 0,0-2-17,3-2 30,0 0 0,-1-1 1,0 0-1,0 0 0,-1 0 1,2-5-32,9-26 52,-15 31-33,1 0 1,-1 0-1,-1-1 0,1 1 0,-2 0 1,1 0-1,-1 0 0,0-2-19,-1 3 25,0-1 0,0 0 0,0 1 0,-1-1 0,0 1 0,-1 0 0,1 0 0,-1 1 0,-1-1 0,1 1 0,-1-1 0,-3-2-25,3 5 23,0-1 0,1 1 0,-2 0-1,1 1 1,0-1 0,-6-2-23,6 4 14,-1 0 1,1 0-1,-1 0 0,1 0 1,-1 1-1,0 0 1,-5 0-15,5 0 4,-1 2 0,0-1 0,0 0 0,1 1 1,-1 1-1,0-1 0,1 1 0,-1 0 1,1 0-1,-4 2-4,7-2-183,-1 0 66,1 1 55,-1 0 47,-4 4 85,-10 13 256,12-13-283,2 0-72,1-3-32,1 1-40,0-1-45,0 0-50,1 1-56,-1-1-62,1 1-66,1-1-71,0 0-78,0 0-83,0 1-88,1-1-93,1-1-99,0 1-104,0 0-110,1-1-114,-1-1 449,1-1-106,-2 0 390,1-1-38,0 1-41,0-1-45,2 1-461,1-1-101,1 0-329,3 0-860</inkml:trace>
  <inkml:trace contextRef="#ctx0" brushRef="#br0" timeOffset="24888.9">5665 4788 5074,'-1'-8'1550,"0"2"-124,2 0-119,1 1-117,0 1-110,1 0-109,1 2-103,0 0-100,0 1-95,1 2-92,0-1-88,0 2-83,0 1-80,-1 0-75,1 2-72,-1 0-67,5 9 354,-2 1-82,0-1-73,-1 1-66,1 4-23,-1-1-68,0 5-37,2 11-27,4 13 0,-2-16 42,13 42-1,0 0-43,3 14-21,12 43-11,-33-116-107,0 1 49,14 32 140,-9-28-118,-4-7-47,1-1-40,0 0-59,1 0-69,1 0-79,-1-1-92,-6-8 84,0-1-73,0 0-69,0 0-66,0 0-64,0-1-59,0-1-57,0 1-53,0-1-50,0 0-46,0 0-44,-1 0-40,1-1-36,-1 0-34,1-2-1055,-2 3 1405,0 0-43,0 0-40,1 0-35,-1-1-185,0 1-35,1-4-2034,-1 5 2956</inkml:trace>
  <inkml:trace contextRef="#ctx0" brushRef="#br0" timeOffset="25144.67">5612 5254 4066,'-2'0'473,"0"0"-48,0 0-42,0 0-34,-1-1 192,-3 2 630,5-1-784,0 1 38,0 0 274,1 0-298,-1 1 41,2-2 67,-1 0-62,0 0-58,1 0-53,0 0-50,0 0-44,0-1-40,0 1-35,1-1 59,0-1-75,5-2 154,-5 3-101,-1 0 80,6-3 210,1 0-36,8-2 360,1 1-123,1 0-110,-5 1-208,0 0-51,0 0-48,-1-1-40,11-6 161,1-2-49,-1 0-45,-1-1-42,1-1-37,-1 0-32,22-16 110,0 0-80,-31 21-290,13-14 72,-17 14-92,-5 5-6,0 0-41,0 0-48,0-1-55,0 0-99,0 0-85,1 0-95,-1-1-105,0 1-114,0 0-123,-3 2 379,1 1-34,0 0-37,0 0-35,0 0 70,-1 1-89,0 1 260,0 1-34,0-1-38,-1 0-41,2 0-322,-1 0-117,-1 0 164,1 0-61,0 0-56,-1 0-48,1 0-233,0 0-48,0 0-282,0-1-780</inkml:trace>
  <inkml:trace contextRef="#ctx0" brushRef="#br0" timeOffset="25844.29">6156 4545 608,'-2'-5'925,"0"-1"-397,0 1 50,1 0 48,-1-1 48,0 1 45,1-1 45,0 1 43,0-1 41,0 1 41,0-1 40,1 1 37,0-1 36,0 0 36,1-5 1137,-1 9-1462,2 1-111,-1 2-100,2 0-91,-1 2-80,1 0-69,0 0-60,0 1-48,2 3 24,6 9 98,-9-13-159,0 0 49,12 23 309,-2 2-98,-3 1-87,-1 1-73,1 19 8,-4-11-127,-1-1-38,7 48 54,38 162 10,-23-141-39,-17-79-60,-2-14 11,-1-8 79,-3-14-49,-1-13-29,-1 12-26,8-35 4,3 0-1,1 1 0,3 0 0,1 1 0,3 1 1,12-20-15,-28 56 1,0 0 0,1 0 0,0 0 0,0 1-1,0 0 1,1 0 0,5-5-1,-4 5 1,0-1-1,-1 0 0,1-1 0,-1 1 1,1-3-1,-7 8-1,1-1 1,0 1-1,-1 0 0,1 0 1,0 0-1,0 0 1,0 0-1,0 0 1,0 0-1,0 0 0,0 0 1,0 0-1,1 0 1,-1 1-1,0-1 0,0 1 1,1-1-1,-1 1 1,1-1-1,-1 1 1,0 0-1,1-1 0,-1 1 1,1 0 0,-1 0-2,0 1 1,1-1 0,-1 1-1,1 0 1,-1-1 0,0 1-1,1 0 1,-1 0-1,0 0 1,0 0 0,0 0-1,0 0 1,0 0-1,0 0 1,0 1 0,0-1-1,0 0 1,0 1 1,4 7-4,-1 0-1,0 0 1,0 1 0,-1-1 0,0 1 0,0 4 4,4 21-2,-1-1 1,2 0 0,5 12 1,-10-37 0,0-1 0,0 0 1,1-1-1,0 1 0,0-1 0,0 1 0,1-1 0,1 0 0,-1-1 0,1 0 0,0 1 0,1-1 0,-3-3-44,0-1-84,0-1-79,0 0-73,0-1-70,-1 0-63,1-1-58,0-1-54,1-2-412,0 0-103,1-3-313,2-5-816,0-5-500,-3 6 948,-1 1 375,-3 5 716,1 1 34,0-4-308,-1 5 499,0 0 35,0 0 38,0 0 40,-1 0 43,1 1 45,0-3-468,1-1 83,0-1-37,1-3-224</inkml:trace>
  <inkml:trace contextRef="#ctx0" brushRef="#br0" timeOffset="26331.86">6891 4721 2737,'-2'0'59,"1"0"33,-3 0 183,-1-1 114,0 1 99,-1 0 87,1 0 75,-1 0 61,1 0 50,-2 1 528,1 3 707,6-1-1018,2 1-41,0-1-346,2 0-36,2 1 154,1-2-86,0-1-80,0-1-73,0-2-68,1 0-61,0-1-55,-1-2-48,5-2 55,1-2-84,0-2-32,6-6 25,-3 3 49,22-20-30,-6-5-68,-28 34-136,-1 0 0,0 0 0,0-1 0,-1 1 0,0-1 0,0 0 0,0 0 0,0 1 0,-1-1 0,0 0 0,0 0 0,-1 0 0,0 0 0,0-1 0,-1-4-17,0 4 20,-8-49 66,9 53-83,-1 0 1,0-1 0,0 1 0,0 0-1,-1 0 1,1 0 0,-1 0 0,1 0-1,-1 0 1,0 0 0,0 1-1,0-1 1,-1 1 0,0-2-4,2 4-1,-1-1 1,1 1-1,0-1 1,0 1-1,-1 0 0,1-1 1,-1 1-1,1 0 1,0 0-1,-1 0 1,1 0-1,0 0 0,-1 0 1,1 0-1,0 1 1,-1-1-1,1 1 1,0-1-1,-1 0 0,1 1 1,0 0-1,0-1 1,-1 1-1,1 0 1,0 0-1,0 0 0,-1 0 1,-25 27-16,16-14 8,1 0 1,1 1-1,1 0 0,0 1 0,1-1 1,0 2-1,1-1 0,1 1 1,1 0-1,1 0 0,0 0 1,1 0-1,0 1 0,2-1 1,0 0-1,3 17 8,-3-30-1,0-1 0,0 1 0,1-1 0,-1 0 1,1 1-1,0-1 0,0 0 0,1 0 0,-1 0 0,0 0 0,1 0 0,0 0 0,0 0 0,0 0 0,0-1 0,0 1 1,0-1-1,1 1 0,0-1 0,-1 0 0,1 0 0,1 1 1,3 0 2,0-1 0,0 1 0,0-1 0,1-1 0,-1 1 0,1-1 0,0-1 0,-1 1-1,4-1-1,17-1-51,-18 0 64,0 0 0,0-1 1,0 0-1,0-1 1,0 0-14,10-6-70,-4 1-83,-9 4 33,1-1-32,-1 0-37,0 0-40,0-1-44,-1 0-48,0 1 15,-1 0-37,0-1-40,0 1-42,0-1-44,-1 0-45,1 0-48,-1-1-50,0 1-52,0-1-55,0 0-55,-1 0-59,1 0-60,-1 0-63,0-1-64,0 1-66,-1 2-35,0 0-107,-1-1-348,2-3-905</inkml:trace>
  <inkml:trace contextRef="#ctx0" brushRef="#br0" timeOffset="26728.27">7335 4190 2641,'0'0'205,"-2"0"802,0 0-32,1 0-36,0 0-36,0 1-37,0-1-40,0 0-40,1 0-42,-1 0-43,1 1-46,0-1-45,0 1-47,0 0-50,1 0-50,-1 0-51,0 0-54,1 0-76,-1 1-48,1-1-48,-1 1-49,1 0-50,-1 0-52,0 0-53,1 0-53,1 8 483,0 0-32,3 10 286,2 0-113,0-1-103,-1-4-173,1-1-46,-1 0-41,2 0-37,6 14 64,2 0-86,25 50 109,-26-44-34,-12-18-77,-9-11 24,-6-12-17,4-3-119,0-9 107,-1 0 0,2-1 0,1 0 1,0 0-1,1-1 0,2 0 0,0 1 1,0-14-125,4-33 230,2 35-167,2 1-46,-1 15 3,0 0 0,2 0 0,2-6-20,-4 14 4,0-1 0,0 0 0,1 1 0,0 0 0,0 0 0,1 1-1,0-1 1,1 1 0,-1 0 0,2 0-4,3 1-22,-4 4-98,-1 2-99,-4 0 56,1 0-41,0 1-1,-1-1-35,0 1-37,1 0-41,-1-1-43,0 1-45,1 0-48,-1 0-52,1 0-177,0 0-83,0 0-89,0 0-92,0-1-98,0 1-102,0 0-107,0-1-111,-2 0 626,0 0-63,0 0-56,0 0-48,1 0-237,-1 0-48,0 0-285,2 0-791,-3 0 2223</inkml:trace>
  <inkml:trace contextRef="#ctx0" brushRef="#br0" timeOffset="28108.78">6589 5956 800,'0'-5'1686,"0"-1"-453,0 1-78,1 0-78,0 0-72,0 0-70,1 0-66,0 0-63,0 0-60,0 1-56,1-1-53,0 1-50,-1-1-45,1 1-44,0-1-39,0 1-36,1-1 1,-1 0-35,3-4 303,-1-1-124,5-17 863,-9 14-776,-2 7-257,-3 4-116,-2 3-92,-1 2-68,-16 14 132,-11 19-100,-1 2-92,-35 37-33,66-71-28,-13 13 0,1 1 1,-9 11-2,22-25-2,0 1 1,0-1 0,0 1-1,1-1 1,0 1 0,-1 0-1,2 0 1,-1 0-1,0 0 1,1 0 0,0 0-1,0 0 1,1 0-1,-1 3 2,2-6-1,-1 0 0,1 0-1,0 0 1,-1 0-1,1 0 1,0 0-1,0 0 1,0 0 0,0 0-1,1 0 1,-1-1-1,0 1 1,1 0-1,-1-1 1,1 1 0,0-1-1,-1 0 1,1 1-1,0-1 1,0 0-1,0 0 1,0 0 0,0 0-1,0 0 1,0-1 1,10 5-6,0-2 0,0 0 0,0 0 1,1-1 5,-1 0-3,13 2 4,0-2-1,1 0 1,19-3-1,-17 1 22,0 1-1,19 3-21,-46-4 1,0 1 0,1-1 0,-1 1 0,0 0 0,0-1 0,0 1 0,0 0 0,0 0 0,0 0 0,0-1 0,-1 1 0,1 0 0,0 0 0,0 1 0,-1-1 0,1 0 0,-1 0 0,1 0 0,-1 0 0,1 0 0,-1 1 0,0-1 0,1 0 0,-1 0 0,0 1 0,0-1 0,0 0 0,0 1 0,0-1 0,0 0 0,0 0 0,-1 1-1,1-1 1,0 0 0,-1 1-1,0 6 5,-1 0-1,0 0 0,0 0 0,-3 7-4,0-5-4,-1 0 0,1 0 0,-2 0-1,1-1 1,-1 0 0,-1 0 0,0-1 0,-1 1 4,-30 26-84,18-19 2,1-1-34,4-3-9,9-5-37,-4 5 10,0-1-11,4-4-23,0-2-45,1 0-90,0-3-31,0 0-89,0-1-100,0-2-112,4 1 83,2-1 59,-1 0 54,1 0 48,0 0 45,0 0 39,1-2-227,1-1 13,2-3-563,-3 6 814,7-11-1393,-5 8 1087,0 0-48,0 1 42,-1-1-58,1 1-70,0-1-81,-1 0-124,1 0-82,0-1-283,2-2-737,-5 6 1970</inkml:trace>
  <inkml:trace contextRef="#ctx0" brushRef="#br0" timeOffset="28492.3">6883 5407 1633,'-1'-2'320,"0"1"-204,0 0 38,-1-1 37,1 0 35,0 1 33,-2-3 348,0 1-19,1 0 66,-1 0 56,1 0 47,-4-3 831,-6-6 2312,9 10-2751,-1 0-64,2 1-295,0 1-111,0 1-102,1 0-92,1 0-85,0 1-75,0 0-65,1 1-57,0 0-22,0 0-53,5 7 225,6 7 45,-2 0-89,0-1-75,0 1-64,4 13 18,-7-13-117,-1 0 0,0 0 0,1 12-71,21 93 111,20 103-27,-44-197-105,0 14 56,0 3-33,1-15-103,0-5-87,-1-12 49,0-1-36,-2-8-1415,3-6-864,3-15-1651,-4 6 2129,0 0 105,-2 6 987,-1 0 40,0 1 47,0 2 51,-1 1 558,7-21-3795</inkml:trace>
  <inkml:trace contextRef="#ctx0" brushRef="#br0" timeOffset="29001.57">7227 5497 3730,'-1'-1'1108,"1"0"-94,0 0-92,1 1-86,-1 0-85,1 0-79,-1 1-76,1 0-72,0 0-69,0 0-66,-1 1-60,1 0-58,-1-1-54,1 2-50,-1-1-47,0 1-42,-2 10 414,-1 0-77,-2-1-69,0 0-63,-4 5 38,-2 0-104,-1-1-80,0 0-57,-21 28 28,21-23-26,-8 20-42,-8 16 23,5-21-70,20-29-25,2 3-94,1-9 120,0-1 0,-1 0-1,1 1 1,0-1 0,0 0-1,0 1 1,0-1-1,0 0 1,0 1 0,0-1-1,0 0 1,1 1 0,-1-1-1,0 0 1,0 0 0,0 1-1,0-1 1,0 0 0,0 1-1,1-1 1,-1 0 0,0 0-1,0 1 1,1-1 0,-1 0-1,0 0 1,0 1-1,1-1 1,-1 0 0,0 0-1,0 0 1,1 0 0,-1 1-1,0-1 1,1 0 0,-1 0-1,0 0 1,1 0 0,-1 0-1,0 0 1,1 0 0,-1 0-1,0 0 1,1 0 0,-1 0-1,0 0 1,1 0 6,6-7-60,3-7 51,-3 3 25,7 0 16,-13 11-27,0-1 0,-1 1 0,1 0 0,-1 0 0,1 0 0,0-1 0,-1 1 1,1 0-1,0 0 0,-1 0 0,1 0 0,0 0 0,-1 0 0,1 0 0,-1 0 0,1 1 0,0-1 0,-1 0 0,1 0 0,-1 0 0,1 1 1,0-1-1,-1 0 0,1 1-5,1 1 26,0 0 0,0 0 1,0 1-1,0-1 0,-1 1 1,1-1-1,-1 1 0,0 0 1,2 2-27,7 16 57,-7-17-56,0 1 0,1-1 1,0 0-1,0 0 0,0 0 0,0-1 1,1 1-1,-1-1 0,1 0 0,0 0 1,0 0-1,0-1 0,0 0 0,0 0 1,1 0-1,-1-1 0,1 1 0,1-1-1,6 1 5,0-1-1,1 0 1,-1-1-1,0 0 0,0-1 1,0-1-1,6-1-4,6-8 133,-11-2-139,-9 6-42,1 1-37,-2-2-41,1 1-49,0-3-119,0 0-96,0-1-108,-1 1-119,-2 5 261,-1 0-36,1 0-34,0 1-38,-1-1-39,1 1-39,-1 0-42,0-1-43,0 2 130,0 0-61,-1-1-67,1 0-68,-1 2 165,1-1-37,0-2-380,0 1-75,0-2-275,1-4-727</inkml:trace>
  <inkml:trace contextRef="#ctx0" brushRef="#br0" timeOffset="29326.34">7495 5455 1088,'2'-4'1512,"0"0"-345,0 0-46,1 0-48,-1 0-47,1 0-47,0 0-47,-1 0-47,1-1-48,0 1-46,1 1-47,-1-1-46,0 1-48,0 0-46,0 1-47,0 0-46,0 0 162,1 2-115,-1 1-102,1 1-93,-1 1-81,1 0-70,-1 1-60,0 0-48,2 3-9,4 9 4,-7-12-27,-1-1 53,6 19 41,-4 0-56,-1 24-10,-3-36-89,1 1-1,1-1 1,0 1 0,1-1-1,-1 1 1,4 7-11,-1-9-13,12 15 42,-11-17-63,1-1-45,1 0-79,1 0-94,-1-2-115,-4-2 135,1-1-36,-2-1-169,0 0-42,0 0-45,0-1-46,0 0-48,0 0-50,-1-1-53,1 0-53,-1 0-56,1 0-58,-1 0-60,0 0-61,0 0-63,-1 0-66,1 0-67,-1 0-69,1-2-456,0-1-817</inkml:trace>
  <inkml:trace contextRef="#ctx0" brushRef="#br0" timeOffset="29573.55">7438 5157 2353,'-2'-1'1264,"0"0"-131,0-1-92,1-1-86,0 0-83,1-1-79,0 0-73,0 0-71,1-1-66,-1 1-61,1 0-58,0 0-54,0 1-50,0 0-45,0 1-41,0 0-37,9-7 687,-5 6-511,1 2-36,-1 1-38,1 1-40,-1 1-42,1 2-43,-1 0-45,1 0-49,-1 1-48,0 1-53,1 0-53,-1 0-55,0 0-58,0 0-59,-1-2 0,-1 1-41,1-1-39,-1 0-42,1-1-43,-1 1-42,0-2-45,0 0-46,-2-1 288,0 0 44,1 0 10,0 0-29,1 2-103,-1-2 4,0 1-64,-1-2 128,0 1-41,0-1 12,-1 1-33,1-1-37,0 1-37,0-1-42,0 1-44,0-1-45,0 0-50,0 1-55,0-1-50,-1 0-44,1 1-40,0-1-190,0 0-38,1 1-230,0-1-637</inkml:trace>
  <inkml:trace contextRef="#ctx0" brushRef="#br0" timeOffset="29931.87">7745 4799 4354,'-4'-2'657,"1"1"65,-1-1 54,2 1 44,-1 0 205,0-1 1941,3 2-1727,0 0-18,1 1-107,0 0-608,0 0-41,0 0-44,0 1-49,1 0 39,0 1-107,0 0-116,-1-1-141,0 0-34,5 8 308,-2 1-54,0 0-47,0 0-42,0 3-14,-1 1-45,1 7-6,0 0-51,3 12 2,-2-12 10,24 93 73,-6 0 0,3 61-147,-18-125 30,-4-39-44,1 1-39,2-1-54,-4-10-417,0-2 35,6-9-872,-3 0 534,-3 2 236,-1 3 58,-1 1-48,0 1-14,0-1-62,1 0 71,-1 0 59,0 0 48,1-3-295,2-5-908,-2 6 865,-1 3 358,0-1-46,0 1-52,0-1-60,0 0-68,0 0-76,0 0-135,1 0-36,2-6-1986</inkml:trace>
  <inkml:trace contextRef="#ctx0" brushRef="#br0" timeOffset="30296.85">7944 4582 2513,'-1'-2'-85,"1"1"49,0 0 47,0-1 44,0 1 42,0-1 41,-1 0 37,1 1 36,0-2 239,-1 0 92,1 0 79,0 0 67,-1-1 212,1 1 60,0-4 2080,1 6-1797,0 0-73,-1 2-449,1 0-62,1 1 60,-2-1-410,1 1-37,0-1-40,0 2-43,1-1-46,-1 1-49,1 2 242,0 0-34,1 5 207,0 0-109,0 0-92,-1 1-77,1-1-56,9 19 184,1-6-159,1 1-33,5 9 19,0 0-51,-12-18-84,0 0 0,-1 0 0,2 13-51,14 58 73,20 117 31,-21-78 12,-19-99-82,3 10-7,-4-34-547,1-3 97,0-1 135,2-3-98,0-1-69,-2 1 112,0 2 12,-1 1-60,-1 1 119,2-2-424,-1 0 83,0-1 70,0 1 60,0-1 1,0 1 47,0-9-842,-1 7 705,1 2 199,-1 0-35,0-2-218,0 1-102,0 1 318,0 1-33,1 0-36,-1-1-40,0 0-85,0 0-41,1-3-752,0-2-421,0-3-1068</inkml:trace>
  <inkml:trace contextRef="#ctx0" brushRef="#br0" timeOffset="30579.73">8484 4150 7507,'0'0'655,"-1"0"-37,1 0-37,0 1-36,0-1-33,-1 1-34,1 0 384,0 1-120,0-1-112,0 2-102,0-1-94,0 0-107,0 1-67,0 0-61,0-1-55,0 3-2,1 0-100,-1 0-65,1 5-107,0-4 131,-1-4 59,0 0 57,0 0 68,1 0 81,0 14 28,0 1-60,-1 0-51,-1 0-41,0 11 23,3 14 15,0-28-263,0-1 50,0 5 50,1 0 52,6 41 301,-4-34-255,-2-10-89,1 0-45,0 4-83,2-1-106,-3-9 58,0 0-35,1 0-36,-1-1-39,1 1-42,0 0-44,0-1-47,0 0-50,1 1-51,0-1-54,0 0-58,0 0-59,-1-3 279,-1 0-71,1 0-85,-1 0-117,-1-2 279,0-1-39,0 1-40,-1-1-43,2 1-166,-1 0-61,0 0-54,0 0-48,1 0-219,0 0-47,1 1-266,1 2-731</inkml:trace>
  <inkml:trace contextRef="#ctx0" brushRef="#br0" timeOffset="30837.38">8736 5059 7668,'-1'2'800,"1"-1"-32,-1 2 671,0-1-122,1 0-118,0 0-111,0-1-107,0 0-100,0 0-94,1-1-90,0 0-84,0 0-77,0 0-73,0 0-67,0-1-60,0 0-57,0 0-48,0 0-52,1 0-36,0-2 57,0 0-85,2-5 53,-3 5-90,0 0 37,-1 0 88,0 0 95,0 2-677,-1 0 41,1 0 39,0 1 33,0-2-119,1 1 60,-1-3-585,1 2 460,-1 2 178,1-1-40,-1 0-47,0 0-55,0 0-66,1 0-71,-1 1-80,0-1-87,0 0 224,1 1-38,-1 0-37,0-1-35,0 0-699,0 1-113,1-1-410,-1 0-112,0 0-496,0-1-1339</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35:30.367"/>
    </inkml:context>
    <inkml:brush xml:id="br0">
      <inkml:brushProperty name="width" value="0.2" units="cm"/>
      <inkml:brushProperty name="height" value="0.2" units="cm"/>
      <inkml:brushProperty name="color" value="#E71224"/>
    </inkml:brush>
  </inkml:definitions>
  <inkml:trace contextRef="#ctx0" brushRef="#br0">2478 63 1233,'-16'-6'498,"0"0"-41,0-1-40,0-1-38,-16-5 257,0 1-124,-1 3-110,-1 7-96,-10 6-66,0 4-85,0 2-67,0 1-46,19-5-31,-42 15-44,2 3 1,-56 28 32,-10 4-58,33-14 20,2 5 0,3 3 0,1 4 0,-14 17 38,-44 39-31,6 5 1,3 9 30,41-28-27,3 4 0,6 4 1,-30 49 26,77-88-53,2 2 1,2 6 52,12-23-39,-7 15-140,-13 39 179,-19 70-254,53-130 134,2 1-1,0 8 121,2 4-303,-1 33 303,7-20-354,3 9 354,8 67-396,8-42 118,11-2 60,-12-61 133,1 0 0,3-1 0,1-1-1,2-1 1,1 0 0,3-2 0,24 30 85,17 6-176,-1-13-17,5-5-45,38 18-732,88 43 970,-57-44-356,-40-23 292</inkml:trace>
  <inkml:trace contextRef="#ctx0" brushRef="#br0" timeOffset="452.56">1649 3708 384,'181'34'609,"0"0"-58,-1 1-61,-1-2-55,1-2-56,1-2-56,-1-5-57,2-5-59,-1-7-59,1-6-61,84-10 149,0-10 53,0-10 65,0-10 77,158-38 349,-143 11-326,-107 17-215,-1-5-45,-1-7-54,-2-8-63,-30 8-4,-3-6 0,40-30-73,274-188 93,-344 205-70,-4-5 1,-4-5-1,2-8-23,-57 46 23,-1-1 0,-3-3 0,-2 0 0,-3-3-1,-1-1 1,9-27-23,-10 12 60,-3-1 0,-3-1 1,-1-11-61,-12 30 60,-3-1 0,-2 0 0,-2-1 0,-3 1 1,-2-23-61,-4-3 232,-4-17-232,-17-77 334,14 129-168,-1 1 0,-3 0 1,-13-29-167,9 30 130,-3 2 0,-1 0 0,-19-26-130,-24-20 143,-9 7-41,-8 9-46,50 48-51,-27-15-5,-1 5-26,-40-15 26,28 17-62,-23-3 62,-2 5-105,-2 4-1,-55-6 106,-133-4-228,-139 17-160,143 20-6,95 4 95,31 2 17,1 2-40,-40 5-150,1 2-91,0 2-108,96-10 289,1 1-32,-37 5-277,44-5 203,15 0 51,0 0-38,13 0 45,-1 0-38,0 0-42,0 1-49,7 0 139,-29 5-15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42:07.721"/>
    </inkml:context>
    <inkml:brush xml:id="br0">
      <inkml:brushProperty name="width" value="0.05" units="cm"/>
      <inkml:brushProperty name="height" value="0.05" units="cm"/>
    </inkml:brush>
  </inkml:definitions>
  <inkml:trace contextRef="#ctx0" brushRef="#br0">22 368 1105,'-2'-1'988,"-1"0"-134,1-1-48,0 0-48,0 0-44,1-1-44,-1 1-41,1-1-38,0 0-38,0-1-35,-1-3 420,1-1-117,0 0-101,1-2 33,0 0-96,0 1-105,3-12 864,-1 14-778,0 3 173,-1 2-112,1 0-104,-1 2-94,-1 1-86,1 1-78,0 0-70,-1 1-61,0 4 16,0 0-101,0 0-70,-1 8-6,1-9 18,0-2 78,0 25 32,1 1-56,-1 0-44,0-1-33,2 87 11,1-52 6,3-24 11,-5-38-41,-1-1-41,-1 0-118,1 0-168,-3-2-319,1-2-20,0 0 300,1 2 161,1 0 136,0 0 37,-1-3-340,0 1-43,0-1-40,0 0-36,0-5-562,0 1-111,0 0 40,0 0-53,2-17-2754,-1 15 2270,1 6 602,-1 0-99,1-1-320,0-3-834,-1 8 2264</inkml:trace>
  <inkml:trace contextRef="#ctx0" brushRef="#br0" timeOffset="277.89">31 48 3554,'-3'-1'1424,"1"0"-75,1 0-74,0 0-75,0-1-75,1 0-74,0 0-74,0 0-74,1 0-73,0-1-74,0 1-73,1-1-72,-1 0-74,1 1-71,-1-1-73,1 1-72,-1-1-112,0 1-48,0 0-47,1 0-47,-1 1-48,-1-1-46,1 0-47,0 0-47,-1 2-230,0 0-107,1 1-95,-1 0-82,1 0-222,0 0-82,0 1-269,2 2-696,-1-1 269,-1-1 579,0 0 214,0 0 49,0-1 178,0 1 50,0-1 57,0 0 63,1 3-1271,3 2-1007</inkml:trace>
  <inkml:trace contextRef="#ctx0" brushRef="#br0" timeOffset="939.26">384 174 1377,'0'1'-8,"0"-1"37,-1 1 35,1 0 34,0 0 193,0 0 113,0 0-113,0-1 33,0 1 412,0 0-121,0 0 44,0 0 750,0 0 1110,0-1-1717,0 0-46,0 0-171,-1-1-53,1 1-60,-1-1-69,1 1 100,-1 1-61,1-1-57,-1 0-54,0 1-48,-1 0-44,1-1-39,-1 1-36,-1 0 57,0 1-74,-5 1 139,6-2-96,-10 3 196,-1 1-64,1 0-60,0 1-53,1-1-45,0 1-41,-9 9 30,7-2-91,10-9-53,1-1 0,0 0 0,0 1 1,0-1-1,0 1 0,0 0 0,1 0 0,0-1 0,0 1 0,-1 3-9,0 9 58,3 2 32,-1-16-85,0 1-1,1 0 0,-1 0 0,1-1 0,0 1 0,-1 0 0,1-1 0,1 1 0,-1-1 1,0 1-1,1-1 0,-1 1 0,1-1 0,-1 0 0,1 0 0,0 0 0,0 0 0,0 0 0,0 0 1,1-1-1,-1 1 0,0-1 0,1 1 0,1 0-4,5 1 3,-1 0-1,1-1 1,0 0 0,0 0-1,0-1 1,-1 0 0,4-1-3,5 1 5,-2 0-2,0 0 1,1 1 0,-1 0 0,0 1-1,5 2-3,-16-4 1,-1 0-1,0 1 0,0-1 1,0 0-1,1 1 0,-2 0 1,1 0-1,0 0 0,0 0 1,-1 0-1,1 1 0,-1-1 1,1 1-1,-1-1 0,0 1 1,0 0-1,0 0 0,-1 0 1,1 0-1,-1 0 0,1 0 1,-1 0-1,0 1 0,-1-1 1,1 0-1,0 3 0,-1-3 1,-1 0 1,1 0 0,-1-1-1,1 1 1,-1 0 0,0 0-1,0 0 1,0-1 0,-1 1-1,1 0 1,0-1 0,-1 1-1,0-1 1,0 1-1,0-1 1,0 0 0,0 0-1,0 0-1,-47 40 22,37-33-14,-5 6-86,-2 1 74,-48 40 197,36-38-175,4-8-110,13-8-3,0-1-42,0-2-44,0-2-52,0-3-55,-1-3-61,13 7 128,-1 0-44,1 0-50,0-1-58,0 0-63,1 0-69,0-1-77,0 1-83,0-1-88,1 1-95,0-1-103,0 0-107,1 1-114,0-1-121,0 1-128,0 1 662,0 1-35,5-10-3427</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42:02.372"/>
    </inkml:context>
    <inkml:brush xml:id="br0">
      <inkml:brushProperty name="width" value="0.05" units="cm"/>
      <inkml:brushProperty name="height" value="0.05" units="cm"/>
    </inkml:brush>
  </inkml:definitions>
  <inkml:trace contextRef="#ctx0" brushRef="#br0">139 1413 1985,'2'-7'897,"0"1"-53,0 0-49,1 1-50,-1-1-46,1 1-46,1-1-44,-1 1-41,1 0-41,0 0-38,0 0-38,0 1-34,5-5 317,0 0-120,-1 3-201,1-1-61,-1 1-55,1 0-48,2-1-3,-1 0-47,4 0-5,5-5 49,1 1 2,-8 3-46,-1 2 7,-2 0 48,44-27 196,1 3-89,1 3-76,1 2-68,1 2-56,1 1-46,57-19 17,104-41 28,54-19-69,-181 73-93,0 2-47,-83 24 89,-3 1-93,-2 0-85,-2 2-75,-2-1-66,0 2-58,-3-1-48,0 1-40,-4 2-354,-13 5-1139,15-7 1365,0 0 43,-20 7-1923,17-7 1585,-1 1-33,2-1 116,0 1-35,0-1-37,0 0-45,-20 6-2167</inkml:trace>
  <inkml:trace contextRef="#ctx0" brushRef="#br0" timeOffset="883.17">329 1056 1569,'7'-10'1470,"-1"-2"-65,0 1-270,1 0-42,0 1-40,1 2-39,0 2-36,1 4-36,-7 2-822,-1 0-1,1 0 0,-1 0 0,1 1 1,-1-1-1,0 0 0,1 1 0,-1-1 1,1 1-1,-1-1 0,0 1 1,0 0-1,1 0 0,-1-1 0,0 1-119,2 2 419,-1 0-57,0 0-53,-2 0-48,0 1-45,-1-1-40,-2 5 75,-1-2-130,0-1-51,-10 11 8,9-11-19,2-1 66,-32 36 131,-5-3-110,21-20-88,0 0-1,-8 12-57,14-13 20,-1-2 0,-1 0-1,-5 3-19,-24 18 75,-1 0 69,27-16-41,9-9-6,1 1 0,1 1 1,0-1-1,-3 9-97,-3 8 129,13-27-107,-8 17 40,3-13 27,2-6-7,1-3 34,3-2 132,2 1-100,8-8 144,-7 10-38,5 6-44,1-2-55,1-3-45,1 0-37,7-5-11,10-5-24,-6 3 32,42-10-25,38-1-21,-22 5-11,8-2 33,71-2-46,-160 19-2,0 1 0,0-1 0,1 0 0,-1 0 0,0 0 0,0 0 1,0 0-1,0 0 0,1 0 0,-1 1 0,0-1 0,0 0 0,0 0 0,0 0 1,1 0-1,-1 1 0,0-1 0,0 0 0,0 0 0,0 0 0,0 1 0,0-1 0,0 0 1,0 0-1,0 0 0,0 1 0,0-1 0,0 0 0,0 0 0,0 0 0,0 1 1,0-1-1,0 0 0,0 0 0,0 1 0,0-1 0,0 0 0,0 0 0,0 0 0,0 1 1,0-1-1,0 0 0,0 0 0,-1 0 0,1 1 0,0-1 0,0 0 0,0 0 1,0 0-1,-1 0 0,1 0 0,0 1 0,0-1 0,0 0 0,-1 0 0,1 0 2,-7 11-123,7-11 117,-5 5-222,0 0 76,1-1 59,-11 5-77,9-6 66,2-1 5,0 0-34,-1 0-43,1 0-51,-1-1-95,0 1-84,0-1-95,0 0-107,0 1-119,3-2 316,-1 1-33,1-1-36,-1 1-36,1-1-38,-1 1-39,2-1-271,-1 0-1088,2-1 694,-1 0 281,1 0-95,0 0 135,0 0-60,0-1-260,0-1-696,0 3 1929</inkml:trace>
  <inkml:trace contextRef="#ctx0" brushRef="#br0" timeOffset="2158.3">1517 365 1393,'-2'-6'1326,"-1"-8"2521,2 9-2235,2 2-241,0-1-96,1 2-308,0 0-104,1 0-122,-1 1-421,0 1-38,-1-1-38,2 0-43,-1 1-42,0-1-46,1 0-48,0 1-50,0-1-52,0 1-55,16-4 490,-1-1-60,0-2-54,0 0-48,9-5 36,-1-2-81,1-1-62,-2 0-45,45-25 55,-40 26-54,52-18 7,3 5-42,44-16 3,-124 41-52,31-9 8,-11 10-67,-23 1-76,-2 1-87,-1-1 43,-1 3-80,-2-1 103,-3 4-149,6-6 161,-11 9-432,1 1-111,0-1-110,-1 1-111,2-1 6,1-1-86,-2 1-89,1-1-87,0-1-87,-1 1-88,-1-2-87,1 1-87,-11 2-1447</inkml:trace>
  <inkml:trace contextRef="#ctx0" brushRef="#br0" timeOffset="2540.47">1849 216 432,'0'-1'636,"-1"-1"-224,1-2 317,0-5 807,0 6-792,0 1-14,1 2-314,-1 0 39,1 0 46,-1 0 49,1 1 54,0 0 60,-1 0 185,0-1-76,0 1-71,0-1-69,0 1-65,0 0-62,0 0-59,-1 0-55,1 0-52,0 1-48,-1-1-46,1 1-41,0-1-39,-1 1-36,1 2 39,-1-1-101,0 1-75,-1 7-208,1-6 200,0-3 62,1-1 49,0 1 60,0-1 70,-1 31 191,-1 0-71,1 0-64,-1-1-57,-1 19 38,1 0-95,0-4-72,0 60 52,2-76-120,4 133 80,4-94-33,-2-57-36,-5-12-63,0-1-33,0-1-43,-1-3-55,-1-2-8,1 0-99,0-1-94,0 1-89,1-1-83,0 0-80,0 0-74,0 0-68,1 0-66,0 1-58,0-1-55,0 0-49,0 1-45,0 0-40,3-6-1161,-3 8 1296,0 1-94,0 0-294,2-3-759</inkml:trace>
  <inkml:trace contextRef="#ctx0" brushRef="#br0" timeOffset="3341.46">2344 40 2401,'0'-2'809,"0"0"-46,1 0-45,0-1-41,0 1-40,0 0-39,1-1-35,0 1-35,2-2 435,0-1-114,1 2-95,0-1-81,0 2-183,-1 0-32,4 0 258,8 5 897,-12 0-1079,0 1 44,-3-1-262,0 1-35,0 5 181,-2 1-112,0 0-91,-4 6 24,-1 3 12,-6 19 32,4 2-105,4-11-112,1 2-38,-2 29-5,-5 49-9,1-26 28,2 56-86,5-75 29,5-32 12,2-16-6,2-11 47,-3-12-17,-3-14-41,-1 11-4,3-5-8,0-1 0,1 0 1,1 1-1,1-1-12,28-60-3,-21 45-6,5-3-10,1 1 1,2 1-1,1 1 0,6-6 19,-14 18-7,6-1-22,-19 19 27,0 0 0,0 0 0,0 1 0,0-1 0,0 0 1,0 1-1,0-1 0,0 1 0,0-1 0,0 1 0,0 0 0,0-1 0,1 1 0,-1 0 0,0 0 0,0 0 1,0 0-1,1 0 0,-1 0 0,1 0 2,-1 2-2,-1-1 1,1 0-1,0 0 1,-1 1-1,1-1 1,-1 0-1,0 1 1,1-1-1,-1 0 1,0 1-1,0-1 1,0 1-1,0-1 1,0 0-1,0 1 1,0-1-1,-1 0 1,1 1-1,0-1 1,-1 0-1,0 2 2,0 7-11,0 20 3,1-11-1,0 0 0,1-1 1,2 12 8,0-13 0,3 23 3,2-1 0,1 0 1,2-1-1,9 17-3,-18-49 12,2 2 39,-2-3-69,0-1-70,1-1-98,-1-2 7,-1-1-56,1 0-63,0-1-70,0 0-78,0-2-84,1 0-91,-1-1-99,2-5-971,1-4-723,0 1 183,-1 4 694,-1 2 195,1-1-77,-2 3 605,1 1-40,0-1-210,1-3-574</inkml:trace>
  <inkml:trace contextRef="#ctx0" brushRef="#br0" timeOffset="3666.24">2903 292 2497,'-1'-3'1126,"0"0"-88,1 1-85,-1 0-80,0 1-77,0 0-73,-1 1-69,1 0-65,0 1-62,0 0-57,0 0-54,0 1-51,0 0-46,0 0-42,0 0-39,-1 1-35,1 2 59,-1 0-65,0 4 34,-1 5 44,2-9-130,1 0 59,0-2 83,1 14 57,-1 0-45,1 0-42,-1 0-39,0 16 114,1 0-115,-1-2-99,0 0-55,4 61-9,-4-91 153,0 0-46,0 0-45,0 1-44,0-1-43,0 0-42,1 1-41,-1-1-40,0 0-40,0 0-38,0 1-38,0-1-36,0 0-36,1 0-35,-1 0-33,0 0-33,0 0-479,0 0-120,1-1-112,-1 0-106,0-1-98,0-1-91,0-1-83,0-1-75,0 3 786,0 0-33,0-3-1704</inkml:trace>
  <inkml:trace contextRef="#ctx0" brushRef="#br0" timeOffset="3916.51">2898 95 1137,'2'-3'1242,"3"-2"-65,0 0 52,1 1 43,5-1 1378,-11 5-2574,0 0 0,0 0 0,1 0 1,-1 0-1,0 0 0,0 0 0,0 0 0,1 0 0,-1 0 0,0 0 0,0 0 1,1 1-1,-1-1 0,0 0 0,0 0 0,0 0 0,1 0 0,-1 0 1,0 0-1,0 0 0,0 1 0,0-1 0,1 0 0,-1 0 0,0 0 1,0 0-1,0 1 0,0-1 0,0 0 0,1 0 0,-1 0 0,0 1 1,0-1-1,0 0 0,0 0 0,0 1-76,0 0 324,0 1-80,0 0-83,-1 0-85,0 1-88,0 0-89,0-1-92,-1 1-95,1 0-97,0 0-99,-1-1-101,1 0-105,-1 0-105,1 0-110,-1-1-110,1 0-113,1-1 672,-1 0-35,1 0-581,-1 1-335,1-1-839</inkml:trace>
  <inkml:trace contextRef="#ctx0" brushRef="#br0" timeOffset="4475.64">3265 152 3298,'0'-1'677,"1"0"-38,-1 0-36,1 0-36,1-1 472,1 1-114,-1-1 24,0 0-107,0-1 63,-5-4 326,2 6-666,-1 1-77,-1 1-71,0 0-65,-1 0-60,-1 1-54,0 1-48,0-1-42,-2 2-19,0-1-43,-4 4-11,-15 9-2,21-12-10,0 0 49,-22 23 81,-33 42 328,42-48-401,2 0-44,15-20-75,0 1 1,0-1-1,0 0 1,0 1-1,0-1 1,0 1-1,0-1 1,1 1-1,-1-1 1,0 1-1,1-1 1,0 1-1,-1 0 1,1-1 0,0 1-1,0 0 1,-1-1-1,1 1 1,1 0-1,-1-1 1,0 2-2,1-2 0,-1 1 0,1-1 0,0 0 0,0 0 0,0 0 0,0 0 0,0 0 0,0 0 0,0 0 0,0 0 0,0-1 0,0 1 0,0 0 0,1-1 0,-1 1 0,0-1 0,1 1 0,-1-1 0,0 0 0,1 1 0,7 0 4,-1 0 0,0 0 0,0 0 0,0-1 0,1-1 0,-1 1 0,0-2 0,1 1-4,14-5 9,-8 3 1,0-1 0,0 2 0,7-1-10,-20 3 2,1 0-1,0 0 1,0 0-1,-1 0 1,1 0-1,0 0 1,0 1-1,-1-1 1,1 1-1,0 0 1,-1 0-1,1 0 1,-1 0-1,1 0 1,-1 1-1,1-1 1,-1 1-1,0 0 0,0-1 1,1 3-2,-2-3 1,0 0 1,0 1-1,0-1 1,0 1-1,-1-1 1,1 1-1,-1 0 1,1-1-1,-1 1 0,0 0 1,1-1-1,-1 1 1,0 0-1,0-1 1,0 1-1,0 0 1,-1-1-1,1 1 0,0 0 1,-1-1-1,1 1 1,-1-1-1,1 1 1,-1 0-1,0-1 1,0 0-1,0 1 0,0-1 1,0 1-2,-5 6 6,0 0 1,0-1 0,-1 0-1,-5 5-6,5-5 7,-20 20-1,-94 89 38,119-115-81,-1 1-72,0 0-65,-1 1-57,-1 0-114,-1-1-63,-2 2-296,0-1-76,-6-2-813,10-3 937,2-1 144,2-1 46,1-2 59,1-1 72,-1 5-299,1 0-110,-2 1 318,1 0-42,0 0-47,0 0-52,0 0-451,0-1-115,1 0-339,0-1-860,-2 3 2327</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42:15.121"/>
    </inkml:context>
    <inkml:brush xml:id="br0">
      <inkml:brushProperty name="width" value="0.05" units="cm"/>
      <inkml:brushProperty name="height" value="0.05" units="cm"/>
    </inkml:brush>
  </inkml:definitions>
  <inkml:trace contextRef="#ctx0" brushRef="#br0">167 35 1329,'0'1'662,"1"-1"-36,1 0 527,1-1-115,0-1-92,0 0-157,1 0-43,5-6 1583,-7 4-1286,-2 1-378,0 1-42,0-1-43,-1 1-40,1 1-38,-1-1-37,0 1-36,-1 0-34,-1 0 299,-1 1-118,0 0-105,-1 1-94,1 1-133,0-1-47,0 1-38,-1 0-33,-4 3 79,-4 2 5,10-5-91,-14 11 101,3 3-84,0 5-55,-4 15-57,-1 2-8,12-28-15,1 1 0,1-1 0,-1 1 0,2 1 0,-1-1 0,1 1-1,1-1 1,0 1 0,1 0 0,1 0 0,-1 1 0,2-1 0,0 0 0,0 0 0,2 6-1,-2-16 1,0 0-1,0 0 1,0 0 0,1 0 0,-1 0 0,1 0 0,0 0 0,-1 0 0,1-1 0,0 1 0,0 0 0,0 0 0,0-1 0,0 1 0,1 0 0,-1-1 0,1 0-1,-1 1 1,0-1 0,1 0 0,0 0 0,-1 1 0,1-1 0,0 0 0,0-1 0,-1 1 0,1 0 0,0 0 0,0-1 0,0 1 0,0-1 0,0 0 0,0 0-1,0 0 1,0 0 0,0 0 0,0 0 0,0 0 0,0 0 0,0-1 0,0 1 0,0-1 0,0 1 0,0-1 0,0 0-1,11-4 10,1-1 0,-1 0 0,0-1 0,0-1 0,7-5-10,-15 10 1,6-5 5,-1 0 0,0-1 0,0 0 0,0 0 0,-1-1 0,-1 0 0,0-1 0,0 1 0,1-5-6,-5 8 6,0-1 0,0 1 0,0-1 0,-1 0 0,-1 0 0,1 0 0,-1 0 0,-1 0 0,1 0 0,-2-1 0,1 1 0,-1 0 0,0-1 0,-1 1 0,0-2-6,-4-9-73,-5 3 57,8 13 23,-1 0 1,0 0 0,0 0-1,0 1 1,0 0-1,0-1 1,-1 1-1,1 0 1,0 1 0,-1-1-1,0 1 1,1-1-1,-1 1 1,-1 0-8,-21-3 2,9 4-46,0 1-48,1 2-58,0 2-69,1 0-81,1 2-92,2 1-102,1 1-115,8-5 511,1-1-120,1 0-107,0 0-98,1-1 48,0 0-43,0 0-40,1 0-35,1 2-580,1 0-83,8 4-2218,-6-5 2014,-2-2 662,0 0 55,0 0 66,-1-1 76,2 1-319,0 0-52,0 0-227,3 0-605</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4-30T22:42:11.364"/>
    </inkml:context>
    <inkml:brush xml:id="br0">
      <inkml:brushProperty name="width" value="0.05" units="cm"/>
      <inkml:brushProperty name="height" value="0.05" units="cm"/>
    </inkml:brush>
  </inkml:definitions>
  <inkml:trace contextRef="#ctx0" brushRef="#br0">2138 354 1969,'-2'-6'1283,"1"1"-60,0 0-59,0 0-60,0 0-58,1 0-60,0 0-58,0 0-58,0 0-59,0 0-58,0-1-57,1 1-59,-1 0-57,1 0-58,-1-1-57,1 1-56,0-3 62,-1-1 96,-1 2-88,-2 2-83,-1 3-74,-2 1-67,0 1-58,0 2-51,-1 0-43,-2 3-25,0 0-38,-17 11-8,20-10 18,-7 4-48,2 1-1,-1 0 1,2 0 0,-1 2 0,2-1 0,-1 1-1,-5 11-1,8-10-4,0 0-1,0 1 1,2-1-1,-1 1 0,2 0 1,0 0-1,1 1 1,0-1-1,2 1 0,-1 0 1,2-1-1,1 7 5,-1-16 0,0-1 0,1 1 0,0-1 0,0 1 0,0-1 0,1 1 0,0-1 0,0 0 0,1 0 1,-1 0-1,2 2 0,-2-5 1,-1 0 0,1 0-1,0 0 1,0-1 0,0 1 0,0-1 0,0 0 0,0 1 0,0-1 0,0 0 0,0 0 0,1 0 0,-1-1 0,0 1 0,1 0 0,-1-1 0,0 0 0,1 1 0,-1-1 0,1 0 0,-1 0 0,0 0 0,1-1 0,-1 1 0,1-1 0,-1 1 0,2-1-1,1-1 0,0-1 0,0 1 0,0-1 1,0 0-1,-1 0 0,1-1 0,-1 1 0,0-1 0,0 0 1,0 0-1,-1 0 0,2-2 0,39-57-64,-31 42 29,-1-1 0,-1 0-1,-1-1 1,4-16 35,-3 3-25,-2-1-1,2-26 26,-7 51 0,3-2-49,-7 13 48,1 1 0,-1 0-1,0 0 1,0 0 0,0 0 0,0 0-1,0-1 1,0 1 0,1 0 0,-1 0-1,0 0 1,0 0 0,0 0 0,0 0-1,1 0 1,-1 0 0,0 0 0,0 0-1,0 0 1,0 0 0,1 0 0,-1-1-1,0 1 1,0 0 0,0 1 0,1-1-1,-1 0 1,0 0 0,0 0 0,0 0-1,0 0 1,1 0 0,-1 0 0,0 0-1,0 0 1,0 0 0,0 0 0,0 0-1,1 0 1,-1 1 0,0-1 1,4 15-28,-2 10-40,2-1 41,5 15 45,-4-22 13,1-1 0,0 0 0,1-1 0,3 4-31,4 4-6,1 0-51,0-3-49,2-1-66,0 0-77,2-1-88,-18-18 129,-1 1 41,1-1 36,-1 0 35,1 1-13,0 0 89,4 3 217,-4-3-195,0 0-45,0 0-77,0 0-95,0 0-114,0 0 115,-1-1-35,1 1-254,0 0-118,-1-1 262,0 1-33,1-1-36,-1 1-37,0-1-37,0 0-41,0 1-40,0-1-43,1 0-44,-1 1-45,0-1-48,0 0-47,0 1 187,0-1-44,0 0-39,0 0-34,0 0-187,0 0-33,0 0-2039</inkml:trace>
  <inkml:trace contextRef="#ctx0" brushRef="#br0" timeOffset="501.95">2475 219 5346,'3'-5'840,"0"0"-41,0 2-39,0-1-38,0 1-36,0 1-36,1-1-35,-1 2-32,5-2 486,-1 3-119,0 0-110,0 2-101,-1 1-215,-1 0-53,0 1-50,-1 1-44,2 3 115,-2 2-74,-1 1-59,-2 0-41,-1 18 20,1-1-102,-1-5-99,0 1-42,-1 53 92,-2-43-78,2-27-89,1 0 1,0 0-1,0 1 1,0-1-1,1 0 1,0 0-1,1 4-20,9 13 97,-11-24-94,0 1 0,1-1-1,-1 0 1,1 1 0,-1-1 0,0 0 0,1 0 0,-1 1 0,1-1 0,-1 0-1,1 0 1,-1 1 0,1-1 0,-1 0 0,1 0 0,0 0 0,-1 0-1,1 0 1,-1 0 0,1 0 0,-1 0 0,1 0 0,-1 0 0,1 0 0,-1 0-1,1-1 1,-1 1 0,1 0 0,-1 0 0,1 0 0,-1-1 0,1 1 0,-1 0-1,1-1 1,-1 1 0,0 0 0,1-1 0,-1 1 0,1-1 0,-1 1-1,0 0 1,0-1-3,2 0 8,-1 0-1,0 0 0,0-1 0,1 1 0,-1 0 1,0-1-1,0 1 0,-1-1 0,1 1 0,0-1 1,0 1-1,-1-1 0,1 0 0,-1 0-7,4-44 114,2 0 0,2 1 0,2 0 1,12-33-115,-10 45 76,1 0 0,6-7-76,-16 34-293,1 0 112,0 0 95,1 0 79,0 1 63,0-1 47,24-15 569,-20 16-554,-4 3-100,0 0-34,1 0-56,0 0-65,0 1-74,0 0-83,0 1-92,0 0-102,-1 0-110,1 2-119,-3-2 311,0 1-33,0 0-35,-1 0-35,1 0-36,0 1-39,-1-1-38,1 1-40,-1 0-41,1 0-42,-1 0-44,0 1-43,1-1-47,-1 1-46,0 0-48,0 0-49,0-1-114,0 1-113,0 1-358,1 2-924</inkml:trace>
  <inkml:trace contextRef="#ctx0" brushRef="#br0" timeOffset="1005.29">3031 91 3570,'0'-3'745,"0"1"55,0 1 214,1-1 576,-1 3 1074,1 0-1818,-1 0-40,0 1 126,0 0-104,1-1-461,-1 0-35,0 0-38,0 1-40,0-1-44,0 0-46,0 0-49,0 0-53,-1 0-55,1 0-57,0 0-62,0 0-63,-3 9 579,2 0-39,0 0-38,1 0-34,2 11 195,3 0-113,1 0-94,1-1-78,2 1-59,-1-1-41,15 37 137,-19-43-214,0 1 0,0 0 0,-2 1 0,0-1 0,0 0 1,-1 1-1,-1-1 0,-1 6-26,-1-9 36,0 0 1,0 0-1,-1 0 1,-1 1-37,4-13 2,0 1 1,0-1 0,0 0 0,0 0-1,0 0 1,0 1 0,0-1 0,0 0-1,0 0 1,0 0 0,0 1-1,0-1 1,0 0 0,0 0 0,0 0-1,0 1 1,0-1 0,-1 0 0,1 0-1,0 0 1,0 0 0,0 1 0,0-1-1,0 0 1,0 0 0,0 0-1,-1 0 1,1 0 0,0 1 0,0-1-1,0 0 1,0 0 0,-1 0 0,1 0-1,0 0 1,0 0 0,0 0 0,-1 0-1,1 0 1,0 0 0,0 0-1,0 0 1,-1 0 0,1 0 0,0 0-1,0 0 1,0 0 0,-1 0 0,1 0-1,0 0 1,0 0-3,-5-12 100,2-21-1,8-23 149,7-21-248,1-14 166,-11 73-128,1 0 0,1 0 0,0 0 1,1 0-1,1 1 0,7-15-38,-9 25 5,0 0 0,0 0 1,0 1-1,1-1 0,0 1 0,1 0 1,5-5-6,19-9-31,6 8-44,-34 12-93,0-1 45,3 0-18,0 1 98,7-1 38,-8 1-41,-1 0-54,2 0-111,-3 0 59,0 0-36,2 1-216,-3-1 155,1 1-35,0-1-35,-1 1-39,1-1-41,-1 1-42,1 0-46,0-1-47,-1 1-49,0 0-52,1 0-53,-1 0-56,0 0-58,1 0-61,-2-1 859,0 1-801,1-1 359,-1 0-36,0 1-38,0-1-43,1 0-48,-1 0-50,1 0-508,-1 0-113,1 0-367,0 0-945</inkml:trace>
  <inkml:trace contextRef="#ctx0" brushRef="#br0" timeOffset="1712.09">3714 78 1425,'0'0'899,"-1"0"-63,0-1-55,-1 0-45,-3-1 610,-9-6 1649,10 6-2017,0 0 73,3 1-381,-1 0 42,1 0 44,0 0 52,-7-4-236,0 1-67,0 3-60,0 0-58,0 2-51,1 2-49,-1 0-43,1 2-38,-5 3 53,1 3-69,-2 2-27,-4 8 15,4-6-20,-22 29 72,6 5-78,8 4-66,10 0-55,10-47-29,1-1 1,0 1 0,0 0 0,0 0-1,1-1 1,0 1 0,0 0-1,0-1 1,1 1 0,0-1 0,0 0-1,3 5-2,-4-8 2,0 0-1,1 0 1,-1 0-1,1 0 1,-1-1-1,1 1 1,0 0-1,-1-1 1,1 0-1,0 1 1,0-1-1,0 0 1,0 0-1,0 0 1,0 0-1,1 0 1,-1-1-1,0 1 1,0-1-1,1 1 0,-1-1 1,0 0-1,1 0 1,-1 0-1,0 0 1,1 0-1,-1-1 1,0 1-1,0-1 1,1 1-1,-1-1 1,0 0-2,7-2 1,0-1 0,-1 0 0,1-1 0,-1 1 0,0-1 0,-1-1 0,1 0 1,-1 0-1,0 0 0,0-1 0,-1 0 0,0 0 0,0 0 0,-1-1 0,0 0 0,0 0 0,-1-1-1,11-13 0,-11 17 0,0 0 0,-1 0 0,1-1 0,-1 1 0,-1-1 0,2-2 0,0-3 2,-1-1 0,0 0 0,0 0 0,-1 0 0,0 0 0,-1 0 0,-1-1 0,0-10-2,0 14 0,0-9-6,-4 13-36,2 12-6,5 12 32,-3-17 16,8 44 6,-4-13 17,2-1 1,2 1-1,1 0-23,-6-24 4,0 0 0,1 0 0,0-1 0,0 1 0,1-1 0,0 0 0,1-1 0,0 1-1,0-1 1,0 0 0,1 0 0,6 4-4,-9-8 65,0 0-71,1-1-78,0 1-87,1-1-96,-1 0-105,1-1-112,-1 1-121,-2-2 254,0 0-33,0 1-35,-1-1-35,1 0-38,0 0-36,-1 0-40,1-1-40,0 1-40,-1-1-43,1 0-43,-1 1-43,1-1-46,-1 0-47,0-1-46,0 1-49,0-1-215,0 1-66,0-1-313,2-2-851</inkml:trace>
  <inkml:trace contextRef="#ctx0" brushRef="#br0" timeOffset="2379.25">4007 45 3265,'-1'-3'1354,"1"-1"-114,0 0-104,1-1-92,1 1-84,0-1-74,0 1-62,1-1-55,0 1 99,1 1-46,-4 2-726,1 1-1,-1 0 1,1-1 0,-1 1-1,1 0 1,-1 0 0,1 0-1,-1-1 1,0 1-1,1 0 1,-1 0 0,1 0-1,-1 0 1,1 0 0,-1 0-1,1 0 1,-1 0-1,1 0 1,-1 0 0,1 0-1,-1 0 1,1 0 0,-1 0-1,1 1 1,-1-1-1,1 0 1,0 0-96,4 6 1164,1 3-593,-2 1-104,0 0-92,-1 1-82,0 2-33,-2 0-85,1 3-48,-1 9-43,-1-15-66,9 52 42,-2-36-43,1-1 1,1 0 0,1 0-1,10 16-17,-18-37 4,1 0 0,-1-1 0,1 1 1,-1-1-1,1 1 0,0-1 0,0 0 0,1 0 0,-1-1 0,1 1 0,-1-1 0,1 1 0,0-1 0,0 0 1,0 0-6,-2-1 6,0-1-1,1 1 1,-1-1-1,1 1 0,-1-1 1,0 1-1,1-1 0,-1 0 1,1 0-1,-1-1 0,0 1 1,1 0-1,-1-1 0,1 1 1,-1-1-1,0 0 0,0 0 1,1 0-1,-1 0 1,0 0-1,0 0 0,0-1 1,0 1-1,0-1 0,0 1 1,-1-1-1,2-1-4,9-12 19,-1 0-1,0 0 1,-1-1 0,-1 0-1,-1 0 1,4-11-19,-7 13 15,-1 0-1,0 0 1,-1-1 0,-1-1-15,6-59 23,3-15-41,-8 110-29,1 13 46,-11 124 100,-3 112 65,13-90-93,2-80-63,-3 133 113,-2-150-119,-1-22-37,1 0-40,0-56-843,0-2-124,0-2 953,0-1-940,0-2-98,1 0-98,-1-2-100,1 0-100,-1 1-102,1-1-102,1 2-102,-2 2 1134,1-1-32,0 0-714,0-1-382,1-1-990</inkml:trace>
  <inkml:trace contextRef="#ctx0" brushRef="#br0" timeOffset="-1568.02">435 577 432,'5'-8'2529,"-1"4"-1369,-1 0-37,1-2 323,1 0-92,-2 1-107,-1-1-121,-1 3-614,-1 0-35,0-1-38,-1 1-40,0 0-42,-1 0-43,0-1-45,-1 1-47,0 0 145,0 1-43,1 0-38,-1-1-36,-1 1 11,0-1-38,-2-1 58,0 0-45,-7-5 232,5 4-93,0 0-72,-2 4-79,0 1-65,-1 3-52,-2 1-26,-14 9 34,25-12-104,-6 4-8,0 0 0,1 1 0,-1 0 0,1 0 0,0 0 0,1 1 0,-1 0 1,1 0-1,1 1 0,-1 0 0,1 0 0,1 0 0,0 0 0,0 1 0,0 0 0,1 0 0,-1 6-3,-1 6 4,0 0 1,2-1-1,1 1 1,1 0-1,0 1 1,2-1-1,1 9-4,-1-22 1,0 0 0,0 0 0,1-1 0,0 1 0,1 0 0,0-1-1,0 1 1,1 0-1,-3-5 1,0-1-1,1 1 1,0-1-1,-1 1 1,1-1-1,0 0 1,0 0-1,0 0 1,1 0 0,-1 0-1,0 0 1,1-1-1,-1 1 1,1-1-1,0 1 1,-1-1-1,1 0 1,0 0-1,0 0 1,0-1-1,0 1 1,2-1-1,-1 1 5,0-1 0,0 0 0,0 0 0,0-1 0,0 1 0,0-1 1,-1 0-1,1 0 0,0 0 0,0 0 0,-1-1 0,1 1 0,-1-1 0,1 0 0,-1 0 1,0-1-1,0 1 0,0-1 0,0 1 0,0-1 0,0 0 0,1-3-5,4-5 19,-1-2 0,0 1 0,-1-1 1,0 0-1,3-11-19,0-1 26,4-12 11,-1 1-1,4-29-36,-1-28 10,-14 91-11,-1 0 0,0 0 0,0 0 0,1 0 1,-1 1-1,1-1 0,0 0 0,-1 0 0,1 1 0,0-1 0,0 0 0,1-1 1,-1 3-1,-1-1 0,0 1 0,1 0 1,-1-1-1,1 1 0,-1-1 0,1 1 0,0 0 0,-1-1 0,1 1 1,-1 0-1,1 0 0,0-1 0,-1 1 0,1 0 0,0 0 0,-1 0 1,1 0-1,-1 0 0,1 0 0,0 0 0,-1 0 0,1 0 0,0 0 1,0 1 0,1 0-1,0 0 0,-1-1 1,1 1-1,-1 0 0,0 1 1,1-1-1,-1 0 0,0 0 1,0 0-1,0 1 0,0-1 1,0 1-1,0-1 0,0 1 1,0-1-1,0 1 0,-1-1 1,1 1-1,-1 0 0,1-1 1,-1 1-1,0 0 0,1 0 1,2 18 8,26 135 105,8-1 70,-37-152-452,1 1 80,0-1 74,-1 1 63,1 1 64,0 0 66,0 1 84,1 2 166,0 1 39,-1-3-150,0-1-77,0 0-54,0-1-66,-1 0-57,1 0-66,0 0-76,-1-2 25,1 0-35,-1 0-38,0 0-39,1 0-43,-1 0-43,0 0-47,1-1-48,-1 1-51,0-1-53,0 0-55,1 0-58,-1-1-59,0 1-63,0-1-63,0 0-67,1 0 360,1-13-3982,0 8 2653,0 0 348,2-3-625,-4 9 2158</inkml:trace>
  <inkml:trace contextRef="#ctx0" brushRef="#br0" timeOffset="-941.5">773 496 3137,'0'-2'649,"1"-2"263,1-11 1486,-1 8-1317,-1 4-479,0 0 37,0 1 45,-1 0 51,0 1 60,0 1 66,-1 1 75,0 1 82,0 0-630,1 1-49,0 0-47,0 0-42,1 1-38,0 0-35,0 4 89,1-1-120,1 0-42,2 10 117,-3-13-122,7 29 134,-2-1-54,0 1-45,0-1-38,1 26 9,6 79 42,-11-110-113,1 3 5,-2-8 32,5-35 162,9-18-58,1-8-48,-3 4-40,8-44-22,15-52 81,-3 49-101,-30 76-40,0 1-1,1-1 1,0 1 0,0 0 0,1 0 0,-1 0 0,1 0 0,0 1 0,4-3-5,-7 6 1,-1 0 1,1 0-1,-1-1 1,1 1-1,-1 0 1,1 1-1,0-1 1,0 0-1,0 0 1,-1 1-1,1-1 0,0 1 1,0-1-1,0 1 1,0 0-1,0 0 1,0 0-1,0 0 1,0 0-1,-1 0 1,1 1-1,0-1 1,0 1-1,0-1 1,0 1-1,0 0 1,-1-1-1,1 1 1,0 0-1,-1 0 1,1 0-1,-1 1 1,1-1-1,-1 0 1,1 1-2,1 3 4,0 2 0,-1-1 1,0 0-1,0 0 0,0 1 0,0-1 1,-1 1-1,-1-1 0,1 1 1,-1 0-1,0 3-4,1-1 3,0 13 0,1 14 9,1 0 0,1-1-1,2 1 1,2-1 0,4 9-12,-11-41-22,0 0-42,0 0-40,0 0-38,1 2-120,-1-1-64,1 0-59,-1 0-52,1 1-146,1 0-53,0 0-182,2 1-477,5 1-885,-5-6 1492,0 0 38,-1-2 147,1 1 41,0-2 48,1 0 55,-3 1-431,0-1-62,7-6-1868,-2 1 939,5-5-811</inkml:trace>
  <inkml:trace contextRef="#ctx0" brushRef="#br0" timeOffset="4233.28">412 1555 3057,'-2'-10'1276,"0"0"-108,1 0-96,0 0-88,0 3-273,1 0-43,-1 0-37,-1 0-34,0-1 83,-1 1-34,-15-16 1171,10 16-1186,-1 0-71,0 1-66,0 1-61,0 1-58,-1 0-52,0 1-48,1 0-44,-3 1-4,-1 1-49,-11 2 66,10 2-149,7-1-58,1 0-1,-1 0 1,1 1 0,0-1 0,0 1-1,0 1 1,0-1 0,0 2-37,-1 0 22,1 0 1,1 1 0,-1 0-1,1 0 1,0 1 0,0 0-23,-25 43 96,25-39-76,0 1-1,0 0 1,2-1 0,-1 2-1,1 1-19,0 4 16,1 0-1,1 0 1,0 6-16,3 27 4,2-1 1,4 9-5,4 54 6,-10-38-34,-6 47 123,0-70-81,-2 10-77,2-29-23,0 0-47,-1 0-54,0 0-63,4-27 106,-3 7-76,3-9 90,0 0-71,0-1-56,-1 1-92,1 0-108,1-2 183,-1-1-33,1 1 27,-1-1-68,1-1-60,-1 1-54,1-1-48,0 0-42,-1-1-651,0 0 120,-1-3-1519,1 1 1084,0 1 539,0 0 113,-1-3-817,-2-3-905</inkml:trace>
  <inkml:trace contextRef="#ctx0" brushRef="#br0" timeOffset="4486.35">0 2017 2417,'4'-1'1069,"-1"0"-83,1 0-44,-1 0-43,1 0-43,-1 0-41,1 1-41,-1-1-39,1 0-38,-1 1-37,1-1-36,-1 1-36,1 0-34,-1-1-32,4 1 425,-2 0-437,-1-1-41,0 1-39,1 0-39,-1 0-35,0 0-35,5 0 226,-2 1-214,-1-1-59,1 0-52,-1 1-48,1-1-40,-1 1-36,7 0 18,19 1-21,-18-1-6,-7-1 4,1 0 41,-1 0 53,0 0 60,23-2-103,-16 0-110,1-1-36,4-2-68,-1 0-95,-2 0-59,-1 0-87,1 0-101,-1-1-108,-4 2 93,-1 1-61,1-1-62,-1 1-68,1-1-70,-1 1-74,1 0-76,0 0-82,-11 3 920,4-1-387,1 0-43,0 0-64,-1-1-80,-1 1 138,0 0-51,-1 1-54,1-2-61,0 1-64,0 0-59,0 0-53,0 0-46,0-1-216,1 1-46,0-1-262,2-2-722</inkml:trace>
  <inkml:trace contextRef="#ctx0" brushRef="#br0" timeOffset="5342.3">1582 1777 736,'1'-9'1623,"0"1"-115,1 0-59,2 0-60,-1 1-58,2-1-61,0 1-58,1 0-61,-3 4-745,-1 1 42,3-1 1022,-4 2-717,-1 1-282,-1 0-110,0 0-37,-1 0-6,-2 0-71,0-1-83,-1 1-94,-5-1 241,1 1-49,0 1-44,1 1-40,-5 1 24,0 1-65,-1 2-51,0 1-34,-2 1-27,0 1 0,1 1 0,0 0 0,0 1 0,2 1 0,-7 6-25,-18 24 31,35-39-33,0 1 0,0 0 0,1 0 0,-1 0 0,1 1 0,0-1 0,1 1 0,-1-1 0,1 1 0,0-1 0,0 1 0,0 1 2,1-4 0,0 0-1,-1 0 0,1 0 0,1 0 0,-1 0 0,0 0 1,0 0-1,1 0 0,-1 0 0,1 0 0,-1 0 0,1-1 1,0 1-1,0 0 0,0 0 0,0-1 0,0 1 0,0 0 1,1-1-1,-1 1 0,0-1 0,1 0 0,-1 1 0,1-1 1,-1 0-1,1 0 0,0 0 0,0 0 0,-1 0 1,14 5 0,1-1 0,-1-1 0,1-1 0,-1 0 0,7 0 0,-9-1 0,1 0 1,0 0-1,-1 1 1,0 1-1,0 1 1,0 0-1,10 5 0,-22-9 2,0-1 0,0 1 0,0-1 0,0 1-1,0-1 1,0 1 0,0 0 0,0 0 0,0-1 0,0 1 0,-1 0-1,1 0 1,0 0 0,-1 0 0,1 0 0,-1 0 0,1 0 0,-1 0-1,1 0 1,-1 0 0,0 0 0,1 0 0,-1 0 0,0 0-2,0 1 2,0-1-1,-1 0 1,1 0 0,-1 0 0,1 0-1,-1 0 1,1 0 0,-1 0 0,0 0 0,0 0-1,1 0 1,-1 0 0,0-1 0,0 1-1,0 0 1,0 0 0,0-1 0,0 1 0,0 0-2,-8 4 10,-1 0 1,0-1-1,0 0 1,-8 1-11,11-2 4,-3 0-5,-104 37 60,77-25-98,2 1-81,33-15 548,1 0-101,-1 0-96,0 0-91,1 0-87,-1 0-80,1-1-78,0 1-71,-1 0-66,1 0-62,0-1-58,1 1-51,-1-1-47,0 1-42,0-1-609,1 1 301,0-1-39,3-2-3256,-1 1 2734,0 0 690,0-1 49,0 1 55,1-1 66,0 0-592,0 0-98,1-1-335,2-2-872</inkml:trace>
  <inkml:trace contextRef="#ctx0" brushRef="#br0" timeOffset="5719.9">1971 1195 3714,'-1'-2'323,"-1"-1"88,0 0 80,1 0 68,-2-2 265,1 0 82,-2-1 258,-1-2 660,-1 4-18,1 3-675,2 3-264,-1 1-94,-5 9-372,0 1-41,2 1-39,0 1-36,-3 17 186,3 1-117,2 1-101,2 0-81,1 0-64,0-2-47,2-22-48,1 136 211,8 1-88,2 91-2,-11-224-185,1 0 39,2 30 94,-1-12-40,0-10-86,-2-5-63,0 0-84,-1-2-48,0-2-82,-1 1-95,-1-1-104,2-10-47,-1-1-36,-1 1-701,0-3-114,-1-1-94,1-1 248,0-1-37,-2-8-2720,4 6 2344,0-3-965</inkml:trace>
  <inkml:trace contextRef="#ctx0" brushRef="#br0" timeOffset="6264.49">1696 1857 1633,'2'2'1008,"1"0"-113,-1 0-58,1-1-55,0 0-55,0 0-51,0 0-50,0-1-48,1 1-45,-1-1-44,1 0-41,0-1-40,-1 1-37,1 0-35,4-2 239,-2 1-200,0-1-66,0 0-57,1 0-49,0-1-12,0 0-44,14-6 180,-14 6-192,0 0 39,0 0 154,23-9-26,-2-1-88,-6 2-101,-1 0-34,20-13 6,63-31 22,-104 55-106,0 0 1,1-1-1,-1 1 1,0 0-1,1-1 1,-1 1-1,1 0 1,-1 0-1,0 0 1,1-1-1,-1 1 1,1 0-1,-1 0 1,1 0-1,-1 0 1,1 0-1,-1 0 1,1 0-1,-1 0 1,0 0-1,1 0 1,-1 0-1,1 0 1,-1 0-1,1 0 1,-1 0-1,1 0 1,-1 0-1,1 0 1,-1 1-1,0-1 1,1 0-1,-1 0 1,1 1 0,-1-1-3,-4 16 90,-2 11 66,9-2 242,6-1-50,3-1-49,2-1-50,6 11 20,-6 1-106,-12-26-137,0 1 0,0-1 0,-1 1-1,-1-1 1,1 1 0,-1 0-1,-1-1 1,0 1 0,0-1 0,0 1-1,-2 1-24,-12 32 161,10-35-118,1-5 35,-1-9 146,2-9 81,3 7-136,4-18 201,1 1-58,1 1-52,2 0-45,2-4-9,3 0-47,5-4-16,15-14 11,-16 24-137,8-13 55,9-14 3,-9 19-112,-3 9-89,1 4-115,-19 16-69,-2 1-70,1 0-64,-1 2-58,1 0-345,0 1-97,-1 2-76,0-1-57,2 15-3396,-4-12 3073,0-3 744,0-1 37,1 0-131,-1 1-269,0-1-79,0 1-297,0 2-781</inkml:trace>
  <inkml:trace contextRef="#ctx0" brushRef="#br0" timeOffset="6631.5">2603 1674 2337,'1'-1'418,"-1"0"-46,1 0 42,-1-1 36,1-1 543,0-1 90,2-3 2568,-2 7-2793,-1 1-59,0 1-79,0 2-97,0-1-241,0-1-33,-1 4 256,-1 0-108,0 0-92,-1 3 46,2-3-181,0 0-36,-1 6 154,1 0-54,0 0-50,-1 0-46,1 1-20,0 0-48,-1-1-42,1 1-36,-1 5-13,1 0-44,0 43-32,2-34 45,0 8-27,-1-8-11,1-9-41,1-4-34,0-1-46,-1-11 219,-1 1-59,0-1-63,0 1-70,0-1-75,-1 1-80,1-1-88,-1 0-92,1-1-99,-1 1-103,0-2-110,1 0-115,-1-1-121,1-1-127,0 1 497,0 0-33,0-1-35,0 0-35,0 0 175,0 0-55,0-1-45,0 0-37,0 0-170,2-11-2598,-1 11 2817,0 0 57,0-1-58,1-2-247</inkml:trace>
  <inkml:trace contextRef="#ctx0" brushRef="#br0" timeOffset="6901.4">2534 1431 3041,'0'0'1402,"0"0"-126,0 0-617,1 0-35,-1 0-36,0 0-34,1-1 458,0 1-125,0 0-115,0-1-108,0 1-99,1 0-92,0 0-15,0 0-107,0 1-92,0-1-79,1 1-49,-1 1-70,7 6-57,-8-7-119,0 0-38,1 1-46,-1-1-38,1 2-335,1 0-116,-1 0-94,1 0 15,-1-1-42,6 7-1944,-4-6 1619,-2-2 153,0 1-113,0 0-328,0 0-833</inkml:trace>
  <inkml:trace contextRef="#ctx0" brushRef="#br0" timeOffset="7376.75">2796 1591 1457,'0'0'1804,"0"0"-416,0 0-313,0 1-75,-1-1-75,1 1-75,0-1-75,-1 1-74,1-1-74,0 1-75,-1 0-73,1 0-75,0 0-73,0 0-74,1 1-74,-1-1-73,1 1-73,-1-1-74,3 5 646,-2 1-99,1 1-89,-2 0-77,0 2-20,0 1-80,-1 2-31,-1 6 6,0 0-10,1-8-23,0 13-26,1 0-34,-1 25 40,1-5-83,3 58 43,-3-90-104,0 19 56,0-30-72,1 0-1,-1 0 1,0-1 0,0 1 0,0 0-1,0-1 1,1 1 0,-1 0-1,0-1 1,1 1 0,-1 0 0,1-1-1,-1 1 1,0 0 0,1-1-1,-1 1 1,1-1 0,0 1-1,0-1-5,6-2 138,-1-9-64,4-13-7,-10 23-57,36-85 144,29-38-49,-12 24-66,-46 87-35,0-1 1,1 1-1,1 0 0,8-10-4,-14 19 4,1 1 0,0-1 0,0 0 0,0 1 0,1 0 0,-1 0 0,2-1-4,-3 3 6,0 0 0,0-1 0,0 1 0,0 0 0,1 0 0,-1 1 0,0-1 1,1 1-1,-1 0 0,0-1 0,1 2 0,-1-1-6,-2 0 4,0 0-1,0 0 1,0 0 0,0 1-1,0-1 1,-1 0 0,1 0 0,0 1-1,0-1 1,0 1 0,-1-1 0,1 1-1,0-1 1,0 1 0,-1-1 0,1 1-1,-1 0 1,1-1 0,0 1 0,-1 0-1,1 0 1,-1-1 0,1 2-4,4 24 36,-11 35-18,4-48-1,-1 6-80,0 1 47,-1 9 53,-2 40 133,6-44-154,4 5-83,-1-16-15,1 0-41,1 0-46,2 0-51,1-1-57,2-1-63,-8-9 263,1-1-81,-1 0-80,1-1-79,0 1-80,0-1-79,0 0-80,0-1-79,0 1-80,0-1-79,1 0-78,-1-1-80,0 1-78,0-1-79,0 0-79,0-1-79,-1 1 223,0 0-106,0 0-332,1-1-855</inkml:trace>
  <inkml:trace contextRef="#ctx0" brushRef="#br0" timeOffset="8007.44">3592 1552 4866,'-7'-7'1161,"-6"-6"1464,9 9-1790,-1 1-35,2 0-164,-1 0-35,0 1-39,0 0-44,1 0-123,-1 1-36,0-1-40,0 1-42,0 0-44,-1 0-48,0 0-50,0 0-54,-2 0 197,-22-2 887,12 5-443,7 1-318,1 2-49,0 3-60,0 3-72,-7 18 97,3 0-100,4 2-83,3 0-63,2 6-37,2 0-1,1 18-36,1-53 2,0 0-1,0 0 1,1 0 0,-1 0-1,0 0 1,1 0 0,-1 0-1,1 0 1,-1 0 0,1-1-1,0 1 1,0 0 0,0-1-1,0 1 1,0 0 0,0-1-1,1 1 1,-1-1 0,0 1-1,1-1 1,-1 0-1,2 1 0,-2-1 1,1-1 1,-1 1 0,1-1 0,-1 1 0,1-1-1,-1 1 1,1-1 0,0 0 0,-1 0 0,1 0 0,0 0-1,-1 0 1,1 0 0,0 0 0,-1-1 0,1 1 0,-1 0-1,1-1 1,0 0 0,-1 1 0,1-1 0,-1 0 0,0 0-1,1 0 1,-1 0 0,0 0 0,1 0 0,-1 0-1,0 0 1,0 0 0,0 0 0,0-1 0,0 1 0,0-1-1,0 1 1,-1-1 0,1 1 0,0-1 0,-1 0-3,19-33 44,-10 20-23,-1 0 0,-1 0-1,0-1 1,-1 1 0,-1-2 0,0 1 0,-1 0-1,1-13-20,-4 11 26,2-29 13,-3 44-33,0 1 0,-1 0-1,1 0 1,0-1-1,-1 1 1,1 0 0,-1 0-1,0 0 1,1 0-1,-1 0 1,0 0 0,-1 0-1,1 0 1,0 0-1,0 0 1,-1 0 0,0 0-6,2 2 2,0 0 1,0 0 0,-1 0 0,1 0 0,0 0 0,0 0 0,0 0-1,-1 0 1,1 0 0,0 0 0,0-1 0,-1 1 0,1 0 0,0 1 0,0-1-1,0 0 1,-1 0 0,1 0 0,0 0 0,0 0 0,0 0 0,-1 0-1,1 0 1,0 0 0,0 0 0,0 0 0,0 0 0,-1 1 0,1-1-1,0 0 1,0 0 0,0 0 0,0 0 0,-1 1 0,1-1 0,0 0 0,0 0-1,0 0 1,0 0 0,0 1 0,0-1-3,-7 15 77,0 18 1,13 22-19,-1-13-41,0-12-16,0-1 0,2-1 0,1 1 0,1-1 0,10 18-2,12 42-10,-23-63 10,44 164 17,-45-156-12,-1 0-1,-2 0 0,-2 0 1,-1 28-5,-2-51 3,1-1-1,-2 1 1,1-1 0,-2 0 0,1 0 0,-1 0 0,0 0 0,-1-1-1,0 1 1,0-1 0,-1 0 0,0 0 0,-1 0 0,1-1 0,-2 1-1,0 0-2,-6 3 0,0 0-1,0 0 0,-1-1 1,0-1-1,0 0 0,-1-2 0,-1 1 1,-9 2 0,-43 12-131,53-19 48,-1 0 1,1-2-1,-9 1 83,-11-3-173,1-4-36,1-5-37,0-5-39,-4-7-234,24 13 300,0 0-45,2 0 0,0 0-48,2 0-55,0-1-63,-2-3-207,7 7 272,0-1-33,1 1-35,0-1-37,1 0-38,0 0-42,1-1-41,1 1-45,1 0-46,0-1-47,2 1-51,0-1-51,1 1-54,1-1-55,-1 4 363,-1 0-38,3-3-362,1 0-42,18-19-2487</inkml:trace>
  <inkml:trace contextRef="#ctx0" brushRef="#br0" timeOffset="8595.77">3929 1518 5795,'0'0'595,"0"0"401,-1 0 57,-1 0 2527,2 0-2111,0 0-650,0 1-56,0-1-68,0 1-81,1 0-93,0 0-104,1 1-119,-2-1-196,1 0-35,3 3 517,-1-2-41,-2-1-138,0 0-39,-2-1-44,0 0-50,-1 0-34,-2 0-75,-1 0-83,-1 1-91,-13 4 259,-1 0-37,-16 8 110,-4 8-76,11-1-133,2 4-38,5-4-49,-13 16-7,33-34-19,1 0 1,-1 1-1,1-1 1,-1 1-1,1-1 1,0 1-1,0 0 1,1-1-1,-1 1 1,0 0-1,1 0 0,0 0 1,-1-1-1,1 1 1,0 0-1,1 1 1,-1-3 0,1 0-1,-1 0 0,1 0 0,-1 0 0,1 0 1,0-1-1,0 1 0,-1 0 0,1 0 0,0 0 1,0-1-1,0 1 0,0 0 0,0-1 1,0 1-1,0-1 0,0 1 0,0-1 0,0 0 1,0 1-1,0-1 0,0 0 0,1 0 0,-1 0 1,0 0-1,0 0 0,1 0 1,32 1-8,3-2 12,-19 0 0,-1 0 0,0-1 0,5-1-4,-11 0-2,0 2 1,0-1-1,0 2 0,0-1 1,0 2-1,0-1 0,0 1 1,-1 1-1,1 0 0,4 2 2,-11-3 0,-1 0-1,1 0 1,0 1 0,0 0-1,0 0 1,-1 0-1,1 0 1,-1 1-1,0-1 1,1 1-1,-1 0 1,0 0-1,-1 0 1,1 0 0,-1 0-1,1 1 1,-1-1-1,0 1 1,0-1-1,0 1 1,-1 0-1,1 0 1,-1 0 0,0 0-1,0 0 1,0 0-1,-1 0 1,1 3 0,-2-3 2,1 1 0,0-1 0,-1 0 0,0 0 0,0 1-1,0-1 1,0 0 0,-1 0 0,1 0 0,-1 0 0,0-1 0,0 1 0,-1 0 0,1-1 0,-1 1 0,0-1 0,0 0 0,0 0 0,0 0 0,0-1 0,-1 1 0,1-1 0,-1 1 0,0-1 0,0 0-2,-17 9 5,1-2 1,-1 0-1,-1-2 1,-9 3-6,-1 0-7,23-7-68,-4 2 34,-6 2 12,7-3-53,1-1-71,0 0-112,2-2-65,0-1-118,5 0 174,-1-1-37,1 1-38,0-1-42,2 0 179,0 0-88,0 0-84,1 0-80,0 0-74,0-1-71,0 1-66,0-1-61,1 0-58,-1 1-52,1-1-48,1 0-45,-1 0-39,1 0-34,2-1-1100,-2 3 1470,0-1-43,0 0-37,-1 1-34,2-1-188,-1 0-33,3 0-206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36F5E8-26D5-4EC3-874B-2B033CE62E5B}" type="datetimeFigureOut">
              <a:rPr lang="en-US" smtClean="0"/>
              <a:t>11/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919B5B-543D-4708-8FB8-053703CA7793}" type="slidenum">
              <a:rPr lang="en-US" smtClean="0"/>
              <a:t>‹#›</a:t>
            </a:fld>
            <a:endParaRPr lang="en-US"/>
          </a:p>
        </p:txBody>
      </p:sp>
    </p:spTree>
    <p:extLst>
      <p:ext uri="{BB962C8B-B14F-4D97-AF65-F5344CB8AC3E}">
        <p14:creationId xmlns:p14="http://schemas.microsoft.com/office/powerpoint/2010/main" val="1455541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8973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030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270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8017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929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648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852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41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6825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059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723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990911-818C-4CF0-BBD3-C8B76E2831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9140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2096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9269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607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960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latinLnBrk="1">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9676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9045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0887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latinLnBrk="1">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600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65576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BA9079-1DED-4FA9-AE53-9FC3999E38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721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0393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14558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16786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591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196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459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20622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48945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4866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93898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585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4681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44C3489-8257-4E60-994D-6A5CEE67ED7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9154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44C3489-8257-4E60-994D-6A5CEE67ED7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432380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20FB8-C7E5-4D6B-872D-A276A4F16C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1258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31540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7175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95526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373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919B5B-543D-4708-8FB8-053703CA77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190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5650" y="1281113"/>
            <a:ext cx="5880100" cy="3308350"/>
          </a:xfrm>
        </p:spPr>
      </p:sp>
      <p:sp>
        <p:nvSpPr>
          <p:cNvPr id="3" name="Notes Placeholder 2">
            <a:extLst>
              <a:ext uri="{FF2B5EF4-FFF2-40B4-BE49-F238E27FC236}">
                <a16:creationId xmlns:a16="http://schemas.microsoft.com/office/drawing/2014/main" id="{7BF1DAAB-5CB7-423F-BDB0-7B3B181FA8CA}"/>
              </a:ext>
            </a:extLst>
          </p:cNvPr>
          <p:cNvSpPr>
            <a:spLocks noGrp="1"/>
          </p:cNvSpPr>
          <p:nvPr>
            <p:ph type="body" idx="1"/>
          </p:nvPr>
        </p:nvSpPr>
        <p:spPr/>
        <p:txBody>
          <a:bodyPr/>
          <a:lstStyle/>
          <a:p>
            <a:pPr rtl="0" fontAlgn="base"/>
            <a:endParaRPr lang="en-US" dirty="0"/>
          </a:p>
        </p:txBody>
      </p:sp>
    </p:spTree>
    <p:extLst>
      <p:ext uri="{BB962C8B-B14F-4D97-AF65-F5344CB8AC3E}">
        <p14:creationId xmlns:p14="http://schemas.microsoft.com/office/powerpoint/2010/main" val="2034190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9513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5909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12285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8/2023 4:0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0339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27.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33.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27.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38.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41942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88894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0334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525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035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590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59865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29311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953218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7616850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007174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033845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823305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27677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0671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84205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770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228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187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06186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9043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404374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70125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5315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t Changin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6AC6BDA-AA9F-46D6-AFF4-7D730AF91240}"/>
              </a:ext>
            </a:extLst>
          </p:cNvPr>
          <p:cNvSpPr/>
          <p:nvPr userDrawn="1"/>
        </p:nvSpPr>
        <p:spPr bwMode="auto">
          <a:xfrm>
            <a:off x="2127903" y="1469877"/>
            <a:ext cx="10064098" cy="5388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dirty="0"/>
              <a:t>Click to edit Master title style</a:t>
            </a:r>
          </a:p>
        </p:txBody>
      </p:sp>
      <p:sp>
        <p:nvSpPr>
          <p:cNvPr id="4" name="Subtitle 2">
            <a:extLst>
              <a:ext uri="{FF2B5EF4-FFF2-40B4-BE49-F238E27FC236}">
                <a16:creationId xmlns:a16="http://schemas.microsoft.com/office/drawing/2014/main" id="{CE0F8E6A-D862-41F4-919B-6DDA7A6EE920}"/>
              </a:ext>
            </a:extLst>
          </p:cNvPr>
          <p:cNvSpPr txBox="1">
            <a:spLocks/>
          </p:cNvSpPr>
          <p:nvPr userDrawn="1"/>
        </p:nvSpPr>
        <p:spPr bwMode="auto">
          <a:xfrm>
            <a:off x="1264069" y="6626534"/>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4127403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0395198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8728873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32085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0651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94522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Font typeface="Arial" panose="020B0604020202020204" pitchFamily="34" charset="0"/>
              <a:buChar char="•"/>
              <a:defRPr/>
            </a:lvl1pPr>
            <a:lvl2pPr marL="457200" indent="-228600">
              <a:buFont typeface="Arial" panose="020B0604020202020204" pitchFamily="34" charset="0"/>
              <a:buChar char="•"/>
              <a:defRPr/>
            </a:lvl2pPr>
            <a:lvl3pPr marL="657225" indent="-200025">
              <a:buFont typeface="Arial" panose="020B0604020202020204" pitchFamily="34" charset="0"/>
              <a:buChar char="•"/>
              <a:defRPr/>
            </a:lvl3pPr>
            <a:lvl4pPr marL="842963" indent="-180975">
              <a:buFont typeface="Arial" panose="020B0604020202020204" pitchFamily="34" charset="0"/>
              <a:buChar char="•"/>
              <a:defRPr/>
            </a:lvl4pPr>
            <a:lvl5pPr marL="1023938" indent="-168275">
              <a:buFont typeface="Arial" panose="020B0604020202020204" pitchFamily="34" charset="0"/>
              <a:buChar cha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534817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401837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2082944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4579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221613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8461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370619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328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94340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14611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2058474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76216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273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1826993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8861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3362301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13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158048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379029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3103502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207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495665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6627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330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1165096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7455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2138304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5910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52876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287439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66247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9034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09543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92419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885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4745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404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8471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993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26999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440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7144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93578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692814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513319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008801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670533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951947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99313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3065026"/>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953609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22745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263684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6817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87962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2655706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10307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82291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49162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96785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35514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10074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86116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87989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89988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19811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7404309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9747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5420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10989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68009075"/>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1826454"/>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10161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798258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436883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09372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18172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2.xml"/><Relationship Id="rId21" Type="http://schemas.openxmlformats.org/officeDocument/2006/relationships/slideLayout" Target="../slideLayouts/slideLayout47.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16" Type="http://schemas.openxmlformats.org/officeDocument/2006/relationships/slideLayout" Target="../slideLayouts/slideLayout42.xml"/><Relationship Id="rId11" Type="http://schemas.openxmlformats.org/officeDocument/2006/relationships/slideLayout" Target="../slideLayouts/slideLayout37.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74" Type="http://schemas.openxmlformats.org/officeDocument/2006/relationships/slideLayout" Target="../slideLayouts/slideLayout100.xml"/><Relationship Id="rId79" Type="http://schemas.openxmlformats.org/officeDocument/2006/relationships/slideLayout" Target="../slideLayouts/slideLayout105.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82" Type="http://schemas.openxmlformats.org/officeDocument/2006/relationships/theme" Target="../theme/theme2.xml"/><Relationship Id="rId19" Type="http://schemas.openxmlformats.org/officeDocument/2006/relationships/slideLayout" Target="../slideLayouts/slideLayout4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77" Type="http://schemas.openxmlformats.org/officeDocument/2006/relationships/slideLayout" Target="../slideLayouts/slideLayout103.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80" Type="http://schemas.openxmlformats.org/officeDocument/2006/relationships/slideLayout" Target="../slideLayouts/slideLayout106.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75" Type="http://schemas.openxmlformats.org/officeDocument/2006/relationships/slideLayout" Target="../slideLayouts/slideLayout101.xml"/><Relationship Id="rId83" Type="http://schemas.openxmlformats.org/officeDocument/2006/relationships/image" Target="../media/image2.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slideLayout" Target="../slideLayouts/slideLayout99.xml"/><Relationship Id="rId78" Type="http://schemas.openxmlformats.org/officeDocument/2006/relationships/slideLayout" Target="../slideLayouts/slideLayout104.xml"/><Relationship Id="rId81" Type="http://schemas.openxmlformats.org/officeDocument/2006/relationships/slideLayout" Target="../slideLayouts/slideLayout10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9" Type="http://schemas.openxmlformats.org/officeDocument/2006/relationships/slideLayout" Target="../slideLayouts/slideLayout65.xml"/><Relationship Id="rId34" Type="http://schemas.openxmlformats.org/officeDocument/2006/relationships/slideLayout" Target="../slideLayouts/slideLayout60.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6" Type="http://schemas.openxmlformats.org/officeDocument/2006/relationships/slideLayout" Target="../slideLayouts/slideLayout102.xml"/><Relationship Id="rId7" Type="http://schemas.openxmlformats.org/officeDocument/2006/relationships/slideLayout" Target="../slideLayouts/slideLayout33.xml"/><Relationship Id="rId71" Type="http://schemas.openxmlformats.org/officeDocument/2006/relationships/slideLayout" Target="../slideLayouts/slideLayout97.xml"/><Relationship Id="rId2" Type="http://schemas.openxmlformats.org/officeDocument/2006/relationships/slideLayout" Target="../slideLayouts/slideLayout28.xml"/><Relationship Id="rId29" Type="http://schemas.openxmlformats.org/officeDocument/2006/relationships/slideLayout" Target="../slideLayouts/slideLayout55.xml"/><Relationship Id="rId24" Type="http://schemas.openxmlformats.org/officeDocument/2006/relationships/slideLayout" Target="../slideLayouts/slideLayout50.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66"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8"/>
            </p:custDataLst>
            <p:extLst>
              <p:ext uri="{D42A27DB-BD31-4B8C-83A1-F6EECF244321}">
                <p14:modId xmlns:p14="http://schemas.microsoft.com/office/powerpoint/2010/main" val="42731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03" imgH="503" progId="TCLayout.ActiveDocument.1">
                  <p:embed/>
                </p:oleObj>
              </mc:Choice>
              <mc:Fallback>
                <p:oleObj name="think-cell Slide" r:id="rId30"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9"/>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64129295"/>
      </p:ext>
    </p:extLst>
  </p:cSld>
  <p:clrMap bg1="lt1" tx1="dk1" bg2="lt2" tx2="dk2" accent1="accent1" accent2="accent2" accent3="accent3" accent4="accent4" accent5="accent5" accent6="accent6" hlink="hlink" folHlink="folHlink"/>
  <p:sldLayoutIdLst>
    <p:sldLayoutId id="2147487207" r:id="rId1"/>
    <p:sldLayoutId id="2147487208" r:id="rId2"/>
    <p:sldLayoutId id="2147487209" r:id="rId3"/>
    <p:sldLayoutId id="2147487210" r:id="rId4"/>
    <p:sldLayoutId id="2147487211" r:id="rId5"/>
    <p:sldLayoutId id="2147487212" r:id="rId6"/>
    <p:sldLayoutId id="2147487213" r:id="rId7"/>
    <p:sldLayoutId id="2147487214" r:id="rId8"/>
    <p:sldLayoutId id="2147487215" r:id="rId9"/>
    <p:sldLayoutId id="2147487216" r:id="rId10"/>
    <p:sldLayoutId id="2147487217" r:id="rId11"/>
    <p:sldLayoutId id="2147487218" r:id="rId12"/>
    <p:sldLayoutId id="2147487219" r:id="rId13"/>
    <p:sldLayoutId id="2147487220" r:id="rId14"/>
    <p:sldLayoutId id="2147487221" r:id="rId15"/>
    <p:sldLayoutId id="2147487222" r:id="rId16"/>
    <p:sldLayoutId id="2147487223" r:id="rId17"/>
    <p:sldLayoutId id="2147487224" r:id="rId18"/>
    <p:sldLayoutId id="2147487225" r:id="rId19"/>
    <p:sldLayoutId id="2147487226" r:id="rId20"/>
    <p:sldLayoutId id="2147487227" r:id="rId21"/>
    <p:sldLayoutId id="2147487228" r:id="rId22"/>
    <p:sldLayoutId id="2147487229" r:id="rId23"/>
    <p:sldLayoutId id="2147487230" r:id="rId24"/>
    <p:sldLayoutId id="2147487231" r:id="rId25"/>
    <p:sldLayoutId id="2147489121"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3"/>
          <a:srcRect l="762"/>
          <a:stretch/>
        </p:blipFill>
        <p:spPr>
          <a:xfrm rot="5400000">
            <a:off x="9509760" y="2843773"/>
            <a:ext cx="6858000" cy="1170455"/>
          </a:xfrm>
          <a:prstGeom prst="rect">
            <a:avLst/>
          </a:prstGeom>
        </p:spPr>
      </p:pic>
      <p:sp>
        <p:nvSpPr>
          <p:cNvPr id="6" name="TextBox 5">
            <a:extLst>
              <a:ext uri="{FF2B5EF4-FFF2-40B4-BE49-F238E27FC236}">
                <a16:creationId xmlns:a16="http://schemas.microsoft.com/office/drawing/2014/main" id="{B6FF2471-D9D9-6361-1DDE-5401FF1B2BBC}"/>
              </a:ext>
            </a:extLst>
          </p:cNvPr>
          <p:cNvSpPr txBox="1"/>
          <p:nvPr>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022787140"/>
      </p:ext>
    </p:extLst>
  </p:cSld>
  <p:clrMap bg1="dk1" tx1="lt1" bg2="dk2" tx2="lt2" accent1="accent1" accent2="accent2" accent3="accent3" accent4="accent4" accent5="accent5" accent6="accent6" hlink="hlink" folHlink="folHlink"/>
  <p:sldLayoutIdLst>
    <p:sldLayoutId id="2147487646" r:id="rId1"/>
    <p:sldLayoutId id="2147487647" r:id="rId2"/>
    <p:sldLayoutId id="2147487648" r:id="rId3"/>
    <p:sldLayoutId id="2147487649" r:id="rId4"/>
    <p:sldLayoutId id="2147487650" r:id="rId5"/>
    <p:sldLayoutId id="2147487651" r:id="rId6"/>
    <p:sldLayoutId id="2147487652" r:id="rId7"/>
    <p:sldLayoutId id="2147487653" r:id="rId8"/>
    <p:sldLayoutId id="2147487654" r:id="rId9"/>
    <p:sldLayoutId id="2147487655" r:id="rId10"/>
    <p:sldLayoutId id="2147487656" r:id="rId11"/>
    <p:sldLayoutId id="2147487657" r:id="rId12"/>
    <p:sldLayoutId id="2147487658" r:id="rId13"/>
    <p:sldLayoutId id="2147487659" r:id="rId14"/>
    <p:sldLayoutId id="2147487660" r:id="rId15"/>
    <p:sldLayoutId id="2147487661" r:id="rId16"/>
    <p:sldLayoutId id="2147487662" r:id="rId17"/>
    <p:sldLayoutId id="2147487663" r:id="rId18"/>
    <p:sldLayoutId id="2147487664" r:id="rId19"/>
    <p:sldLayoutId id="2147487665" r:id="rId20"/>
    <p:sldLayoutId id="2147487666" r:id="rId21"/>
    <p:sldLayoutId id="2147487667" r:id="rId22"/>
    <p:sldLayoutId id="2147487668" r:id="rId23"/>
    <p:sldLayoutId id="2147487669" r:id="rId24"/>
    <p:sldLayoutId id="2147487670" r:id="rId25"/>
    <p:sldLayoutId id="2147487671" r:id="rId26"/>
    <p:sldLayoutId id="2147487672" r:id="rId27"/>
    <p:sldLayoutId id="2147487673" r:id="rId28"/>
    <p:sldLayoutId id="2147487674" r:id="rId29"/>
    <p:sldLayoutId id="2147487675" r:id="rId30"/>
    <p:sldLayoutId id="2147487676" r:id="rId31"/>
    <p:sldLayoutId id="2147487677" r:id="rId32"/>
    <p:sldLayoutId id="2147487678" r:id="rId33"/>
    <p:sldLayoutId id="2147487679" r:id="rId34"/>
    <p:sldLayoutId id="2147487680" r:id="rId35"/>
    <p:sldLayoutId id="2147487681" r:id="rId36"/>
    <p:sldLayoutId id="2147487682" r:id="rId37"/>
    <p:sldLayoutId id="2147487683" r:id="rId38"/>
    <p:sldLayoutId id="2147487684" r:id="rId39"/>
    <p:sldLayoutId id="2147487685" r:id="rId40"/>
    <p:sldLayoutId id="2147487686" r:id="rId41"/>
    <p:sldLayoutId id="2147487687" r:id="rId42"/>
    <p:sldLayoutId id="2147487688" r:id="rId43"/>
    <p:sldLayoutId id="2147487689" r:id="rId44"/>
    <p:sldLayoutId id="2147487690" r:id="rId45"/>
    <p:sldLayoutId id="2147487691" r:id="rId46"/>
    <p:sldLayoutId id="2147487692" r:id="rId47"/>
    <p:sldLayoutId id="2147487693" r:id="rId48"/>
    <p:sldLayoutId id="2147487694" r:id="rId49"/>
    <p:sldLayoutId id="2147487695" r:id="rId50"/>
    <p:sldLayoutId id="2147487696" r:id="rId51"/>
    <p:sldLayoutId id="2147487697" r:id="rId52"/>
    <p:sldLayoutId id="2147487698" r:id="rId53"/>
    <p:sldLayoutId id="2147487699" r:id="rId54"/>
    <p:sldLayoutId id="2147487700" r:id="rId55"/>
    <p:sldLayoutId id="2147487701" r:id="rId56"/>
    <p:sldLayoutId id="2147487702" r:id="rId57"/>
    <p:sldLayoutId id="2147487703" r:id="rId58"/>
    <p:sldLayoutId id="2147487704" r:id="rId59"/>
    <p:sldLayoutId id="2147487705" r:id="rId60"/>
    <p:sldLayoutId id="2147487706" r:id="rId61"/>
    <p:sldLayoutId id="2147487707" r:id="rId62"/>
    <p:sldLayoutId id="2147487708" r:id="rId63"/>
    <p:sldLayoutId id="2147487709" r:id="rId64"/>
    <p:sldLayoutId id="2147487710" r:id="rId65"/>
    <p:sldLayoutId id="2147487711" r:id="rId66"/>
    <p:sldLayoutId id="2147487712" r:id="rId67"/>
    <p:sldLayoutId id="2147487713" r:id="rId68"/>
    <p:sldLayoutId id="2147487714" r:id="rId69"/>
    <p:sldLayoutId id="2147487715" r:id="rId70"/>
    <p:sldLayoutId id="2147487716" r:id="rId71"/>
    <p:sldLayoutId id="2147487717" r:id="rId72"/>
    <p:sldLayoutId id="2147487718" r:id="rId73"/>
    <p:sldLayoutId id="2147487719" r:id="rId74"/>
    <p:sldLayoutId id="2147487720" r:id="rId75"/>
    <p:sldLayoutId id="2147487721" r:id="rId76"/>
    <p:sldLayoutId id="2147487722" r:id="rId77"/>
    <p:sldLayoutId id="2147487723" r:id="rId78"/>
    <p:sldLayoutId id="2147487724" r:id="rId79"/>
    <p:sldLayoutId id="2147487725" r:id="rId80"/>
    <p:sldLayoutId id="2147487728"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10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xml"/><Relationship Id="rId4" Type="http://schemas.openxmlformats.org/officeDocument/2006/relationships/hyperlink" Target="https://learn.microsoft.com/en-us/azure/search/search-capacity-planning"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hyperlink" Target="https://azure.microsoft.com/en-us/explore/global-infrastructure/products-by-region/?products=search&amp;regions=non-regional,us-east,us-east-2,us-central,us-north-central,us-south-central,us-west-central,us-west,us-west-2,us-west-3,asia-pacific-east,asia-pacific-southeast,china-non-regional,china-east,china-east-2,china-east-3,china-north,china-north-2,china-north-3" TargetMode="External"/><Relationship Id="rId1" Type="http://schemas.openxmlformats.org/officeDocument/2006/relationships/slideLayout" Target="../slideLayouts/slideLayout7.xml"/><Relationship Id="rId5" Type="http://schemas.openxmlformats.org/officeDocument/2006/relationships/image" Target="../media/image192.png"/><Relationship Id="rId4" Type="http://schemas.openxmlformats.org/officeDocument/2006/relationships/image" Target="../media/image191.png"/></Relationships>
</file>

<file path=ppt/slides/_rels/slide102.xml.rels><?xml version="1.0" encoding="UTF-8" standalone="yes"?>
<Relationships xmlns="http://schemas.openxmlformats.org/package/2006/relationships"><Relationship Id="rId2" Type="http://schemas.openxmlformats.org/officeDocument/2006/relationships/hyperlink" Target="https://learn.microsoft.com/en-us/azure/search/search-reliability#availability-zone-support" TargetMode="Externa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8" Type="http://schemas.openxmlformats.org/officeDocument/2006/relationships/hyperlink" Target="https://github.com/Azure-Samples/azure-search-comparison-tool" TargetMode="External"/><Relationship Id="rId13" Type="http://schemas.openxmlformats.org/officeDocument/2006/relationships/hyperlink" Target="https://techcommunity.microsoft.com/t5/azure-ai-services-blog/azure-cognitive-search-outperforming-vector-search-with-hybrid/ba-p/3929167" TargetMode="External"/><Relationship Id="rId3" Type="http://schemas.openxmlformats.org/officeDocument/2006/relationships/hyperlink" Target="https://python.langchain.com/en/latest/modules/indexes/vectorstores/examples/azuresearch.html" TargetMode="External"/><Relationship Id="rId7" Type="http://schemas.openxmlformats.org/officeDocument/2006/relationships/hyperlink" Target="https://github.com/Azure-Samples/chat-with-your-data-solution-accelerator" TargetMode="External"/><Relationship Id="rId12" Type="http://schemas.openxmlformats.org/officeDocument/2006/relationships/hyperlink" Target="https://learn.microsoft.com/en-us/azure/cognitive-services/computer-vision/concept-image-retrieval" TargetMode="External"/><Relationship Id="rId2" Type="http://schemas.openxmlformats.org/officeDocument/2006/relationships/hyperlink" Target="https://cookbook.openai.com/examples/vector_databases/azuresearch/getting_started_with_azure_cognitive_search_and_openai" TargetMode="External"/><Relationship Id="rId1" Type="http://schemas.openxmlformats.org/officeDocument/2006/relationships/slideLayout" Target="../slideLayouts/slideLayout12.xml"/><Relationship Id="rId6" Type="http://schemas.openxmlformats.org/officeDocument/2006/relationships/hyperlink" Target="http://tbd/" TargetMode="External"/><Relationship Id="rId11" Type="http://schemas.openxmlformats.org/officeDocument/2006/relationships/hyperlink" Target="https://learn.microsoft.com/en-us/azure/cognitive-services/openai/" TargetMode="External"/><Relationship Id="rId5" Type="http://schemas.openxmlformats.org/officeDocument/2006/relationships/hyperlink" Target="https://github.com/Azure-Samples/azure-search-openai-demo/" TargetMode="External"/><Relationship Id="rId10" Type="http://schemas.openxmlformats.org/officeDocument/2006/relationships/hyperlink" Target="https://github.com/Azure/cognitive-search-vector-pr" TargetMode="External"/><Relationship Id="rId4" Type="http://schemas.openxmlformats.org/officeDocument/2006/relationships/hyperlink" Target="https://gpt-index.readthedocs.io/en/latest/examples/vector_stores/CognitiveSearchIndexDemo.html" TargetMode="External"/><Relationship Id="rId9" Type="http://schemas.openxmlformats.org/officeDocument/2006/relationships/hyperlink" Target="https://learn.microsoft.com/en-us/azure/search/vector-search-overview"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hyperlink" Target="https://partner.microsoft.com/en-hk/community/hk-partner-hub/training-events" TargetMode="External"/><Relationship Id="rId5" Type="http://schemas.openxmlformats.org/officeDocument/2006/relationships/hyperlink" Target="https://msevents.microsoft.com/event?id=1725929090" TargetMode="External"/><Relationship Id="rId4" Type="http://schemas.microsoft.com/office/2007/relationships/hdphoto" Target="../media/hdphoto12.wdp"/></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azure/search/search-what-is-an-index#content-of-a-search-index" TargetMode="External"/><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rest/api/searchservice/create-index" TargetMode="External"/><Relationship Id="rId2" Type="http://schemas.openxmlformats.org/officeDocument/2006/relationships/hyperlink" Target="https://learn.microsoft.com/en-us/azure/search/search-lucene-query-architecture" TargetMode="External"/><Relationship Id="rId1" Type="http://schemas.openxmlformats.org/officeDocument/2006/relationships/slideLayout" Target="../slideLayouts/slideLayout7.xml"/><Relationship Id="rId4" Type="http://schemas.openxmlformats.org/officeDocument/2006/relationships/hyperlink" Target="https://learn.microsoft.com/en-us/azure/search/search-what-is-an-index#field-attribute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hyperlink" Target="https://github.com/Azure-Samples/azure-search-postman-samples" TargetMode="External"/><Relationship Id="rId4" Type="http://schemas.openxmlformats.org/officeDocument/2006/relationships/hyperlink" Target="https://learn.microsoft.com/en-us/azure/search/samples-res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learn.microsoft.com/en-us/azure/search/tutorial-multiple-data-sources"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search/search-howto-large-index#parallel-indexing" TargetMode="External"/><Relationship Id="rId2" Type="http://schemas.openxmlformats.org/officeDocument/2006/relationships/hyperlink" Target="https://learn.microsoft.com/en-us/azure/search/search-reliability#data-sync" TargetMode="Externa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hyperlink" Target="https://learn.microsoft.com/en-us/azure/search/cognitive-search-working-with-skillsets" TargetMode="External"/><Relationship Id="rId4" Type="http://schemas.openxmlformats.org/officeDocument/2006/relationships/hyperlink" Target="https://learn.microsoft.com/en-us/azure/search/cognitive-search-concept-intro"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18"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7.png"/><Relationship Id="rId17" Type="http://schemas.microsoft.com/office/2007/relationships/hdphoto" Target="../media/hdphoto6.wdp"/><Relationship Id="rId2" Type="http://schemas.openxmlformats.org/officeDocument/2006/relationships/notesSlide" Target="../notesSlides/notesSlide5.xml"/><Relationship Id="rId16"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image" Target="../media/image83.svg"/><Relationship Id="rId11" Type="http://schemas.microsoft.com/office/2007/relationships/hdphoto" Target="../media/hdphoto3.wdp"/><Relationship Id="rId5" Type="http://schemas.openxmlformats.org/officeDocument/2006/relationships/image" Target="../media/image82.png"/><Relationship Id="rId15" Type="http://schemas.microsoft.com/office/2007/relationships/hdphoto" Target="../media/hdphoto5.wdp"/><Relationship Id="rId10" Type="http://schemas.openxmlformats.org/officeDocument/2006/relationships/image" Target="../media/image86.png"/><Relationship Id="rId4" Type="http://schemas.openxmlformats.org/officeDocument/2006/relationships/image" Target="../media/image81.svg"/><Relationship Id="rId9" Type="http://schemas.openxmlformats.org/officeDocument/2006/relationships/image" Target="../media/image85.png"/><Relationship Id="rId14" Type="http://schemas.openxmlformats.org/officeDocument/2006/relationships/image" Target="../media/image88.png"/></Relationships>
</file>

<file path=ppt/slides/_rels/slide2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NULL"/></Relationships>
</file>

<file path=ppt/slides/_rels/slide2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customXml" Target="../ink/ink3.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customXml" Target="../ink/ink4.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customXml" Target="../ink/ink5.xm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NULL"/></Relationships>
</file>

<file path=ppt/slides/_rels/slide28.xml.rels><?xml version="1.0" encoding="UTF-8" standalone="yes"?>
<Relationships xmlns="http://schemas.openxmlformats.org/package/2006/relationships"><Relationship Id="rId8" Type="http://schemas.openxmlformats.org/officeDocument/2006/relationships/customXml" Target="../ink/ink9.xml"/><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customXml" Target="../ink/ink6.xml"/><Relationship Id="rId1" Type="http://schemas.openxmlformats.org/officeDocument/2006/relationships/slideLayout" Target="../slideLayouts/slideLayout21.xml"/><Relationship Id="rId6" Type="http://schemas.openxmlformats.org/officeDocument/2006/relationships/customXml" Target="../ink/ink8.xml"/><Relationship Id="rId5" Type="http://schemas.openxmlformats.org/officeDocument/2006/relationships/image" Target="NULL"/><Relationship Id="rId4" Type="http://schemas.openxmlformats.org/officeDocument/2006/relationships/customXml" Target="../ink/ink7.xml"/><Relationship Id="rId9" Type="http://schemas.openxmlformats.org/officeDocument/2006/relationships/image" Target="NULL"/></Relationships>
</file>

<file path=ppt/slides/_rels/slide29.xml.rels><?xml version="1.0" encoding="UTF-8" standalone="yes"?>
<Relationships xmlns="http://schemas.openxmlformats.org/package/2006/relationships"><Relationship Id="rId8" Type="http://schemas.openxmlformats.org/officeDocument/2006/relationships/customXml" Target="../ink/ink13.xml"/><Relationship Id="rId13" Type="http://schemas.openxmlformats.org/officeDocument/2006/relationships/image" Target="NULL"/><Relationship Id="rId18" Type="http://schemas.openxmlformats.org/officeDocument/2006/relationships/customXml" Target="../ink/ink18.xml"/><Relationship Id="rId3" Type="http://schemas.openxmlformats.org/officeDocument/2006/relationships/image" Target="NULL"/><Relationship Id="rId21" Type="http://schemas.openxmlformats.org/officeDocument/2006/relationships/image" Target="NULL"/><Relationship Id="rId7" Type="http://schemas.openxmlformats.org/officeDocument/2006/relationships/image" Target="NULL"/><Relationship Id="rId12" Type="http://schemas.openxmlformats.org/officeDocument/2006/relationships/customXml" Target="../ink/ink15.xml"/><Relationship Id="rId17" Type="http://schemas.openxmlformats.org/officeDocument/2006/relationships/image" Target="NULL"/><Relationship Id="rId2" Type="http://schemas.openxmlformats.org/officeDocument/2006/relationships/customXml" Target="../ink/ink10.xml"/><Relationship Id="rId16" Type="http://schemas.openxmlformats.org/officeDocument/2006/relationships/customXml" Target="../ink/ink17.xml"/><Relationship Id="rId20" Type="http://schemas.openxmlformats.org/officeDocument/2006/relationships/customXml" Target="../ink/ink19.xml"/><Relationship Id="rId1" Type="http://schemas.openxmlformats.org/officeDocument/2006/relationships/slideLayout" Target="../slideLayouts/slideLayout21.xml"/><Relationship Id="rId6" Type="http://schemas.openxmlformats.org/officeDocument/2006/relationships/customXml" Target="../ink/ink12.xml"/><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10" Type="http://schemas.openxmlformats.org/officeDocument/2006/relationships/customXml" Target="../ink/ink14.xml"/><Relationship Id="rId19" Type="http://schemas.openxmlformats.org/officeDocument/2006/relationships/image" Target="NULL"/><Relationship Id="rId4" Type="http://schemas.openxmlformats.org/officeDocument/2006/relationships/customXml" Target="../ink/ink11.xml"/><Relationship Id="rId9" Type="http://schemas.openxmlformats.org/officeDocument/2006/relationships/image" Target="NULL"/><Relationship Id="rId14" Type="http://schemas.openxmlformats.org/officeDocument/2006/relationships/customXml" Target="../ink/ink16.xml"/></Relationships>
</file>

<file path=ppt/slides/_rels/slide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20.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4.emf"/><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3.emf"/><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97.emf"/><Relationship Id="rId11" Type="http://schemas.openxmlformats.org/officeDocument/2006/relationships/image" Target="../media/image102.emf"/><Relationship Id="rId5" Type="http://schemas.openxmlformats.org/officeDocument/2006/relationships/image" Target="../media/image96.emf"/><Relationship Id="rId10" Type="http://schemas.openxmlformats.org/officeDocument/2006/relationships/image" Target="../media/image101.emf"/><Relationship Id="rId4" Type="http://schemas.openxmlformats.org/officeDocument/2006/relationships/image" Target="../media/image95.emf"/><Relationship Id="rId9" Type="http://schemas.openxmlformats.org/officeDocument/2006/relationships/image" Target="../media/image100.emf"/><Relationship Id="rId14" Type="http://schemas.openxmlformats.org/officeDocument/2006/relationships/image" Target="../media/image105.emf"/></Relationships>
</file>

<file path=ppt/slides/_rels/slide3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282.png"/><Relationship Id="rId4" Type="http://schemas.openxmlformats.org/officeDocument/2006/relationships/customXml" Target="../ink/ink20.xml"/></Relationships>
</file>

<file path=ppt/slides/_rels/slide3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microsoft.com/office/2007/relationships/hdphoto" Target="../media/hdphoto7.wdp"/><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azure/search/knowledge-store-projection-shape" TargetMode="External"/><Relationship Id="rId2" Type="http://schemas.openxmlformats.org/officeDocument/2006/relationships/hyperlink" Target="https://learn.microsoft.com/en-us/azure/search/knowledge-store-projections-examples#define-a-table-projection" TargetMode="External"/><Relationship Id="rId1" Type="http://schemas.openxmlformats.org/officeDocument/2006/relationships/slideLayout" Target="../slideLayouts/slideLayout7.xml"/><Relationship Id="rId5" Type="http://schemas.openxmlformats.org/officeDocument/2006/relationships/hyperlink" Target="https://learn.microsoft.com/en-us/azure/search/knowledge-store-projections-examples#define-a-file-projection" TargetMode="External"/><Relationship Id="rId4" Type="http://schemas.openxmlformats.org/officeDocument/2006/relationships/hyperlink" Target="https://learn.microsoft.com/en-us/azure/search/knowledge-store-projections-examples#define-an-object-projection"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70.png"/><Relationship Id="rId7" Type="http://schemas.openxmlformats.org/officeDocument/2006/relationships/image" Target="../media/image112.sv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 Id="rId9" Type="http://schemas.microsoft.com/office/2007/relationships/hdphoto" Target="../media/hdphoto7.wdp"/></Relationships>
</file>

<file path=ppt/slides/_rels/slide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hyperlink" Target="https://aka.ms/powerskills" TargetMode="External"/><Relationship Id="rId1" Type="http://schemas.openxmlformats.org/officeDocument/2006/relationships/slideLayout" Target="../slideLayouts/slideLayout7.xml"/><Relationship Id="rId4" Type="http://schemas.openxmlformats.org/officeDocument/2006/relationships/image" Target="../media/image114.png"/></Relationships>
</file>

<file path=ppt/slides/_rels/slide38.xml.rels><?xml version="1.0" encoding="UTF-8" standalone="yes"?>
<Relationships xmlns="http://schemas.openxmlformats.org/package/2006/relationships"><Relationship Id="rId3" Type="http://schemas.openxmlformats.org/officeDocument/2006/relationships/hyperlink" Target="https://learn.microsoft.com/en-us/azure/ai-services/openai/concepts/use-your-data?tabs=ai-search" TargetMode="External"/><Relationship Id="rId2" Type="http://schemas.openxmlformats.org/officeDocument/2006/relationships/image" Target="../media/image115.png"/><Relationship Id="rId1" Type="http://schemas.openxmlformats.org/officeDocument/2006/relationships/slideLayout" Target="../slideLayouts/slideLayout3.xml"/><Relationship Id="rId4" Type="http://schemas.openxmlformats.org/officeDocument/2006/relationships/image" Target="../media/image11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18.xml"/><Relationship Id="rId5" Type="http://schemas.openxmlformats.org/officeDocument/2006/relationships/image" Target="../media/image51.svg"/><Relationship Id="rId4" Type="http://schemas.openxmlformats.org/officeDocument/2006/relationships/image" Target="../media/image5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hyperlink" Target="https://techcommunity.microsoft.com/t5/ai-azure-ai-services-blog/introducing-the-chat-with-your-data-solution-accelerator-now/ba-p/3958979#:~:text=What%20is%20the%20%22Chat%20with%20your%20data%22%20Solution,on%20customization%20and%20usage%20to%20suit%20specific%20needs." TargetMode="Externa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25.emf"/><Relationship Id="rId7" Type="http://schemas.openxmlformats.org/officeDocument/2006/relationships/image" Target="../media/image129.png"/><Relationship Id="rId2" Type="http://schemas.openxmlformats.org/officeDocument/2006/relationships/image" Target="../media/image124.emf"/><Relationship Id="rId1" Type="http://schemas.openxmlformats.org/officeDocument/2006/relationships/slideLayout" Target="../slideLayouts/slideLayout20.xml"/><Relationship Id="rId6" Type="http://schemas.openxmlformats.org/officeDocument/2006/relationships/image" Target="../media/image128.emf"/><Relationship Id="rId5" Type="http://schemas.openxmlformats.org/officeDocument/2006/relationships/image" Target="../media/image127.emf"/><Relationship Id="rId4" Type="http://schemas.openxmlformats.org/officeDocument/2006/relationships/image" Target="../media/image126.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55.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7.xml"/><Relationship Id="rId1" Type="http://schemas.openxmlformats.org/officeDocument/2006/relationships/slideLayout" Target="../slideLayouts/slideLayout68.xml"/><Relationship Id="rId5" Type="http://schemas.openxmlformats.org/officeDocument/2006/relationships/image" Target="../media/image133.jpeg"/><Relationship Id="rId4" Type="http://schemas.openxmlformats.org/officeDocument/2006/relationships/image" Target="../media/image132.jpeg"/></Relationships>
</file>

<file path=ppt/slides/_rels/slide56.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18.xml"/><Relationship Id="rId1" Type="http://schemas.openxmlformats.org/officeDocument/2006/relationships/slideLayout" Target="../slideLayouts/slideLayout68.xml"/><Relationship Id="rId5" Type="http://schemas.openxmlformats.org/officeDocument/2006/relationships/image" Target="../media/image136.png"/><Relationship Id="rId4" Type="http://schemas.openxmlformats.org/officeDocument/2006/relationships/image" Target="../media/image135.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5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0.xml"/><Relationship Id="rId1" Type="http://schemas.openxmlformats.org/officeDocument/2006/relationships/slideLayout" Target="../slideLayouts/slideLayout59.xml"/><Relationship Id="rId4" Type="http://schemas.openxmlformats.org/officeDocument/2006/relationships/image" Target="../media/image138.svg"/></Relationships>
</file>

<file path=ppt/slides/_rels/slide59.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sv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42.sv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45.png"/></Relationships>
</file>

<file path=ppt/slides/_rels/slide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53.png"/><Relationship Id="rId1" Type="http://schemas.openxmlformats.org/officeDocument/2006/relationships/slideLayout" Target="../slideLayouts/slideLayout18.xml"/><Relationship Id="rId4" Type="http://schemas.openxmlformats.org/officeDocument/2006/relationships/image" Target="../media/image2200.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6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62.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image" Target="../media/image150.png"/><Relationship Id="rId7" Type="http://schemas.openxmlformats.org/officeDocument/2006/relationships/image" Target="../media/image154.png"/><Relationship Id="rId2" Type="http://schemas.openxmlformats.org/officeDocument/2006/relationships/notesSlide" Target="../notesSlides/notesSlide24.xml"/><Relationship Id="rId1" Type="http://schemas.openxmlformats.org/officeDocument/2006/relationships/slideLayout" Target="../slideLayouts/slideLayout88.xml"/><Relationship Id="rId6" Type="http://schemas.openxmlformats.org/officeDocument/2006/relationships/image" Target="../media/image153.svg"/><Relationship Id="rId5" Type="http://schemas.openxmlformats.org/officeDocument/2006/relationships/image" Target="../media/image152.png"/><Relationship Id="rId4" Type="http://schemas.openxmlformats.org/officeDocument/2006/relationships/image" Target="../media/image151.svg"/></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5.xml"/><Relationship Id="rId1" Type="http://schemas.openxmlformats.org/officeDocument/2006/relationships/slideLayout" Target="../slideLayouts/slideLayout59.xml"/><Relationship Id="rId5" Type="http://schemas.openxmlformats.org/officeDocument/2006/relationships/image" Target="../media/image120.png"/><Relationship Id="rId4" Type="http://schemas.openxmlformats.org/officeDocument/2006/relationships/image" Target="../media/image157.svg"/></Relationships>
</file>

<file path=ppt/slides/_rels/slide64.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2.sv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61.svg"/><Relationship Id="rId5" Type="http://schemas.openxmlformats.org/officeDocument/2006/relationships/image" Target="../media/image160.png"/><Relationship Id="rId4" Type="http://schemas.openxmlformats.org/officeDocument/2006/relationships/image" Target="../media/image159.sv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7.xml.rels><?xml version="1.0" encoding="UTF-8" standalone="yes"?>
<Relationships xmlns="http://schemas.openxmlformats.org/package/2006/relationships"><Relationship Id="rId3" Type="http://schemas.openxmlformats.org/officeDocument/2006/relationships/hyperlink" Target="https://learn.microsoft.com/en-us/azure/search/vector-search-index-size" TargetMode="External"/><Relationship Id="rId2" Type="http://schemas.openxmlformats.org/officeDocument/2006/relationships/notesSlide" Target="../notesSlides/notesSlide28.xml"/><Relationship Id="rId1" Type="http://schemas.openxmlformats.org/officeDocument/2006/relationships/slideLayout" Target="../slideLayouts/slideLayout59.xml"/></Relationships>
</file>

<file path=ppt/slides/_rels/slide6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9.xml"/><Relationship Id="rId1" Type="http://schemas.openxmlformats.org/officeDocument/2006/relationships/slideLayout" Target="../slideLayouts/slideLayout68.xml"/><Relationship Id="rId4" Type="http://schemas.openxmlformats.org/officeDocument/2006/relationships/image" Target="../media/image164.svg"/></Relationships>
</file>

<file path=ppt/slides/_rels/slide6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2" Type="http://schemas.openxmlformats.org/officeDocument/2006/relationships/image" Target="../media/image54.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1.xml"/></Relationships>
</file>

<file path=ppt/slides/_rels/slide7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68.xml"/><Relationship Id="rId4" Type="http://schemas.openxmlformats.org/officeDocument/2006/relationships/image" Target="../media/image167.png"/></Relationships>
</file>

<file path=ppt/slides/_rels/slide72.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6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1.xml"/></Relationships>
</file>

<file path=ppt/slides/_rels/slide74.xml.rels><?xml version="1.0" encoding="UTF-8" standalone="yes"?>
<Relationships xmlns="http://schemas.openxmlformats.org/package/2006/relationships"><Relationship Id="rId3" Type="http://schemas.openxmlformats.org/officeDocument/2006/relationships/hyperlink" Target="https://learn.microsoft.com/en-us/azure/search/vector-search-how-to-query?tabs=query-2023-11-01%2Cfilter-2023-11-01" TargetMode="External"/><Relationship Id="rId2" Type="http://schemas.openxmlformats.org/officeDocument/2006/relationships/image" Target="../media/image170.png"/><Relationship Id="rId1" Type="http://schemas.openxmlformats.org/officeDocument/2006/relationships/slideLayout" Target="../slideLayouts/slideLayout6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4.xml"/></Relationships>
</file>

<file path=ppt/slides/_rels/slide84.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2.xml"/><Relationship Id="rId1" Type="http://schemas.openxmlformats.org/officeDocument/2006/relationships/slideLayout" Target="../slideLayouts/slideLayout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03.xml"/></Relationships>
</file>

<file path=ppt/slides/_rels/slide86.xml.rels><?xml version="1.0" encoding="UTF-8" standalone="yes"?>
<Relationships xmlns="http://schemas.openxmlformats.org/package/2006/relationships"><Relationship Id="rId3" Type="http://schemas.openxmlformats.org/officeDocument/2006/relationships/hyperlink" Target="https://learn.microsoft.com/en-us/azure/search/cognitive-search-skill-textsplit" TargetMode="External"/><Relationship Id="rId2" Type="http://schemas.openxmlformats.org/officeDocument/2006/relationships/notesSlide" Target="../notesSlides/notesSlide43.xml"/><Relationship Id="rId1" Type="http://schemas.openxmlformats.org/officeDocument/2006/relationships/slideLayout" Target="../slideLayouts/slideLayout7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1.xml"/></Relationships>
</file>

<file path=ppt/slides/_rels/slide89.xml.rels><?xml version="1.0" encoding="UTF-8" standalone="yes"?>
<Relationships xmlns="http://schemas.openxmlformats.org/package/2006/relationships"><Relationship Id="rId3" Type="http://schemas.openxmlformats.org/officeDocument/2006/relationships/hyperlink" Target="https://learn.microsoft.com/en-us/azure/search/search-security-trimming-for-azure-search" TargetMode="External"/><Relationship Id="rId2" Type="http://schemas.openxmlformats.org/officeDocument/2006/relationships/hyperlink" Target="https://learn.microsoft.com/en-us/azure/ai-services/openai/concepts/use-your-data#document-level-access-control" TargetMode="External"/><Relationship Id="rId1" Type="http://schemas.openxmlformats.org/officeDocument/2006/relationships/slideLayout" Target="../slideLayouts/slideLayout5.xml"/><Relationship Id="rId5" Type="http://schemas.openxmlformats.org/officeDocument/2006/relationships/hyperlink" Target="https://azure.microsoft.com/free/" TargetMode="External"/><Relationship Id="rId4" Type="http://schemas.openxmlformats.org/officeDocument/2006/relationships/hyperlink" Target="https://learn.microsoft.com/en-us/azure/search/search-security-trimming-for-azure-search-with-aad"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0.xml"/></Relationships>
</file>

<file path=ppt/slides/_rels/slide90.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hyperlink" Target="https://techcommunity.microsoft.com/t5/ai-azure-ai-services-blog/access-control-in-generative-ai-applications-with-azure/ba-p/3956408" TargetMode="External"/><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hyperlink" Target="https://learn.microsoft.com/en-us/azure/search/search-security-overview" TargetMode="Externa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hyperlink" Target="https://github.com/Azure-Samples/azure-search-power-skills/blob/main/Vector/EmbeddingGenerator/README.md" TargetMode="External"/><Relationship Id="rId3" Type="http://schemas.microsoft.com/office/2007/relationships/hdphoto" Target="../media/hdphoto9.wdp"/><Relationship Id="rId7" Type="http://schemas.microsoft.com/office/2007/relationships/hdphoto" Target="../media/hdphoto10.wdp"/><Relationship Id="rId12" Type="http://schemas.microsoft.com/office/2007/relationships/hdphoto" Target="../media/hdphoto11.wdp"/><Relationship Id="rId2" Type="http://schemas.openxmlformats.org/officeDocument/2006/relationships/image" Target="../media/image180.png"/><Relationship Id="rId16" Type="http://schemas.openxmlformats.org/officeDocument/2006/relationships/image" Target="../media/image187.png"/><Relationship Id="rId1" Type="http://schemas.openxmlformats.org/officeDocument/2006/relationships/slideLayout" Target="../slideLayouts/slideLayout18.xml"/><Relationship Id="rId6" Type="http://schemas.openxmlformats.org/officeDocument/2006/relationships/image" Target="../media/image182.png"/><Relationship Id="rId11" Type="http://schemas.openxmlformats.org/officeDocument/2006/relationships/image" Target="../media/image186.png"/><Relationship Id="rId5" Type="http://schemas.microsoft.com/office/2007/relationships/hdphoto" Target="../media/hdphoto5.wdp"/><Relationship Id="rId15" Type="http://schemas.openxmlformats.org/officeDocument/2006/relationships/hyperlink" Target="https://docs.microsoft.com/en-us/azure/architecture/solution-ideas/articles/digital-asset-management" TargetMode="External"/><Relationship Id="rId10" Type="http://schemas.openxmlformats.org/officeDocument/2006/relationships/image" Target="../media/image185.png"/><Relationship Id="rId4" Type="http://schemas.openxmlformats.org/officeDocument/2006/relationships/image" Target="../media/image181.png"/><Relationship Id="rId9" Type="http://schemas.openxmlformats.org/officeDocument/2006/relationships/image" Target="../media/image184.svg"/><Relationship Id="rId14" Type="http://schemas.openxmlformats.org/officeDocument/2006/relationships/hyperlink" Target="https://docs.microsoft.com/en-us/azure/architecture/solution-ideas/articles/content-research" TargetMode="Externa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B1A20"/>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F59F89C2-404C-4192-19B7-19A4B0FFA9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83832" y="4300576"/>
            <a:ext cx="9208168" cy="255742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234539D-641E-4C75-AA11-60646DC8B500}"/>
              </a:ext>
            </a:extLst>
          </p:cNvPr>
          <p:cNvSpPr>
            <a:spLocks noGrp="1"/>
          </p:cNvSpPr>
          <p:nvPr>
            <p:ph type="title"/>
          </p:nvPr>
        </p:nvSpPr>
        <p:spPr>
          <a:xfrm>
            <a:off x="584200" y="2979778"/>
            <a:ext cx="9144000" cy="553998"/>
          </a:xfrm>
        </p:spPr>
        <p:txBody>
          <a:bodyPr/>
          <a:lstStyle/>
          <a:p>
            <a:r>
              <a:rPr lang="en-US" dirty="0"/>
              <a:t>Demystifying Azure Cognitive Search</a:t>
            </a:r>
          </a:p>
        </p:txBody>
      </p:sp>
      <p:sp>
        <p:nvSpPr>
          <p:cNvPr id="3" name="Text Placeholder 2">
            <a:extLst>
              <a:ext uri="{FF2B5EF4-FFF2-40B4-BE49-F238E27FC236}">
                <a16:creationId xmlns:a16="http://schemas.microsoft.com/office/drawing/2014/main" id="{EEF5D8A4-EC8D-42FF-B01C-CCE22B2A1C71}"/>
              </a:ext>
            </a:extLst>
          </p:cNvPr>
          <p:cNvSpPr>
            <a:spLocks noGrp="1"/>
          </p:cNvSpPr>
          <p:nvPr>
            <p:ph type="body" sz="quarter" idx="12"/>
          </p:nvPr>
        </p:nvSpPr>
        <p:spPr>
          <a:xfrm>
            <a:off x="584200" y="3962400"/>
            <a:ext cx="3398520" cy="812800"/>
          </a:xfrm>
        </p:spPr>
        <p:txBody>
          <a:bodyPr/>
          <a:lstStyle/>
          <a:p>
            <a:r>
              <a:rPr lang="en-US" dirty="0"/>
              <a:t>Wai Man Hui</a:t>
            </a:r>
          </a:p>
          <a:p>
            <a:r>
              <a:rPr lang="en-US" dirty="0"/>
              <a:t>Cloud Solution Architect</a:t>
            </a:r>
          </a:p>
        </p:txBody>
      </p:sp>
      <p:sp>
        <p:nvSpPr>
          <p:cNvPr id="4" name="Text Placeholder 2">
            <a:extLst>
              <a:ext uri="{FF2B5EF4-FFF2-40B4-BE49-F238E27FC236}">
                <a16:creationId xmlns:a16="http://schemas.microsoft.com/office/drawing/2014/main" id="{19C47B13-3373-F154-4DFA-EFD4C6D9D44E}"/>
              </a:ext>
            </a:extLst>
          </p:cNvPr>
          <p:cNvSpPr txBox="1">
            <a:spLocks/>
          </p:cNvSpPr>
          <p:nvPr/>
        </p:nvSpPr>
        <p:spPr>
          <a:xfrm>
            <a:off x="4875106" y="3962400"/>
            <a:ext cx="3398520" cy="67710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hing Lee</a:t>
            </a:r>
            <a:endParaRPr lang="en-US" dirty="0"/>
          </a:p>
          <a:p>
            <a:r>
              <a:rPr lang="en-US" dirty="0"/>
              <a:t>Cloud Solution Architect</a:t>
            </a:r>
          </a:p>
        </p:txBody>
      </p:sp>
    </p:spTree>
    <p:extLst>
      <p:ext uri="{BB962C8B-B14F-4D97-AF65-F5344CB8AC3E}">
        <p14:creationId xmlns:p14="http://schemas.microsoft.com/office/powerpoint/2010/main" val="153824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05784-96B8-9F93-C079-7886FF6BEE7C}"/>
              </a:ext>
            </a:extLst>
          </p:cNvPr>
          <p:cNvSpPr>
            <a:spLocks noGrp="1"/>
          </p:cNvSpPr>
          <p:nvPr>
            <p:ph type="title"/>
          </p:nvPr>
        </p:nvSpPr>
        <p:spPr>
          <a:xfrm>
            <a:off x="588263" y="457200"/>
            <a:ext cx="11018520" cy="553998"/>
          </a:xfrm>
        </p:spPr>
        <p:txBody>
          <a:bodyPr/>
          <a:lstStyle/>
          <a:p>
            <a:r>
              <a:rPr lang="en-US" dirty="0"/>
              <a:t>Azure AI Search architectur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Ingest                         Enrich                                Explore</a:t>
            </a:r>
          </a:p>
        </p:txBody>
      </p:sp>
      <p:sp>
        <p:nvSpPr>
          <p:cNvPr id="41" name="Arrow: Pentagon 40">
            <a:extLst>
              <a:ext uri="{FF2B5EF4-FFF2-40B4-BE49-F238E27FC236}">
                <a16:creationId xmlns:a16="http://schemas.microsoft.com/office/drawing/2014/main" id="{933C32D9-205E-DE17-30FA-79DFAF5E6503}"/>
              </a:ext>
            </a:extLst>
          </p:cNvPr>
          <p:cNvSpPr/>
          <p:nvPr/>
        </p:nvSpPr>
        <p:spPr bwMode="auto">
          <a:xfrm>
            <a:off x="3549317" y="2566161"/>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42" name="Cylinder 41">
            <a:extLst>
              <a:ext uri="{FF2B5EF4-FFF2-40B4-BE49-F238E27FC236}">
                <a16:creationId xmlns:a16="http://schemas.microsoft.com/office/drawing/2014/main" id="{75B3BE95-0C70-949C-D23C-822636FAEB4F}"/>
              </a:ext>
            </a:extLst>
          </p:cNvPr>
          <p:cNvSpPr/>
          <p:nvPr/>
        </p:nvSpPr>
        <p:spPr bwMode="auto">
          <a:xfrm>
            <a:off x="514042" y="3308931"/>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8174E12B-9437-2678-B5E5-251CF6522C2F}"/>
              </a:ext>
            </a:extLst>
          </p:cNvPr>
          <p:cNvPicPr>
            <a:picLocks noChangeAspect="1"/>
          </p:cNvPicPr>
          <p:nvPr/>
        </p:nvPicPr>
        <p:blipFill>
          <a:blip r:embed="rId3"/>
          <a:stretch>
            <a:fillRect/>
          </a:stretch>
        </p:blipFill>
        <p:spPr>
          <a:xfrm>
            <a:off x="7963553" y="2566161"/>
            <a:ext cx="1051046" cy="939462"/>
          </a:xfrm>
          <a:prstGeom prst="rect">
            <a:avLst/>
          </a:prstGeom>
        </p:spPr>
      </p:pic>
      <p:sp>
        <p:nvSpPr>
          <p:cNvPr id="44" name="Arrow: Pentagon 43">
            <a:extLst>
              <a:ext uri="{FF2B5EF4-FFF2-40B4-BE49-F238E27FC236}">
                <a16:creationId xmlns:a16="http://schemas.microsoft.com/office/drawing/2014/main" id="{E58AA9DC-8A82-66EE-DB1F-FF55D33E9FDB}"/>
              </a:ext>
            </a:extLst>
          </p:cNvPr>
          <p:cNvSpPr/>
          <p:nvPr/>
        </p:nvSpPr>
        <p:spPr bwMode="auto">
          <a:xfrm>
            <a:off x="9134205" y="2566161"/>
            <a:ext cx="157011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dexing for Search</a:t>
            </a:r>
          </a:p>
        </p:txBody>
      </p:sp>
      <p:sp>
        <p:nvSpPr>
          <p:cNvPr id="45" name="Cylinder 44">
            <a:extLst>
              <a:ext uri="{FF2B5EF4-FFF2-40B4-BE49-F238E27FC236}">
                <a16:creationId xmlns:a16="http://schemas.microsoft.com/office/drawing/2014/main" id="{957A4AB9-9EE9-8744-B1F7-87D3E32C7BFC}"/>
              </a:ext>
            </a:extLst>
          </p:cNvPr>
          <p:cNvSpPr/>
          <p:nvPr/>
        </p:nvSpPr>
        <p:spPr bwMode="auto">
          <a:xfrm>
            <a:off x="514042" y="3004719"/>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Arrow: Pentagon 45">
            <a:extLst>
              <a:ext uri="{FF2B5EF4-FFF2-40B4-BE49-F238E27FC236}">
                <a16:creationId xmlns:a16="http://schemas.microsoft.com/office/drawing/2014/main" id="{AACE3013-C1BD-5A0F-D3F1-A7EB7DF0D6F3}"/>
              </a:ext>
            </a:extLst>
          </p:cNvPr>
          <p:cNvSpPr/>
          <p:nvPr/>
        </p:nvSpPr>
        <p:spPr bwMode="auto">
          <a:xfrm>
            <a:off x="1688579" y="2566161"/>
            <a:ext cx="2539870"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47" name="Text Placeholder 1">
            <a:extLst>
              <a:ext uri="{FF2B5EF4-FFF2-40B4-BE49-F238E27FC236}">
                <a16:creationId xmlns:a16="http://schemas.microsoft.com/office/drawing/2014/main" id="{82C87DBE-B1A0-754C-06F3-431CA711FFA2}"/>
              </a:ext>
            </a:extLst>
          </p:cNvPr>
          <p:cNvSpPr txBox="1">
            <a:spLocks/>
          </p:cNvSpPr>
          <p:nvPr/>
        </p:nvSpPr>
        <p:spPr>
          <a:xfrm>
            <a:off x="7007423" y="3731885"/>
            <a:ext cx="2205721"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notated</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ocuments</a:t>
            </a:r>
          </a:p>
        </p:txBody>
      </p:sp>
      <p:pic>
        <p:nvPicPr>
          <p:cNvPr id="48" name="Picture 47">
            <a:extLst>
              <a:ext uri="{FF2B5EF4-FFF2-40B4-BE49-F238E27FC236}">
                <a16:creationId xmlns:a16="http://schemas.microsoft.com/office/drawing/2014/main" id="{CA866A0A-4290-7827-D392-D977F381F625}"/>
              </a:ext>
            </a:extLst>
          </p:cNvPr>
          <p:cNvPicPr>
            <a:picLocks noChangeAspect="1"/>
          </p:cNvPicPr>
          <p:nvPr/>
        </p:nvPicPr>
        <p:blipFill>
          <a:blip r:embed="rId3"/>
          <a:stretch>
            <a:fillRect/>
          </a:stretch>
        </p:blipFill>
        <p:spPr>
          <a:xfrm>
            <a:off x="7730701" y="2672528"/>
            <a:ext cx="1051046" cy="939462"/>
          </a:xfrm>
          <a:prstGeom prst="rect">
            <a:avLst/>
          </a:prstGeom>
        </p:spPr>
      </p:pic>
      <p:pic>
        <p:nvPicPr>
          <p:cNvPr id="49" name="Picture 48">
            <a:extLst>
              <a:ext uri="{FF2B5EF4-FFF2-40B4-BE49-F238E27FC236}">
                <a16:creationId xmlns:a16="http://schemas.microsoft.com/office/drawing/2014/main" id="{72333A36-FDEF-4739-A7DE-E7F06263A6DB}"/>
              </a:ext>
            </a:extLst>
          </p:cNvPr>
          <p:cNvPicPr>
            <a:picLocks noChangeAspect="1"/>
          </p:cNvPicPr>
          <p:nvPr/>
        </p:nvPicPr>
        <p:blipFill>
          <a:blip r:embed="rId3"/>
          <a:stretch>
            <a:fillRect/>
          </a:stretch>
        </p:blipFill>
        <p:spPr>
          <a:xfrm>
            <a:off x="7485796" y="2784299"/>
            <a:ext cx="1051046" cy="939462"/>
          </a:xfrm>
          <a:prstGeom prst="rect">
            <a:avLst/>
          </a:prstGeom>
        </p:spPr>
      </p:pic>
      <p:sp>
        <p:nvSpPr>
          <p:cNvPr id="50" name="Text Placeholder 1">
            <a:extLst>
              <a:ext uri="{FF2B5EF4-FFF2-40B4-BE49-F238E27FC236}">
                <a16:creationId xmlns:a16="http://schemas.microsoft.com/office/drawing/2014/main" id="{1437B761-881B-71E0-A0F6-46CEA443C2DC}"/>
              </a:ext>
            </a:extLst>
          </p:cNvPr>
          <p:cNvSpPr txBox="1">
            <a:spLocks/>
          </p:cNvSpPr>
          <p:nvPr/>
        </p:nvSpPr>
        <p:spPr>
          <a:xfrm>
            <a:off x="194536" y="3761395"/>
            <a:ext cx="1419340"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ustomer</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51" name="Cylinder 50">
            <a:extLst>
              <a:ext uri="{FF2B5EF4-FFF2-40B4-BE49-F238E27FC236}">
                <a16:creationId xmlns:a16="http://schemas.microsoft.com/office/drawing/2014/main" id="{FFB2F54E-D827-7554-80F1-BD042DAD616E}"/>
              </a:ext>
            </a:extLst>
          </p:cNvPr>
          <p:cNvSpPr/>
          <p:nvPr/>
        </p:nvSpPr>
        <p:spPr bwMode="auto">
          <a:xfrm>
            <a:off x="511453" y="2697735"/>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6284749E-09E6-5EA2-847C-AB79472B5370}"/>
              </a:ext>
            </a:extLst>
          </p:cNvPr>
          <p:cNvGrpSpPr/>
          <p:nvPr/>
        </p:nvGrpSpPr>
        <p:grpSpPr>
          <a:xfrm>
            <a:off x="4695144" y="1323520"/>
            <a:ext cx="1911810" cy="1074408"/>
            <a:chOff x="4238413" y="1170179"/>
            <a:chExt cx="1950146" cy="1095952"/>
          </a:xfrm>
        </p:grpSpPr>
        <p:grpSp>
          <p:nvGrpSpPr>
            <p:cNvPr id="53" name="Group 52">
              <a:extLst>
                <a:ext uri="{FF2B5EF4-FFF2-40B4-BE49-F238E27FC236}">
                  <a16:creationId xmlns:a16="http://schemas.microsoft.com/office/drawing/2014/main" id="{739838A7-A5AE-6926-ACF8-4E9A59221DF1}"/>
                </a:ext>
              </a:extLst>
            </p:cNvPr>
            <p:cNvGrpSpPr/>
            <p:nvPr/>
          </p:nvGrpSpPr>
          <p:grpSpPr>
            <a:xfrm>
              <a:off x="4512159" y="1170179"/>
              <a:ext cx="1676400" cy="890539"/>
              <a:chOff x="4160837" y="1350919"/>
              <a:chExt cx="1676400" cy="890539"/>
            </a:xfrm>
            <a:solidFill>
              <a:srgbClr val="004B50">
                <a:alpha val="62000"/>
              </a:srgbClr>
            </a:solidFill>
          </p:grpSpPr>
          <p:sp>
            <p:nvSpPr>
              <p:cNvPr id="62" name="Rectangle: Rounded Corners 61">
                <a:extLst>
                  <a:ext uri="{FF2B5EF4-FFF2-40B4-BE49-F238E27FC236}">
                    <a16:creationId xmlns:a16="http://schemas.microsoft.com/office/drawing/2014/main" id="{87F4E703-4E85-150C-FAFD-B9D598DBF397}"/>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AFA0A5F5-618F-9E37-5E8D-93E9ADFC869D}"/>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BFEB219-724A-3335-6818-EA2A60E34EA0}"/>
                  </a:ext>
                </a:extLst>
              </p:cNvPr>
              <p:cNvCxnSpPr>
                <a:cxnSpLocks/>
                <a:stCxn id="63" idx="0"/>
                <a:endCxn id="62"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4" name="Group 53">
              <a:extLst>
                <a:ext uri="{FF2B5EF4-FFF2-40B4-BE49-F238E27FC236}">
                  <a16:creationId xmlns:a16="http://schemas.microsoft.com/office/drawing/2014/main" id="{829D1F42-81CA-B2A6-638B-D055CDB6BDA7}"/>
                </a:ext>
              </a:extLst>
            </p:cNvPr>
            <p:cNvGrpSpPr/>
            <p:nvPr/>
          </p:nvGrpSpPr>
          <p:grpSpPr>
            <a:xfrm>
              <a:off x="4375286" y="1266756"/>
              <a:ext cx="1676400" cy="890539"/>
              <a:chOff x="4160837" y="1350919"/>
              <a:chExt cx="1676400" cy="890539"/>
            </a:xfrm>
            <a:solidFill>
              <a:srgbClr val="0070C0">
                <a:alpha val="62000"/>
              </a:srgbClr>
            </a:solidFill>
          </p:grpSpPr>
          <p:sp>
            <p:nvSpPr>
              <p:cNvPr id="59" name="Rectangle: Rounded Corners 58">
                <a:extLst>
                  <a:ext uri="{FF2B5EF4-FFF2-40B4-BE49-F238E27FC236}">
                    <a16:creationId xmlns:a16="http://schemas.microsoft.com/office/drawing/2014/main" id="{804243C9-EED7-D338-EF91-B497F2A40559}"/>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5EF89B21-F629-5D31-CE52-8F9942ACACDF}"/>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C44A10B8-3C44-0C26-8D47-A6958EE42B2C}"/>
                  </a:ext>
                </a:extLst>
              </p:cNvPr>
              <p:cNvCxnSpPr>
                <a:cxnSpLocks/>
                <a:stCxn id="60" idx="0"/>
                <a:endCxn id="59"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5" name="Group 54">
              <a:extLst>
                <a:ext uri="{FF2B5EF4-FFF2-40B4-BE49-F238E27FC236}">
                  <a16:creationId xmlns:a16="http://schemas.microsoft.com/office/drawing/2014/main" id="{C330B84F-CFF1-6E33-8642-FB48194ADDEB}"/>
                </a:ext>
              </a:extLst>
            </p:cNvPr>
            <p:cNvGrpSpPr/>
            <p:nvPr/>
          </p:nvGrpSpPr>
          <p:grpSpPr>
            <a:xfrm>
              <a:off x="4238413" y="1375592"/>
              <a:ext cx="1676400" cy="890539"/>
              <a:chOff x="4160837" y="1350919"/>
              <a:chExt cx="1676400" cy="890539"/>
            </a:xfrm>
          </p:grpSpPr>
          <p:sp>
            <p:nvSpPr>
              <p:cNvPr id="56" name="Rectangle: Rounded Corners 55">
                <a:extLst>
                  <a:ext uri="{FF2B5EF4-FFF2-40B4-BE49-F238E27FC236}">
                    <a16:creationId xmlns:a16="http://schemas.microsoft.com/office/drawing/2014/main" id="{45943767-7C07-68EB-873B-7A92DF0190AA}"/>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57" name="Oval 56">
                <a:extLst>
                  <a:ext uri="{FF2B5EF4-FFF2-40B4-BE49-F238E27FC236}">
                    <a16:creationId xmlns:a16="http://schemas.microsoft.com/office/drawing/2014/main" id="{32A1223D-70B6-D06A-EF1F-E503F0381529}"/>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C242BEB-4410-5E1C-0168-89892B0A6212}"/>
                  </a:ext>
                </a:extLst>
              </p:cNvPr>
              <p:cNvCxnSpPr>
                <a:cxnSpLocks/>
                <a:stCxn id="57" idx="0"/>
                <a:endCxn id="56"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grpSp>
        <p:nvGrpSpPr>
          <p:cNvPr id="65" name="Group 64">
            <a:extLst>
              <a:ext uri="{FF2B5EF4-FFF2-40B4-BE49-F238E27FC236}">
                <a16:creationId xmlns:a16="http://schemas.microsoft.com/office/drawing/2014/main" id="{0071C664-321E-1A4A-A74A-BC0970C0FD49}"/>
              </a:ext>
            </a:extLst>
          </p:cNvPr>
          <p:cNvGrpSpPr/>
          <p:nvPr/>
        </p:nvGrpSpPr>
        <p:grpSpPr>
          <a:xfrm>
            <a:off x="10226562" y="2566161"/>
            <a:ext cx="2320538" cy="1875698"/>
            <a:chOff x="2512468" y="3116262"/>
            <a:chExt cx="2367070" cy="1913309"/>
          </a:xfrm>
        </p:grpSpPr>
        <p:pic>
          <p:nvPicPr>
            <p:cNvPr id="66" name="Picture 65">
              <a:extLst>
                <a:ext uri="{FF2B5EF4-FFF2-40B4-BE49-F238E27FC236}">
                  <a16:creationId xmlns:a16="http://schemas.microsoft.com/office/drawing/2014/main" id="{6CC916A9-56FA-4AD8-8AF6-07F8D27A16E8}"/>
                </a:ext>
              </a:extLst>
            </p:cNvPr>
            <p:cNvPicPr>
              <a:picLocks noChangeAspect="1"/>
            </p:cNvPicPr>
            <p:nvPr/>
          </p:nvPicPr>
          <p:blipFill>
            <a:blip r:embed="rId4"/>
            <a:stretch>
              <a:fillRect/>
            </a:stretch>
          </p:blipFill>
          <p:spPr>
            <a:xfrm>
              <a:off x="3121809" y="3116262"/>
              <a:ext cx="1148072" cy="1140828"/>
            </a:xfrm>
            <a:prstGeom prst="rect">
              <a:avLst/>
            </a:prstGeom>
            <a:noFill/>
          </p:spPr>
        </p:pic>
        <p:sp>
          <p:nvSpPr>
            <p:cNvPr id="67" name="Text Placeholder 1">
              <a:extLst>
                <a:ext uri="{FF2B5EF4-FFF2-40B4-BE49-F238E27FC236}">
                  <a16:creationId xmlns:a16="http://schemas.microsoft.com/office/drawing/2014/main" id="{A4D8D8B1-AE38-C05B-646C-DAD3E8A40E97}"/>
                </a:ext>
              </a:extLst>
            </p:cNvPr>
            <p:cNvSpPr txBox="1">
              <a:spLocks/>
            </p:cNvSpPr>
            <p:nvPr/>
          </p:nvSpPr>
          <p:spPr>
            <a:xfrm>
              <a:off x="2512468" y="4259262"/>
              <a:ext cx="2367070" cy="77030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dex</a:t>
              </a:r>
            </a:p>
          </p:txBody>
        </p:sp>
      </p:grpSp>
      <p:sp>
        <p:nvSpPr>
          <p:cNvPr id="3" name="Rectangle 2">
            <a:extLst>
              <a:ext uri="{FF2B5EF4-FFF2-40B4-BE49-F238E27FC236}">
                <a16:creationId xmlns:a16="http://schemas.microsoft.com/office/drawing/2014/main" id="{8A1D4F0C-0FEE-7AC2-8B3C-4F7A8E591A27}"/>
              </a:ext>
            </a:extLst>
          </p:cNvPr>
          <p:cNvSpPr/>
          <p:nvPr/>
        </p:nvSpPr>
        <p:spPr bwMode="auto">
          <a:xfrm>
            <a:off x="194536" y="1418199"/>
            <a:ext cx="4215617" cy="381375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96637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B29866-4C42-E2BD-2B32-5D7FA58B7D38}"/>
              </a:ext>
            </a:extLst>
          </p:cNvPr>
          <p:cNvSpPr>
            <a:spLocks noGrp="1"/>
          </p:cNvSpPr>
          <p:nvPr>
            <p:ph type="title"/>
          </p:nvPr>
        </p:nvSpPr>
        <p:spPr/>
        <p:txBody>
          <a:bodyPr/>
          <a:lstStyle/>
          <a:p>
            <a:r>
              <a:rPr lang="en-US" dirty="0"/>
              <a:t>Pricing</a:t>
            </a:r>
          </a:p>
        </p:txBody>
      </p:sp>
      <p:sp>
        <p:nvSpPr>
          <p:cNvPr id="9" name="Rectangle 8">
            <a:extLst>
              <a:ext uri="{FF2B5EF4-FFF2-40B4-BE49-F238E27FC236}">
                <a16:creationId xmlns:a16="http://schemas.microsoft.com/office/drawing/2014/main" id="{5B47166D-30B3-E580-068A-B4E570FAD488}"/>
              </a:ext>
            </a:extLst>
          </p:cNvPr>
          <p:cNvSpPr/>
          <p:nvPr/>
        </p:nvSpPr>
        <p:spPr>
          <a:xfrm>
            <a:off x="7927757" y="1300725"/>
            <a:ext cx="4264243" cy="4256550"/>
          </a:xfrm>
          <a:prstGeom prst="rect">
            <a:avLst/>
          </a:prstGeom>
        </p:spPr>
        <p:txBody>
          <a:bodyPr wrap="square">
            <a:spAutoFit/>
          </a:bodyPr>
          <a:lstStyle/>
          <a:p>
            <a:pPr marL="0" marR="0" lvl="0" indent="0" algn="l" defTabSz="685845" rtl="0" eaLnBrk="1" fontAlgn="auto" latinLnBrk="0" hangingPunct="1">
              <a:lnSpc>
                <a:spcPct val="100000"/>
              </a:lnSpc>
              <a:spcBef>
                <a:spcPts val="0"/>
              </a:spcBef>
              <a:spcAft>
                <a:spcPts val="0"/>
              </a:spcAft>
              <a:buClrTx/>
              <a:buSzTx/>
              <a:buFontTx/>
              <a:buNone/>
              <a:tabLst/>
              <a:defRPr/>
            </a:pPr>
            <a:r>
              <a:rPr kumimoji="0" lang="en-US" sz="294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Elastic scale</a:t>
            </a:r>
          </a:p>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294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You get to pick your tier of service depending on your needed capacity </a:t>
            </a: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Each tier is then scalable in two dimensions on storage and partitions</a:t>
            </a: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Capacity can be changed dynamically</a:t>
            </a:r>
          </a:p>
          <a:p>
            <a:pPr marL="252134" marR="0" lvl="1" indent="0" algn="l" defTabSz="68584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Replicas ~ more QPS, HA</a:t>
            </a:r>
          </a:p>
          <a:p>
            <a:pPr marL="252134" marR="0" lvl="1" indent="0" algn="l" defTabSz="68584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endParaRPr>
          </a:p>
          <a:p>
            <a:pPr marL="429562" marR="0" lvl="1" indent="-177428" algn="l" defTabSz="68584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65" b="0"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Partitions ~ more documents, write throughput</a:t>
            </a:r>
          </a:p>
        </p:txBody>
      </p:sp>
      <p:pic>
        <p:nvPicPr>
          <p:cNvPr id="11" name="Picture 10">
            <a:extLst>
              <a:ext uri="{FF2B5EF4-FFF2-40B4-BE49-F238E27FC236}">
                <a16:creationId xmlns:a16="http://schemas.microsoft.com/office/drawing/2014/main" id="{2D41AC1B-C66E-0F03-9F72-83C222387102}"/>
              </a:ext>
            </a:extLst>
          </p:cNvPr>
          <p:cNvPicPr>
            <a:picLocks noChangeAspect="1"/>
          </p:cNvPicPr>
          <p:nvPr/>
        </p:nvPicPr>
        <p:blipFill>
          <a:blip r:embed="rId2"/>
          <a:stretch>
            <a:fillRect/>
          </a:stretch>
        </p:blipFill>
        <p:spPr>
          <a:xfrm>
            <a:off x="255862" y="1870484"/>
            <a:ext cx="7671895" cy="4908003"/>
          </a:xfrm>
          <a:prstGeom prst="rect">
            <a:avLst/>
          </a:prstGeom>
        </p:spPr>
      </p:pic>
      <p:pic>
        <p:nvPicPr>
          <p:cNvPr id="13" name="Picture 12">
            <a:extLst>
              <a:ext uri="{FF2B5EF4-FFF2-40B4-BE49-F238E27FC236}">
                <a16:creationId xmlns:a16="http://schemas.microsoft.com/office/drawing/2014/main" id="{8DAB5A53-89F7-7F8A-9C52-A9D4273950BC}"/>
              </a:ext>
            </a:extLst>
          </p:cNvPr>
          <p:cNvPicPr>
            <a:picLocks noChangeAspect="1"/>
          </p:cNvPicPr>
          <p:nvPr/>
        </p:nvPicPr>
        <p:blipFill>
          <a:blip r:embed="rId3"/>
          <a:stretch>
            <a:fillRect/>
          </a:stretch>
        </p:blipFill>
        <p:spPr>
          <a:xfrm>
            <a:off x="255862" y="1231837"/>
            <a:ext cx="6272159" cy="549872"/>
          </a:xfrm>
          <a:prstGeom prst="rect">
            <a:avLst/>
          </a:prstGeom>
        </p:spPr>
      </p:pic>
      <p:sp>
        <p:nvSpPr>
          <p:cNvPr id="3" name="TextBox 2">
            <a:extLst>
              <a:ext uri="{FF2B5EF4-FFF2-40B4-BE49-F238E27FC236}">
                <a16:creationId xmlns:a16="http://schemas.microsoft.com/office/drawing/2014/main" id="{5E6ED130-12DB-E647-F588-27F9C866EAE1}"/>
              </a:ext>
            </a:extLst>
          </p:cNvPr>
          <p:cNvSpPr txBox="1"/>
          <p:nvPr/>
        </p:nvSpPr>
        <p:spPr>
          <a:xfrm>
            <a:off x="5952325" y="117577"/>
            <a:ext cx="6739336" cy="646331"/>
          </a:xfrm>
          <a:prstGeom prst="rect">
            <a:avLst/>
          </a:prstGeom>
          <a:noFill/>
        </p:spPr>
        <p:txBody>
          <a:bodyPr wrap="square">
            <a:spAutoFit/>
          </a:bodyPr>
          <a:lstStyle/>
          <a:p>
            <a:r>
              <a:rPr lang="en-US" dirty="0">
                <a:hlinkClick r:id="rId4"/>
              </a:rPr>
              <a:t>Estimate capacity for query and index workloads - Azure AI Search | Microsoft Learn</a:t>
            </a:r>
            <a:endParaRPr lang="en-US" dirty="0"/>
          </a:p>
        </p:txBody>
      </p:sp>
    </p:spTree>
    <p:extLst>
      <p:ext uri="{BB962C8B-B14F-4D97-AF65-F5344CB8AC3E}">
        <p14:creationId xmlns:p14="http://schemas.microsoft.com/office/powerpoint/2010/main" val="955852046"/>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96B73-F8D5-E6D4-D94B-352A2619389C}"/>
              </a:ext>
            </a:extLst>
          </p:cNvPr>
          <p:cNvSpPr>
            <a:spLocks noGrp="1"/>
          </p:cNvSpPr>
          <p:nvPr>
            <p:ph type="title"/>
          </p:nvPr>
        </p:nvSpPr>
        <p:spPr/>
        <p:txBody>
          <a:bodyPr/>
          <a:lstStyle/>
          <a:p>
            <a:r>
              <a:rPr lang="en-US" dirty="0"/>
              <a:t>Supported Region</a:t>
            </a:r>
          </a:p>
        </p:txBody>
      </p:sp>
      <p:sp>
        <p:nvSpPr>
          <p:cNvPr id="7" name="Content Placeholder 6">
            <a:extLst>
              <a:ext uri="{FF2B5EF4-FFF2-40B4-BE49-F238E27FC236}">
                <a16:creationId xmlns:a16="http://schemas.microsoft.com/office/drawing/2014/main" id="{316FEA43-2CC5-0478-FC21-000E13E0C806}"/>
              </a:ext>
            </a:extLst>
          </p:cNvPr>
          <p:cNvSpPr>
            <a:spLocks noGrp="1"/>
          </p:cNvSpPr>
          <p:nvPr>
            <p:ph sz="quarter" idx="4294967295"/>
          </p:nvPr>
        </p:nvSpPr>
        <p:spPr>
          <a:xfrm>
            <a:off x="0" y="1435100"/>
            <a:ext cx="11018838" cy="2498725"/>
          </a:xfrm>
        </p:spPr>
        <p:txBody>
          <a:bodyPr/>
          <a:lstStyle/>
          <a:p>
            <a:pPr marL="0" indent="0">
              <a:buNone/>
            </a:pPr>
            <a:endParaRPr lang="en-US" dirty="0"/>
          </a:p>
          <a:p>
            <a:endParaRPr lang="en-US" dirty="0"/>
          </a:p>
          <a:p>
            <a:endParaRPr lang="en-US" dirty="0"/>
          </a:p>
          <a:p>
            <a:endParaRPr lang="en-US" dirty="0"/>
          </a:p>
          <a:p>
            <a:endParaRPr lang="en-US" dirty="0"/>
          </a:p>
        </p:txBody>
      </p:sp>
      <p:sp>
        <p:nvSpPr>
          <p:cNvPr id="6" name="TextBox 5">
            <a:extLst>
              <a:ext uri="{FF2B5EF4-FFF2-40B4-BE49-F238E27FC236}">
                <a16:creationId xmlns:a16="http://schemas.microsoft.com/office/drawing/2014/main" id="{7E1415C4-929D-7931-F80F-08B520FCE34F}"/>
              </a:ext>
            </a:extLst>
          </p:cNvPr>
          <p:cNvSpPr txBox="1"/>
          <p:nvPr/>
        </p:nvSpPr>
        <p:spPr>
          <a:xfrm>
            <a:off x="584200" y="6120716"/>
            <a:ext cx="6738730" cy="369332"/>
          </a:xfrm>
          <a:prstGeom prst="rect">
            <a:avLst/>
          </a:prstGeom>
          <a:noFill/>
        </p:spPr>
        <p:txBody>
          <a:bodyPr wrap="square">
            <a:spAutoFit/>
          </a:bodyPr>
          <a:lstStyle/>
          <a:p>
            <a:r>
              <a:rPr lang="en-US" dirty="0">
                <a:hlinkClick r:id="rId2"/>
              </a:rPr>
              <a:t>Azure Products by Region | Microsoft Azure</a:t>
            </a:r>
            <a:endParaRPr lang="en-US" dirty="0"/>
          </a:p>
        </p:txBody>
      </p:sp>
      <p:pic>
        <p:nvPicPr>
          <p:cNvPr id="8" name="Picture 7">
            <a:extLst>
              <a:ext uri="{FF2B5EF4-FFF2-40B4-BE49-F238E27FC236}">
                <a16:creationId xmlns:a16="http://schemas.microsoft.com/office/drawing/2014/main" id="{81945C44-152D-FE92-2FFA-A609B28518E7}"/>
              </a:ext>
            </a:extLst>
          </p:cNvPr>
          <p:cNvPicPr>
            <a:picLocks noChangeAspect="1"/>
          </p:cNvPicPr>
          <p:nvPr/>
        </p:nvPicPr>
        <p:blipFill rotWithShape="1">
          <a:blip r:embed="rId3"/>
          <a:srcRect t="4333" b="80338"/>
          <a:stretch/>
        </p:blipFill>
        <p:spPr>
          <a:xfrm>
            <a:off x="732954" y="5688816"/>
            <a:ext cx="10042034" cy="431900"/>
          </a:xfrm>
          <a:prstGeom prst="rect">
            <a:avLst/>
          </a:prstGeom>
        </p:spPr>
      </p:pic>
      <p:pic>
        <p:nvPicPr>
          <p:cNvPr id="5" name="Picture 4">
            <a:extLst>
              <a:ext uri="{FF2B5EF4-FFF2-40B4-BE49-F238E27FC236}">
                <a16:creationId xmlns:a16="http://schemas.microsoft.com/office/drawing/2014/main" id="{6383D93A-99A8-AE6C-7C6B-D45A4C48D48E}"/>
              </a:ext>
            </a:extLst>
          </p:cNvPr>
          <p:cNvPicPr>
            <a:picLocks noChangeAspect="1"/>
          </p:cNvPicPr>
          <p:nvPr/>
        </p:nvPicPr>
        <p:blipFill rotWithShape="1">
          <a:blip r:embed="rId4"/>
          <a:srcRect r="8859"/>
          <a:stretch/>
        </p:blipFill>
        <p:spPr>
          <a:xfrm>
            <a:off x="555140" y="1251670"/>
            <a:ext cx="9908557" cy="2140060"/>
          </a:xfrm>
          <a:prstGeom prst="rect">
            <a:avLst/>
          </a:prstGeom>
        </p:spPr>
      </p:pic>
      <p:pic>
        <p:nvPicPr>
          <p:cNvPr id="10" name="Picture 9">
            <a:extLst>
              <a:ext uri="{FF2B5EF4-FFF2-40B4-BE49-F238E27FC236}">
                <a16:creationId xmlns:a16="http://schemas.microsoft.com/office/drawing/2014/main" id="{48FA5025-33AE-FC03-462D-C7218B2702D2}"/>
              </a:ext>
            </a:extLst>
          </p:cNvPr>
          <p:cNvPicPr>
            <a:picLocks noChangeAspect="1"/>
          </p:cNvPicPr>
          <p:nvPr/>
        </p:nvPicPr>
        <p:blipFill>
          <a:blip r:embed="rId5"/>
          <a:stretch>
            <a:fillRect/>
          </a:stretch>
        </p:blipFill>
        <p:spPr>
          <a:xfrm>
            <a:off x="619044" y="3415467"/>
            <a:ext cx="11017816" cy="2190863"/>
          </a:xfrm>
          <a:prstGeom prst="rect">
            <a:avLst/>
          </a:prstGeom>
        </p:spPr>
      </p:pic>
      <p:sp>
        <p:nvSpPr>
          <p:cNvPr id="11" name="Rectangle 10">
            <a:extLst>
              <a:ext uri="{FF2B5EF4-FFF2-40B4-BE49-F238E27FC236}">
                <a16:creationId xmlns:a16="http://schemas.microsoft.com/office/drawing/2014/main" id="{2D748401-F15C-DB8D-DA45-35972C4833DC}"/>
              </a:ext>
            </a:extLst>
          </p:cNvPr>
          <p:cNvSpPr/>
          <p:nvPr/>
        </p:nvSpPr>
        <p:spPr bwMode="auto">
          <a:xfrm>
            <a:off x="3615719" y="1563554"/>
            <a:ext cx="900440" cy="1851913"/>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3940357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3410A-D2CE-E7C4-0E42-03DB2F99A5CC}"/>
              </a:ext>
            </a:extLst>
          </p:cNvPr>
          <p:cNvSpPr>
            <a:spLocks noGrp="1"/>
          </p:cNvSpPr>
          <p:nvPr>
            <p:ph type="title"/>
          </p:nvPr>
        </p:nvSpPr>
        <p:spPr>
          <a:xfrm>
            <a:off x="588263" y="457200"/>
            <a:ext cx="11018520" cy="553998"/>
          </a:xfrm>
        </p:spPr>
        <p:txBody>
          <a:bodyPr/>
          <a:lstStyle/>
          <a:p>
            <a:r>
              <a:rPr lang="en-US" dirty="0"/>
              <a:t>Availability zone</a:t>
            </a:r>
          </a:p>
        </p:txBody>
      </p:sp>
      <p:sp>
        <p:nvSpPr>
          <p:cNvPr id="3" name="Content Placeholder 2">
            <a:extLst>
              <a:ext uri="{FF2B5EF4-FFF2-40B4-BE49-F238E27FC236}">
                <a16:creationId xmlns:a16="http://schemas.microsoft.com/office/drawing/2014/main" id="{AB352B60-6827-1DA6-2367-6157E41BA9EB}"/>
              </a:ext>
            </a:extLst>
          </p:cNvPr>
          <p:cNvSpPr>
            <a:spLocks noGrp="1"/>
          </p:cNvSpPr>
          <p:nvPr>
            <p:ph sz="quarter" idx="10"/>
          </p:nvPr>
        </p:nvSpPr>
        <p:spPr>
          <a:xfrm>
            <a:off x="584200" y="1435100"/>
            <a:ext cx="11018838" cy="5059847"/>
          </a:xfrm>
        </p:spPr>
        <p:txBody>
          <a:bodyPr/>
          <a:lstStyle/>
          <a:p>
            <a:r>
              <a:rPr lang="en-US" dirty="0"/>
              <a:t>In AI Search, individual replicas are the units for zone assignment. A search service runs within one region; its replicas run in different physical data centers (or zones) within that region.</a:t>
            </a:r>
          </a:p>
          <a:p>
            <a:pPr lvl="1"/>
            <a:endParaRPr lang="en-US" dirty="0"/>
          </a:p>
          <a:p>
            <a:r>
              <a:rPr lang="en-US" dirty="0"/>
              <a:t>Prerequisites</a:t>
            </a:r>
          </a:p>
          <a:p>
            <a:pPr lvl="1"/>
            <a:r>
              <a:rPr lang="en-US" dirty="0"/>
              <a:t>Service tier must be Standard or higher.</a:t>
            </a:r>
          </a:p>
          <a:p>
            <a:pPr lvl="1"/>
            <a:r>
              <a:rPr lang="en-US" dirty="0"/>
              <a:t>Service region must be in a region that has available zones</a:t>
            </a:r>
          </a:p>
          <a:p>
            <a:pPr lvl="1"/>
            <a:r>
              <a:rPr lang="en-US" dirty="0"/>
              <a:t>Configuration must include multiple replicas: two for read-only query workloads, three for read-write workloads that include indexing.</a:t>
            </a:r>
          </a:p>
          <a:p>
            <a:pPr lvl="1"/>
            <a:endParaRPr lang="en-US" dirty="0"/>
          </a:p>
          <a:p>
            <a:r>
              <a:rPr lang="en-US" b="0" i="0" dirty="0">
                <a:solidFill>
                  <a:srgbClr val="161616"/>
                </a:solidFill>
                <a:effectLst/>
                <a:latin typeface="Segoe UI" panose="020B0502040204020203" pitchFamily="34" charset="0"/>
              </a:rPr>
              <a:t>The replicas are distributed across zones as evenly as possible as long as the prerequisites are met</a:t>
            </a:r>
            <a:endParaRPr lang="en-US" dirty="0"/>
          </a:p>
        </p:txBody>
      </p:sp>
      <p:sp>
        <p:nvSpPr>
          <p:cNvPr id="4" name="TextBox 3">
            <a:extLst>
              <a:ext uri="{FF2B5EF4-FFF2-40B4-BE49-F238E27FC236}">
                <a16:creationId xmlns:a16="http://schemas.microsoft.com/office/drawing/2014/main" id="{5F7978B0-A8CD-C01F-C4E6-767B63B5AF4F}"/>
              </a:ext>
            </a:extLst>
          </p:cNvPr>
          <p:cNvSpPr txBox="1"/>
          <p:nvPr/>
        </p:nvSpPr>
        <p:spPr>
          <a:xfrm>
            <a:off x="404853" y="6488668"/>
            <a:ext cx="10504335" cy="369332"/>
          </a:xfrm>
          <a:prstGeom prst="rect">
            <a:avLst/>
          </a:prstGeom>
          <a:noFill/>
        </p:spPr>
        <p:txBody>
          <a:bodyPr wrap="square">
            <a:spAutoFit/>
          </a:bodyPr>
          <a:lstStyle/>
          <a:p>
            <a:r>
              <a:rPr lang="en-US" dirty="0">
                <a:hlinkClick r:id="rId2"/>
              </a:rPr>
              <a:t>Reliability in Azure AI Search - Azure AI Search | Microsoft Learn</a:t>
            </a:r>
            <a:endParaRPr lang="en-US" dirty="0"/>
          </a:p>
        </p:txBody>
      </p:sp>
    </p:spTree>
    <p:extLst>
      <p:ext uri="{BB962C8B-B14F-4D97-AF65-F5344CB8AC3E}">
        <p14:creationId xmlns:p14="http://schemas.microsoft.com/office/powerpoint/2010/main" val="68889412"/>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9BEFF18-E946-674F-BB38-D6DDD4D20830}"/>
              </a:ext>
            </a:extLst>
          </p:cNvPr>
          <p:cNvSpPr txBox="1">
            <a:spLocks/>
          </p:cNvSpPr>
          <p:nvPr/>
        </p:nvSpPr>
        <p:spPr>
          <a:xfrm>
            <a:off x="4834731" y="1363672"/>
            <a:ext cx="3102830" cy="4390742"/>
          </a:xfrm>
          <a:prstGeom prst="rect">
            <a:avLst/>
          </a:prstGeom>
        </p:spPr>
        <p:txBody>
          <a:bodyPr lIns="91440" tIns="45720" rIns="91440" bIns="45720" anchor="t"/>
          <a:lstStyle>
            <a:lvl1pPr algn="l" defTabSz="914400" rtl="0" eaLnBrk="1" latinLnBrk="0" hangingPunct="1">
              <a:lnSpc>
                <a:spcPct val="90000"/>
              </a:lnSpc>
              <a:spcBef>
                <a:spcPct val="0"/>
              </a:spcBef>
              <a:buNone/>
              <a:defRPr sz="4400" b="1"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2"/>
              </a:rPr>
              <a:t>Azure Cognitive Search as a vector database for OpenAI embeddings | OpenAI Cookbook</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 action="ppaction://noaction"/>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 action="ppaction://noaction"/>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 action="ppaction://noaction"/>
              </a:rPr>
              <a:t>Azure Cognitive Search — 🦜🔗 </a:t>
            </a:r>
            <a:r>
              <a:rPr kumimoji="0" lang="en-US" sz="1200" b="1" i="0" u="none" strike="noStrike" kern="1200" cap="none" spc="0" normalizeH="0" baseline="0" noProof="0" dirty="0" err="1">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3"/>
              </a:rPr>
              <a:t>LangChain</a:t>
            </a: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3"/>
              </a:rPr>
              <a:t> 0.0.198</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US" sz="1200" dirty="0">
              <a:solidFill>
                <a:srgbClr val="FFFFFF"/>
              </a:solidFill>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4"/>
              </a:rPr>
              <a:t>Azure Cognitive Search - </a:t>
            </a:r>
            <a:r>
              <a:rPr lang="en-US" sz="1200" dirty="0" err="1">
                <a:hlinkClick r:id="rId4"/>
              </a:rPr>
              <a:t>LlamaIndex</a:t>
            </a:r>
            <a:r>
              <a:rPr lang="en-US" sz="1200" dirty="0">
                <a:hlinkClick r:id="rId4"/>
              </a:rPr>
              <a:t> 🦙 0.8.46 (gpt-index.readthedocs.io)</a:t>
            </a:r>
            <a:endPar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mj-ea"/>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panose="020B0502040204020203" pitchFamily="34" charset="0"/>
              <a:ea typeface="+mj-ea"/>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5"/>
              </a:rPr>
              <a:t>Azure-Samples/azure-search-</a:t>
            </a:r>
            <a:r>
              <a:rPr kumimoji="0" lang="en-US" sz="1200" b="1" i="0" u="none" strike="noStrike" kern="1200" cap="none" spc="0" normalizeH="0" baseline="0" noProof="0" dirty="0" err="1">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5"/>
              </a:rPr>
              <a:t>openai</a:t>
            </a: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5"/>
              </a:rPr>
              <a:t>-demo (github.com)</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Semibold"/>
              <a:ea typeface="+mj-ea"/>
              <a:cs typeface="Segoe UI Semibold"/>
              <a:hlinkClick r:id="rId6"/>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7"/>
              </a:rPr>
              <a:t>Azure-Samples/chat-with-your-data-solution-accelerator: A Solution Accelerator for the RAG pattern running in Azure, using Azure Cognitive Search for retrieval and Azure OpenAI large language models to power ChatGPT-style and Q&amp;A experiences. This includes most common requirements and best practices. (github.com)</a:t>
            </a:r>
            <a:endParaRPr lang="en-US" sz="1200" b="0" dirty="0">
              <a:solidFill>
                <a:srgbClr val="50505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bold"/>
              <a:ea typeface="+mj-ea"/>
              <a:cs typeface="Segoe UI Semibold"/>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8"/>
              </a:rPr>
              <a:t>Azure-Samples/azure-</a:t>
            </a:r>
            <a:r>
              <a:rPr lang="en-US" sz="1200" dirty="0" err="1">
                <a:hlinkClick r:id="rId8"/>
              </a:rPr>
              <a:t>searc</a:t>
            </a:r>
            <a:r>
              <a:rPr lang="en-US" sz="1200" dirty="0">
                <a:hlinkClick r:id="rId8"/>
              </a:rPr>
              <a:t>-comparison-tool: A demo app showcasing Vector Search using Azure Cognitive Search, Azure OpenAI for text embeddings, and Azure AI Vision for image embeddings. (github.com)</a:t>
            </a:r>
            <a:endParaRPr kumimoji="0" lang="en-US" sz="1200" b="0" i="0" u="none" strike="noStrike" kern="1200" cap="none" spc="0" normalizeH="0" baseline="0" noProof="0" dirty="0">
              <a:ln>
                <a:noFill/>
              </a:ln>
              <a:solidFill>
                <a:srgbClr val="505050"/>
              </a:solidFill>
              <a:effectLst/>
              <a:uLnTx/>
              <a:uFillTx/>
              <a:latin typeface="Segoe UI Semibold"/>
              <a:ea typeface="+mj-ea"/>
              <a:cs typeface="Segoe UI Semibold"/>
            </a:endParaRPr>
          </a:p>
        </p:txBody>
      </p:sp>
      <p:sp>
        <p:nvSpPr>
          <p:cNvPr id="2" name="Title 1">
            <a:extLst>
              <a:ext uri="{FF2B5EF4-FFF2-40B4-BE49-F238E27FC236}">
                <a16:creationId xmlns:a16="http://schemas.microsoft.com/office/drawing/2014/main" id="{2731C5BF-2587-AA43-8D00-4B95D90A112D}"/>
              </a:ext>
            </a:extLst>
          </p:cNvPr>
          <p:cNvSpPr>
            <a:spLocks noGrp="1"/>
          </p:cNvSpPr>
          <p:nvPr>
            <p:ph type="title"/>
          </p:nvPr>
        </p:nvSpPr>
        <p:spPr/>
        <p:txBody>
          <a:bodyPr/>
          <a:lstStyle/>
          <a:p>
            <a:r>
              <a:rPr lang="en-US" dirty="0"/>
              <a:t>Additional</a:t>
            </a:r>
            <a:br>
              <a:rPr lang="en-US" dirty="0"/>
            </a:br>
            <a:r>
              <a:rPr lang="en-US" dirty="0"/>
              <a:t>Resources</a:t>
            </a:r>
          </a:p>
        </p:txBody>
      </p:sp>
      <p:sp>
        <p:nvSpPr>
          <p:cNvPr id="5" name="Title 1">
            <a:extLst>
              <a:ext uri="{FF2B5EF4-FFF2-40B4-BE49-F238E27FC236}">
                <a16:creationId xmlns:a16="http://schemas.microsoft.com/office/drawing/2014/main" id="{E1EEDAAD-0B42-CB4A-8A7D-345E1880AF6F}"/>
              </a:ext>
            </a:extLst>
          </p:cNvPr>
          <p:cNvSpPr txBox="1">
            <a:spLocks/>
          </p:cNvSpPr>
          <p:nvPr/>
        </p:nvSpPr>
        <p:spPr>
          <a:xfrm>
            <a:off x="4834731" y="656386"/>
            <a:ext cx="3439257" cy="615421"/>
          </a:xfrm>
          <a:prstGeom prst="rect">
            <a:avLst/>
          </a:prstGeom>
        </p:spPr>
        <p:txBody>
          <a:bodyPr anchor="t"/>
          <a:lstStyle>
            <a:lvl1pPr algn="l" defTabSz="914400" rtl="0" eaLnBrk="1" latinLnBrk="0" hangingPunct="1">
              <a:lnSpc>
                <a:spcPct val="90000"/>
              </a:lnSpc>
              <a:spcBef>
                <a:spcPct val="0"/>
              </a:spcBef>
              <a:buNone/>
              <a:defRPr sz="4400" b="1"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effectLst/>
                <a:uLnTx/>
                <a:uFillTx/>
                <a:latin typeface="Segoe UI Semibold" panose="020B0502040204020203" pitchFamily="34" charset="0"/>
                <a:ea typeface="+mj-ea"/>
                <a:cs typeface="Segoe UI Semibold" panose="020B0502040204020203" pitchFamily="34" charset="0"/>
              </a:rPr>
              <a:t>Repos</a:t>
            </a:r>
            <a:endParaRPr kumimoji="0" lang="en-US" sz="2400" b="0" i="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endParaRPr>
          </a:p>
        </p:txBody>
      </p:sp>
      <p:sp>
        <p:nvSpPr>
          <p:cNvPr id="11" name="Title 1">
            <a:extLst>
              <a:ext uri="{FF2B5EF4-FFF2-40B4-BE49-F238E27FC236}">
                <a16:creationId xmlns:a16="http://schemas.microsoft.com/office/drawing/2014/main" id="{7B0297DB-6B35-8F4B-B6CF-7F65777F9FC7}"/>
              </a:ext>
            </a:extLst>
          </p:cNvPr>
          <p:cNvSpPr txBox="1">
            <a:spLocks/>
          </p:cNvSpPr>
          <p:nvPr/>
        </p:nvSpPr>
        <p:spPr>
          <a:xfrm>
            <a:off x="8421710" y="673860"/>
            <a:ext cx="2522538" cy="615421"/>
          </a:xfrm>
          <a:prstGeom prst="rect">
            <a:avLst/>
          </a:prstGeom>
        </p:spPr>
        <p:txBody>
          <a:bodyPr anchor="t"/>
          <a:lstStyle>
            <a:lvl1pPr algn="l" defTabSz="914400" rtl="0" eaLnBrk="1" latinLnBrk="0" hangingPunct="1">
              <a:lnSpc>
                <a:spcPct val="90000"/>
              </a:lnSpc>
              <a:spcBef>
                <a:spcPct val="0"/>
              </a:spcBef>
              <a:buNone/>
              <a:defRPr sz="4400" b="1"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effectLst/>
                <a:uLnTx/>
                <a:uFillTx/>
                <a:latin typeface="Segoe UI Semibold" panose="020B0502040204020203" pitchFamily="34" charset="0"/>
                <a:ea typeface="+mj-ea"/>
                <a:cs typeface="Segoe UI Semibold" panose="020B0502040204020203" pitchFamily="34" charset="0"/>
              </a:rPr>
              <a:t>Docs</a:t>
            </a:r>
          </a:p>
        </p:txBody>
      </p:sp>
      <p:sp>
        <p:nvSpPr>
          <p:cNvPr id="12" name="Title 1">
            <a:extLst>
              <a:ext uri="{FF2B5EF4-FFF2-40B4-BE49-F238E27FC236}">
                <a16:creationId xmlns:a16="http://schemas.microsoft.com/office/drawing/2014/main" id="{1A449835-BD61-EE4B-ADED-4C1644F67E27}"/>
              </a:ext>
            </a:extLst>
          </p:cNvPr>
          <p:cNvSpPr txBox="1">
            <a:spLocks/>
          </p:cNvSpPr>
          <p:nvPr/>
        </p:nvSpPr>
        <p:spPr>
          <a:xfrm>
            <a:off x="8421710" y="1363908"/>
            <a:ext cx="2522538" cy="1316566"/>
          </a:xfrm>
          <a:prstGeom prst="rect">
            <a:avLst/>
          </a:prstGeom>
        </p:spPr>
        <p:txBody>
          <a:bodyPr lIns="91440" tIns="45720" rIns="91440" bIns="45720" anchor="t"/>
          <a:lstStyle>
            <a:lvl1pPr algn="l" defTabSz="914400" rtl="0" eaLnBrk="1" latinLnBrk="0" hangingPunct="1">
              <a:lnSpc>
                <a:spcPct val="90000"/>
              </a:lnSpc>
              <a:spcBef>
                <a:spcPct val="0"/>
              </a:spcBef>
              <a:buNone/>
              <a:defRPr sz="4400" b="1"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9"/>
              </a:rPr>
              <a:t>Vector search - Azure Cognitive Search | Microsoft Learn</a:t>
            </a:r>
            <a:endParaRPr kumimoji="0" lang="en-US" sz="1200" b="1" i="0" u="none" strike="noStrike" kern="1200" cap="none" spc="0" normalizeH="0" baseline="0" noProof="0" dirty="0">
              <a:ln>
                <a:noFill/>
              </a:ln>
              <a:solidFill>
                <a:srgbClr val="50E6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br>
              <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mj-ea"/>
                <a:cs typeface="Segoe UI" panose="020B0502040204020203" pitchFamily="34" charset="0"/>
                <a:hlinkClick r:id="" action="ppaction://noaction"/>
              </a:rPr>
            </a:b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10"/>
              </a:rPr>
              <a:t>Azure/cognitive-search-vector-pr: Private repository for the Vector search feature in Azure Cognitive Search. (github.com)</a:t>
            </a:r>
            <a:endPar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mj-ea"/>
              <a:cs typeface="Segoe UI" panose="020B0502040204020203" pitchFamily="34" charset="0"/>
              <a:hlinkClick r:id="" action="ppaction://noaction"/>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505050"/>
              </a:solidFill>
              <a:effectLst/>
              <a:uLnTx/>
              <a:uFillTx/>
              <a:latin typeface="Segoe UI" panose="020B0502040204020203" pitchFamily="34" charset="0"/>
              <a:ea typeface="+mj-ea"/>
              <a:cs typeface="Segoe UI" panose="020B0502040204020203" pitchFamily="34" charset="0"/>
              <a:hlinkClick r:id="" action="ppaction://noaction"/>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11"/>
              </a:rPr>
              <a:t>Azure OpenAI Service - Documentation, </a:t>
            </a:r>
            <a:r>
              <a:rPr kumimoji="0" lang="en-US" sz="1200" b="1" i="0" u="none" strike="noStrike" kern="1200" cap="none" spc="0" normalizeH="0" baseline="0" noProof="0" dirty="0" err="1">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11"/>
              </a:rPr>
              <a:t>quickstarts</a:t>
            </a: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11"/>
              </a:rPr>
              <a:t>, API reference - Azure Cognitive Services | Microsoft Learn</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hlinkClick r:id="rId12"/>
              </a:rPr>
              <a:t>Image Retrieval concepts - Image Analysis 4.0 - Azure Cognitive Services | Microsoft Learn</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US" sz="1200" dirty="0">
              <a:solidFill>
                <a:srgbClr val="FFFFFF"/>
              </a:solidFill>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200" dirty="0">
                <a:hlinkClick r:id="rId13"/>
              </a:rPr>
              <a:t>Azure Cognitive Search: Outperforming vector search with hybrid retrieval and ranking capabilities - Microsoft Community Hub</a:t>
            </a:r>
            <a:endPar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j-ea"/>
              <a:cs typeface="Segoe UI Semibold" panose="020B0502040204020203" pitchFamily="34" charset="0"/>
            </a:endParaRPr>
          </a:p>
        </p:txBody>
      </p:sp>
    </p:spTree>
    <p:extLst>
      <p:ext uri="{BB962C8B-B14F-4D97-AF65-F5344CB8AC3E}">
        <p14:creationId xmlns:p14="http://schemas.microsoft.com/office/powerpoint/2010/main" val="268650589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ky, outdoor, nature, shore&#10;&#10;Description automatically generated">
            <a:extLst>
              <a:ext uri="{FF2B5EF4-FFF2-40B4-BE49-F238E27FC236}">
                <a16:creationId xmlns:a16="http://schemas.microsoft.com/office/drawing/2014/main" id="{47300AB4-6966-4886-9A76-3D5F3B06BA9C}"/>
              </a:ext>
            </a:extLst>
          </p:cNvPr>
          <p:cNvPicPr>
            <a:picLocks noChangeAspect="1"/>
          </p:cNvPicPr>
          <p:nvPr/>
        </p:nvPicPr>
        <p:blipFill rotWithShape="1">
          <a:blip r:embed="rId3" cstate="email">
            <a:alphaModFix amt="78000"/>
            <a:extLst>
              <a:ext uri="{BEBA8EAE-BF5A-486C-A8C5-ECC9F3942E4B}">
                <a14:imgProps xmlns:a14="http://schemas.microsoft.com/office/drawing/2010/main">
                  <a14:imgLayer r:embed="rId4">
                    <a14:imgEffect>
                      <a14:brightnessContrast bright="-18000"/>
                    </a14:imgEffect>
                  </a14:imgLayer>
                </a14:imgProps>
              </a:ext>
              <a:ext uri="{28A0092B-C50C-407E-A947-70E740481C1C}">
                <a14:useLocalDpi xmlns:a14="http://schemas.microsoft.com/office/drawing/2010/main"/>
              </a:ext>
            </a:extLst>
          </a:blip>
          <a:srcRect/>
          <a:stretch/>
        </p:blipFill>
        <p:spPr>
          <a:xfrm>
            <a:off x="0" y="0"/>
            <a:ext cx="12192000" cy="2147582"/>
          </a:xfrm>
          <a:prstGeom prst="rect">
            <a:avLst/>
          </a:prstGeom>
        </p:spPr>
      </p:pic>
      <p:sp>
        <p:nvSpPr>
          <p:cNvPr id="2" name="Title 1">
            <a:extLst>
              <a:ext uri="{FF2B5EF4-FFF2-40B4-BE49-F238E27FC236}">
                <a16:creationId xmlns:a16="http://schemas.microsoft.com/office/drawing/2014/main" id="{B266EE76-2023-41DC-87AF-4F5CBE1B362B}"/>
              </a:ext>
            </a:extLst>
          </p:cNvPr>
          <p:cNvSpPr>
            <a:spLocks noGrp="1"/>
          </p:cNvSpPr>
          <p:nvPr>
            <p:ph type="title"/>
          </p:nvPr>
        </p:nvSpPr>
        <p:spPr/>
        <p:txBody>
          <a:bodyPr/>
          <a:lstStyle/>
          <a:p>
            <a:r>
              <a:rPr lang="en-US" dirty="0">
                <a:solidFill>
                  <a:schemeClr val="bg1"/>
                </a:solidFill>
              </a:rPr>
              <a:t>Upcoming Partner Enablement Sessions</a:t>
            </a:r>
          </a:p>
        </p:txBody>
      </p:sp>
      <p:sp>
        <p:nvSpPr>
          <p:cNvPr id="3" name="Text Placeholder 2">
            <a:extLst>
              <a:ext uri="{FF2B5EF4-FFF2-40B4-BE49-F238E27FC236}">
                <a16:creationId xmlns:a16="http://schemas.microsoft.com/office/drawing/2014/main" id="{8665F2B7-E57C-4BCD-975F-0412C1457178}"/>
              </a:ext>
            </a:extLst>
          </p:cNvPr>
          <p:cNvSpPr>
            <a:spLocks noGrp="1"/>
          </p:cNvSpPr>
          <p:nvPr>
            <p:ph sz="quarter" idx="10"/>
          </p:nvPr>
        </p:nvSpPr>
        <p:spPr>
          <a:xfrm>
            <a:off x="584200" y="2253829"/>
            <a:ext cx="11018838" cy="4358116"/>
          </a:xfrm>
        </p:spPr>
        <p:txBody>
          <a:bodyPr vert="horz" wrap="square" lIns="0" tIns="0" rIns="0" bIns="0" rtlCol="0" anchor="t">
            <a:spAutoFit/>
          </a:bodyPr>
          <a:lstStyle/>
          <a:p>
            <a:pPr>
              <a:buFont typeface="Arial" panose="020B0604020202020204" pitchFamily="34" charset="0"/>
              <a:buChar char="•"/>
            </a:pPr>
            <a:r>
              <a:rPr lang="en-US" sz="2400" dirty="0"/>
              <a:t>Microsoft Azure Infrastructure updates (Nov 2023)</a:t>
            </a:r>
            <a:endParaRPr lang="en-US" sz="2400" dirty="0">
              <a:cs typeface="Segoe UI"/>
            </a:endParaRPr>
          </a:p>
          <a:p>
            <a:pPr marL="0" indent="0">
              <a:buNone/>
            </a:pPr>
            <a:r>
              <a:rPr lang="en-US" sz="2400" dirty="0">
                <a:cs typeface="Segoe UI"/>
              </a:rPr>
              <a:t>   Thursday, Nov 29, 2023</a:t>
            </a:r>
            <a:endParaRPr lang="en-US" dirty="0">
              <a:cs typeface="Segoe UI"/>
            </a:endParaRPr>
          </a:p>
          <a:p>
            <a:pPr marL="0" indent="0">
              <a:buNone/>
            </a:pPr>
            <a:r>
              <a:rPr lang="en-US" sz="2400" dirty="0">
                <a:cs typeface="Segoe UI"/>
              </a:rPr>
              <a:t>           2:30 PM– 3:30 PM Hong Kong Time</a:t>
            </a:r>
            <a:endParaRPr lang="en-US" dirty="0"/>
          </a:p>
          <a:p>
            <a:pPr marL="0" indent="0">
              <a:buNone/>
            </a:pPr>
            <a:r>
              <a:rPr lang="en-US" sz="2400" dirty="0"/>
              <a:t>	</a:t>
            </a:r>
            <a:r>
              <a:rPr lang="en-US" sz="2400" dirty="0">
                <a:hlinkClick r:id="rId5"/>
              </a:rPr>
              <a:t>Click to register</a:t>
            </a:r>
            <a:endParaRPr lang="en-US" sz="2400" dirty="0"/>
          </a:p>
          <a:p>
            <a:pPr marL="0" indent="0">
              <a:buNone/>
            </a:pPr>
            <a:endParaRPr lang="en-US" sz="2400" dirty="0"/>
          </a:p>
          <a:p>
            <a:r>
              <a:rPr lang="en-US" sz="2400" dirty="0"/>
              <a:t> Azure OpenAI update &amp; workshop Train-the-trainer</a:t>
            </a:r>
          </a:p>
          <a:p>
            <a:pPr marL="0" indent="0">
              <a:buNone/>
            </a:pPr>
            <a:r>
              <a:rPr lang="en-US" sz="2400" dirty="0">
                <a:cs typeface="Segoe UI"/>
              </a:rPr>
              <a:t>   Thursday, Dec 7, 2023</a:t>
            </a:r>
          </a:p>
          <a:p>
            <a:pPr marL="0" indent="0">
              <a:buNone/>
            </a:pPr>
            <a:r>
              <a:rPr lang="en-US" sz="2400" dirty="0">
                <a:cs typeface="Segoe UI"/>
              </a:rPr>
              <a:t>           10:00 AM– 12:00 NN Hong Kong Time</a:t>
            </a:r>
          </a:p>
          <a:p>
            <a:pPr marL="0" indent="0">
              <a:buNone/>
            </a:pPr>
            <a:endParaRPr lang="en-US" sz="2400" dirty="0">
              <a:cs typeface="Segoe UI"/>
            </a:endParaRPr>
          </a:p>
          <a:p>
            <a:pPr marL="0" indent="0">
              <a:buNone/>
            </a:pPr>
            <a:r>
              <a:rPr lang="en-US" sz="2400" dirty="0"/>
              <a:t>To</a:t>
            </a:r>
            <a:r>
              <a:rPr lang="zh-TW" altLang="en-US" sz="2400" dirty="0"/>
              <a:t> </a:t>
            </a:r>
            <a:r>
              <a:rPr lang="en-US" altLang="zh-TW" sz="2400" dirty="0"/>
              <a:t>get latest formation: </a:t>
            </a:r>
            <a:r>
              <a:rPr lang="en-US" sz="2400" dirty="0">
                <a:hlinkClick r:id="rId6"/>
              </a:rPr>
              <a:t>Training and Events (microsoft.com)</a:t>
            </a:r>
            <a:endParaRPr lang="en-US" sz="2400" dirty="0"/>
          </a:p>
        </p:txBody>
      </p:sp>
    </p:spTree>
    <p:extLst>
      <p:ext uri="{BB962C8B-B14F-4D97-AF65-F5344CB8AC3E}">
        <p14:creationId xmlns:p14="http://schemas.microsoft.com/office/powerpoint/2010/main" val="352989997"/>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16B6E9-C028-40EC-82DF-6BB85DC903E1}"/>
              </a:ext>
            </a:extLst>
          </p:cNvPr>
          <p:cNvSpPr>
            <a:spLocks noGrp="1"/>
          </p:cNvSpPr>
          <p:nvPr>
            <p:ph type="title" idx="4294967295"/>
          </p:nvPr>
        </p:nvSpPr>
        <p:spPr>
          <a:xfrm>
            <a:off x="568713" y="1763480"/>
            <a:ext cx="7477125" cy="1473200"/>
          </a:xfrm>
        </p:spPr>
        <p:txBody>
          <a:bodyPr/>
          <a:lstStyle/>
          <a:p>
            <a:r>
              <a:rPr lang="en-US" dirty="0"/>
              <a:t>Thank you.</a:t>
            </a:r>
          </a:p>
        </p:txBody>
      </p:sp>
    </p:spTree>
    <p:extLst>
      <p:ext uri="{BB962C8B-B14F-4D97-AF65-F5344CB8AC3E}">
        <p14:creationId xmlns:p14="http://schemas.microsoft.com/office/powerpoint/2010/main" val="427165333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BBD78-3D2C-3F7F-B51C-B15FD62F50F6}"/>
              </a:ext>
            </a:extLst>
          </p:cNvPr>
          <p:cNvSpPr>
            <a:spLocks noGrp="1"/>
          </p:cNvSpPr>
          <p:nvPr>
            <p:ph type="title"/>
          </p:nvPr>
        </p:nvSpPr>
        <p:spPr/>
        <p:txBody>
          <a:bodyPr/>
          <a:lstStyle/>
          <a:p>
            <a:r>
              <a:rPr lang="en-US" dirty="0"/>
              <a:t>Index</a:t>
            </a:r>
          </a:p>
        </p:txBody>
      </p:sp>
      <p:sp>
        <p:nvSpPr>
          <p:cNvPr id="5" name="Content Placeholder 4">
            <a:extLst>
              <a:ext uri="{FF2B5EF4-FFF2-40B4-BE49-F238E27FC236}">
                <a16:creationId xmlns:a16="http://schemas.microsoft.com/office/drawing/2014/main" id="{07D0B2D6-DA02-9AFC-6962-D58A2E0635BF}"/>
              </a:ext>
            </a:extLst>
          </p:cNvPr>
          <p:cNvSpPr>
            <a:spLocks noGrp="1"/>
          </p:cNvSpPr>
          <p:nvPr>
            <p:ph sz="quarter" idx="10"/>
          </p:nvPr>
        </p:nvSpPr>
        <p:spPr>
          <a:xfrm>
            <a:off x="584200" y="1435100"/>
            <a:ext cx="11018838" cy="947952"/>
          </a:xfrm>
        </p:spPr>
        <p:txBody>
          <a:bodyPr/>
          <a:lstStyle/>
          <a:p>
            <a:r>
              <a:rPr lang="en-US" dirty="0"/>
              <a:t>Indexes contain </a:t>
            </a:r>
            <a:r>
              <a:rPr lang="en-US" i="1" dirty="0"/>
              <a:t>search documents</a:t>
            </a:r>
          </a:p>
          <a:p>
            <a:r>
              <a:rPr lang="en-US" dirty="0"/>
              <a:t>a document is a single unit of searchable data in the index</a:t>
            </a:r>
          </a:p>
        </p:txBody>
      </p:sp>
      <p:pic>
        <p:nvPicPr>
          <p:cNvPr id="7" name="Picture 6">
            <a:extLst>
              <a:ext uri="{FF2B5EF4-FFF2-40B4-BE49-F238E27FC236}">
                <a16:creationId xmlns:a16="http://schemas.microsoft.com/office/drawing/2014/main" id="{BD692E20-4956-1755-DCF1-BA65F361967B}"/>
              </a:ext>
            </a:extLst>
          </p:cNvPr>
          <p:cNvPicPr>
            <a:picLocks noChangeAspect="1"/>
          </p:cNvPicPr>
          <p:nvPr/>
        </p:nvPicPr>
        <p:blipFill>
          <a:blip r:embed="rId2"/>
          <a:stretch>
            <a:fillRect/>
          </a:stretch>
        </p:blipFill>
        <p:spPr>
          <a:xfrm>
            <a:off x="2163688" y="2732588"/>
            <a:ext cx="5887008" cy="3934627"/>
          </a:xfrm>
          <a:prstGeom prst="rect">
            <a:avLst/>
          </a:prstGeom>
        </p:spPr>
      </p:pic>
    </p:spTree>
    <p:extLst>
      <p:ext uri="{BB962C8B-B14F-4D97-AF65-F5344CB8AC3E}">
        <p14:creationId xmlns:p14="http://schemas.microsoft.com/office/powerpoint/2010/main" val="6045209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42BC7-ECE4-42E6-7831-CC41A1328B53}"/>
              </a:ext>
            </a:extLst>
          </p:cNvPr>
          <p:cNvSpPr>
            <a:spLocks noGrp="1"/>
          </p:cNvSpPr>
          <p:nvPr>
            <p:ph type="title"/>
          </p:nvPr>
        </p:nvSpPr>
        <p:spPr/>
        <p:txBody>
          <a:bodyPr/>
          <a:lstStyle/>
          <a:p>
            <a:r>
              <a:rPr lang="en-US"/>
              <a:t>Index Schema</a:t>
            </a:r>
            <a:endParaRPr lang="en-US" dirty="0"/>
          </a:p>
        </p:txBody>
      </p:sp>
      <p:pic>
        <p:nvPicPr>
          <p:cNvPr id="11" name="Picture 10">
            <a:extLst>
              <a:ext uri="{FF2B5EF4-FFF2-40B4-BE49-F238E27FC236}">
                <a16:creationId xmlns:a16="http://schemas.microsoft.com/office/drawing/2014/main" id="{A343E980-4E9B-7578-5443-BE80497E5434}"/>
              </a:ext>
            </a:extLst>
          </p:cNvPr>
          <p:cNvPicPr>
            <a:picLocks noChangeAspect="1"/>
          </p:cNvPicPr>
          <p:nvPr/>
        </p:nvPicPr>
        <p:blipFill>
          <a:blip r:embed="rId2"/>
          <a:stretch>
            <a:fillRect/>
          </a:stretch>
        </p:blipFill>
        <p:spPr>
          <a:xfrm>
            <a:off x="745850" y="1192633"/>
            <a:ext cx="10700300" cy="5372376"/>
          </a:xfrm>
          <a:prstGeom prst="rect">
            <a:avLst/>
          </a:prstGeom>
        </p:spPr>
      </p:pic>
      <p:sp>
        <p:nvSpPr>
          <p:cNvPr id="13" name="TextBox 12">
            <a:extLst>
              <a:ext uri="{FF2B5EF4-FFF2-40B4-BE49-F238E27FC236}">
                <a16:creationId xmlns:a16="http://schemas.microsoft.com/office/drawing/2014/main" id="{180E694D-D3EE-97DA-5001-BCC6D14CDA8D}"/>
              </a:ext>
            </a:extLst>
          </p:cNvPr>
          <p:cNvSpPr txBox="1"/>
          <p:nvPr/>
        </p:nvSpPr>
        <p:spPr>
          <a:xfrm>
            <a:off x="588263" y="6527304"/>
            <a:ext cx="6740164" cy="369332"/>
          </a:xfrm>
          <a:prstGeom prst="rect">
            <a:avLst/>
          </a:prstGeom>
          <a:noFill/>
        </p:spPr>
        <p:txBody>
          <a:bodyPr wrap="square">
            <a:spAutoFit/>
          </a:bodyPr>
          <a:lstStyle/>
          <a:p>
            <a:r>
              <a:rPr lang="en-US" dirty="0">
                <a:hlinkClick r:id="rId3"/>
              </a:rPr>
              <a:t>Index overview - Azure AI Search | Microsoft Learn</a:t>
            </a:r>
            <a:endParaRPr lang="en-US" dirty="0"/>
          </a:p>
        </p:txBody>
      </p:sp>
    </p:spTree>
    <p:extLst>
      <p:ext uri="{BB962C8B-B14F-4D97-AF65-F5344CB8AC3E}">
        <p14:creationId xmlns:p14="http://schemas.microsoft.com/office/powerpoint/2010/main" val="36286106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643C0-7B38-D415-B1E2-13476423FCFA}"/>
              </a:ext>
            </a:extLst>
          </p:cNvPr>
          <p:cNvSpPr>
            <a:spLocks noGrp="1"/>
          </p:cNvSpPr>
          <p:nvPr>
            <p:ph type="title"/>
          </p:nvPr>
        </p:nvSpPr>
        <p:spPr/>
        <p:txBody>
          <a:bodyPr/>
          <a:lstStyle/>
          <a:p>
            <a:r>
              <a:rPr lang="en-US" dirty="0"/>
              <a:t>Index Field Attributes</a:t>
            </a:r>
          </a:p>
        </p:txBody>
      </p:sp>
      <p:graphicFrame>
        <p:nvGraphicFramePr>
          <p:cNvPr id="3" name="Table 2">
            <a:extLst>
              <a:ext uri="{FF2B5EF4-FFF2-40B4-BE49-F238E27FC236}">
                <a16:creationId xmlns:a16="http://schemas.microsoft.com/office/drawing/2014/main" id="{2C0FE08C-9641-9AEE-DB3D-70A4C4101A64}"/>
              </a:ext>
            </a:extLst>
          </p:cNvPr>
          <p:cNvGraphicFramePr>
            <a:graphicFrameLocks noGrp="1"/>
          </p:cNvGraphicFramePr>
          <p:nvPr>
            <p:extLst>
              <p:ext uri="{D42A27DB-BD31-4B8C-83A1-F6EECF244321}">
                <p14:modId xmlns:p14="http://schemas.microsoft.com/office/powerpoint/2010/main" val="1875103417"/>
              </p:ext>
            </p:extLst>
          </p:nvPr>
        </p:nvGraphicFramePr>
        <p:xfrm>
          <a:off x="588263" y="1011198"/>
          <a:ext cx="11261230" cy="5550377"/>
        </p:xfrm>
        <a:graphic>
          <a:graphicData uri="http://schemas.openxmlformats.org/drawingml/2006/table">
            <a:tbl>
              <a:tblPr firstRow="1" bandRow="1">
                <a:tableStyleId>{5C22544A-7EE6-4342-B048-85BDC9FD1C3A}</a:tableStyleId>
              </a:tblPr>
              <a:tblGrid>
                <a:gridCol w="1625427">
                  <a:extLst>
                    <a:ext uri="{9D8B030D-6E8A-4147-A177-3AD203B41FA5}">
                      <a16:colId xmlns:a16="http://schemas.microsoft.com/office/drawing/2014/main" val="1670546611"/>
                    </a:ext>
                  </a:extLst>
                </a:gridCol>
                <a:gridCol w="9635803">
                  <a:extLst>
                    <a:ext uri="{9D8B030D-6E8A-4147-A177-3AD203B41FA5}">
                      <a16:colId xmlns:a16="http://schemas.microsoft.com/office/drawing/2014/main" val="298014116"/>
                    </a:ext>
                  </a:extLst>
                </a:gridCol>
              </a:tblGrid>
              <a:tr h="296327">
                <a:tc>
                  <a:txBody>
                    <a:bodyPr/>
                    <a:lstStyle/>
                    <a:p>
                      <a:pPr algn="l" fontAlgn="t"/>
                      <a:r>
                        <a:rPr lang="en-US" sz="1800" dirty="0">
                          <a:effectLst/>
                        </a:rPr>
                        <a:t>Attribute</a:t>
                      </a:r>
                    </a:p>
                  </a:txBody>
                  <a:tcPr marL="6300" marR="6300" marT="3150" marB="3150"/>
                </a:tc>
                <a:tc>
                  <a:txBody>
                    <a:bodyPr/>
                    <a:lstStyle/>
                    <a:p>
                      <a:pPr algn="l" fontAlgn="t"/>
                      <a:r>
                        <a:rPr lang="en-US" sz="1800">
                          <a:effectLst/>
                        </a:rPr>
                        <a:t>Description</a:t>
                      </a:r>
                    </a:p>
                  </a:txBody>
                  <a:tcPr marL="6300" marR="6300" marT="3150" marB="3150"/>
                </a:tc>
                <a:extLst>
                  <a:ext uri="{0D108BD9-81ED-4DB2-BD59-A6C34878D82A}">
                    <a16:rowId xmlns:a16="http://schemas.microsoft.com/office/drawing/2014/main" val="1838696813"/>
                  </a:ext>
                </a:extLst>
              </a:tr>
              <a:tr h="875675">
                <a:tc>
                  <a:txBody>
                    <a:bodyPr/>
                    <a:lstStyle/>
                    <a:p>
                      <a:pPr algn="l" fontAlgn="t"/>
                      <a:r>
                        <a:rPr lang="en-US" sz="1800" dirty="0">
                          <a:effectLst/>
                        </a:rPr>
                        <a:t>"searchable"</a:t>
                      </a:r>
                    </a:p>
                  </a:txBody>
                  <a:tcPr marL="6300" marR="6300" marT="3150" marB="3150"/>
                </a:tc>
                <a:tc>
                  <a:txBody>
                    <a:bodyPr/>
                    <a:lstStyle/>
                    <a:p>
                      <a:pPr algn="l" fontAlgn="t"/>
                      <a:r>
                        <a:rPr lang="en-US" sz="1800" dirty="0">
                          <a:effectLst/>
                        </a:rPr>
                        <a:t>Full-text searchable, subject to lexical analysis such as word-breaking during indexing. If you set a searchable field to a value like "sunny day", internally it's split into the individual tokens "sunny" and "day". For details, see </a:t>
                      </a:r>
                      <a:r>
                        <a:rPr lang="en-US" sz="1800" u="none" strike="noStrike" dirty="0">
                          <a:effectLst/>
                          <a:hlinkClick r:id="rId2"/>
                        </a:rPr>
                        <a:t>How full text search works</a:t>
                      </a:r>
                      <a:r>
                        <a:rPr lang="en-US" sz="1800" dirty="0">
                          <a:effectLst/>
                        </a:rPr>
                        <a:t>.</a:t>
                      </a:r>
                    </a:p>
                  </a:txBody>
                  <a:tcPr marL="6300" marR="6300" marT="3150" marB="3150"/>
                </a:tc>
                <a:extLst>
                  <a:ext uri="{0D108BD9-81ED-4DB2-BD59-A6C34878D82A}">
                    <a16:rowId xmlns:a16="http://schemas.microsoft.com/office/drawing/2014/main" val="3405448582"/>
                  </a:ext>
                </a:extLst>
              </a:tr>
              <a:tr h="1165349">
                <a:tc>
                  <a:txBody>
                    <a:bodyPr/>
                    <a:lstStyle/>
                    <a:p>
                      <a:pPr algn="l" fontAlgn="t"/>
                      <a:r>
                        <a:rPr lang="en-US" sz="1800" dirty="0">
                          <a:effectLst/>
                        </a:rPr>
                        <a:t>"filterable"</a:t>
                      </a:r>
                    </a:p>
                  </a:txBody>
                  <a:tcPr marL="6300" marR="6300" marT="3150" marB="3150"/>
                </a:tc>
                <a:tc>
                  <a:txBody>
                    <a:bodyPr/>
                    <a:lstStyle/>
                    <a:p>
                      <a:pPr algn="l" fontAlgn="t"/>
                      <a:r>
                        <a:rPr lang="en-US" sz="1800" dirty="0">
                          <a:effectLst/>
                        </a:rPr>
                        <a:t>Referenced in $filter queries. Filterable fields of type </a:t>
                      </a:r>
                      <a:r>
                        <a:rPr lang="en-US" sz="1800" dirty="0" err="1">
                          <a:effectLst/>
                        </a:rPr>
                        <a:t>Edm.String</a:t>
                      </a:r>
                      <a:r>
                        <a:rPr lang="en-US" sz="1800" dirty="0">
                          <a:effectLst/>
                        </a:rPr>
                        <a:t> or Collection(</a:t>
                      </a:r>
                      <a:r>
                        <a:rPr lang="en-US" sz="1800" dirty="0" err="1">
                          <a:effectLst/>
                        </a:rPr>
                        <a:t>Edm.String</a:t>
                      </a:r>
                      <a:r>
                        <a:rPr lang="en-US" sz="1800" dirty="0">
                          <a:effectLst/>
                        </a:rPr>
                        <a:t>) don't undergo word-breaking, so comparisons are for exact matches only. For example, if you set such a field f to "sunny day", $filter=f eq 'sunny' finds no matches, but $filter=f eq 'sunny day' will.</a:t>
                      </a:r>
                    </a:p>
                  </a:txBody>
                  <a:tcPr marL="6300" marR="6300" marT="3150" marB="3150"/>
                </a:tc>
                <a:extLst>
                  <a:ext uri="{0D108BD9-81ED-4DB2-BD59-A6C34878D82A}">
                    <a16:rowId xmlns:a16="http://schemas.microsoft.com/office/drawing/2014/main" val="3013443148"/>
                  </a:ext>
                </a:extLst>
              </a:tr>
              <a:tr h="586001">
                <a:tc>
                  <a:txBody>
                    <a:bodyPr/>
                    <a:lstStyle/>
                    <a:p>
                      <a:pPr algn="l" fontAlgn="t"/>
                      <a:r>
                        <a:rPr lang="en-US" sz="1800" dirty="0">
                          <a:effectLst/>
                        </a:rPr>
                        <a:t>"sortable"</a:t>
                      </a:r>
                    </a:p>
                  </a:txBody>
                  <a:tcPr marL="6300" marR="6300" marT="3150" marB="3150"/>
                </a:tc>
                <a:tc>
                  <a:txBody>
                    <a:bodyPr/>
                    <a:lstStyle/>
                    <a:p>
                      <a:pPr algn="l" fontAlgn="t"/>
                      <a:r>
                        <a:rPr lang="en-US" sz="1800">
                          <a:effectLst/>
                        </a:rPr>
                        <a:t>By default the system sorts results by score, but you can configure sort based on fields in the documents. Fields of type Collection(Edm.String) can't be "sortable".</a:t>
                      </a:r>
                    </a:p>
                  </a:txBody>
                  <a:tcPr marL="6300" marR="6300" marT="3150" marB="3150"/>
                </a:tc>
                <a:extLst>
                  <a:ext uri="{0D108BD9-81ED-4DB2-BD59-A6C34878D82A}">
                    <a16:rowId xmlns:a16="http://schemas.microsoft.com/office/drawing/2014/main" val="3078195598"/>
                  </a:ext>
                </a:extLst>
              </a:tr>
              <a:tr h="1165349">
                <a:tc>
                  <a:txBody>
                    <a:bodyPr/>
                    <a:lstStyle/>
                    <a:p>
                      <a:pPr algn="l" fontAlgn="t"/>
                      <a:r>
                        <a:rPr lang="en-US" sz="1800" dirty="0">
                          <a:effectLst/>
                        </a:rPr>
                        <a:t>"</a:t>
                      </a:r>
                      <a:r>
                        <a:rPr lang="en-US" sz="1800" dirty="0" err="1">
                          <a:effectLst/>
                        </a:rPr>
                        <a:t>facetable</a:t>
                      </a:r>
                      <a:r>
                        <a:rPr lang="en-US" sz="1800" dirty="0">
                          <a:effectLst/>
                        </a:rPr>
                        <a:t>"</a:t>
                      </a:r>
                    </a:p>
                  </a:txBody>
                  <a:tcPr marL="6300" marR="6300" marT="3150" marB="3150"/>
                </a:tc>
                <a:tc>
                  <a:txBody>
                    <a:bodyPr/>
                    <a:lstStyle/>
                    <a:p>
                      <a:pPr algn="l" fontAlgn="t"/>
                      <a:r>
                        <a:rPr lang="en-US" sz="1800">
                          <a:effectLst/>
                        </a:rPr>
                        <a:t>Typically used in a presentation of search results that includes a hit count by category (for example, hotels in a specific city). This option can't be used with fields of type Edm.GeographyPoint. Fields of type Edm.String that are filterable, "sortable", or "facetable" can be at most 32 kilobytes in length. For details, see </a:t>
                      </a:r>
                      <a:r>
                        <a:rPr lang="en-US" sz="1800" u="none" strike="noStrike">
                          <a:effectLst/>
                          <a:hlinkClick r:id="rId3"/>
                        </a:rPr>
                        <a:t>Create Index (REST API)</a:t>
                      </a:r>
                      <a:r>
                        <a:rPr lang="en-US" sz="1800">
                          <a:effectLst/>
                        </a:rPr>
                        <a:t>.</a:t>
                      </a:r>
                    </a:p>
                  </a:txBody>
                  <a:tcPr marL="6300" marR="6300" marT="3150" marB="3150"/>
                </a:tc>
                <a:extLst>
                  <a:ext uri="{0D108BD9-81ED-4DB2-BD59-A6C34878D82A}">
                    <a16:rowId xmlns:a16="http://schemas.microsoft.com/office/drawing/2014/main" val="3609886304"/>
                  </a:ext>
                </a:extLst>
              </a:tr>
              <a:tr h="586001">
                <a:tc>
                  <a:txBody>
                    <a:bodyPr/>
                    <a:lstStyle/>
                    <a:p>
                      <a:pPr algn="l" fontAlgn="t"/>
                      <a:r>
                        <a:rPr lang="en-US" sz="1800" dirty="0">
                          <a:effectLst/>
                        </a:rPr>
                        <a:t>"key"</a:t>
                      </a:r>
                    </a:p>
                  </a:txBody>
                  <a:tcPr marL="6300" marR="6300" marT="3150" marB="3150"/>
                </a:tc>
                <a:tc>
                  <a:txBody>
                    <a:bodyPr/>
                    <a:lstStyle/>
                    <a:p>
                      <a:pPr algn="l" fontAlgn="t"/>
                      <a:r>
                        <a:rPr lang="en-US" sz="1800" dirty="0">
                          <a:effectLst/>
                        </a:rPr>
                        <a:t>Unique identifier for documents within the index. Exactly one field must be chosen as the key field and it must be of type </a:t>
                      </a:r>
                      <a:r>
                        <a:rPr lang="en-US" sz="1800" dirty="0" err="1">
                          <a:effectLst/>
                        </a:rPr>
                        <a:t>Edm.String</a:t>
                      </a:r>
                      <a:r>
                        <a:rPr lang="en-US" sz="1800" dirty="0">
                          <a:effectLst/>
                        </a:rPr>
                        <a:t>.</a:t>
                      </a:r>
                    </a:p>
                  </a:txBody>
                  <a:tcPr marL="6300" marR="6300" marT="3150" marB="3150"/>
                </a:tc>
                <a:extLst>
                  <a:ext uri="{0D108BD9-81ED-4DB2-BD59-A6C34878D82A}">
                    <a16:rowId xmlns:a16="http://schemas.microsoft.com/office/drawing/2014/main" val="3032155438"/>
                  </a:ext>
                </a:extLst>
              </a:tr>
              <a:tr h="875675">
                <a:tc>
                  <a:txBody>
                    <a:bodyPr/>
                    <a:lstStyle/>
                    <a:p>
                      <a:pPr algn="l" fontAlgn="t"/>
                      <a:r>
                        <a:rPr lang="en-US" sz="1800">
                          <a:effectLst/>
                        </a:rPr>
                        <a:t>"retrievable"</a:t>
                      </a:r>
                    </a:p>
                  </a:txBody>
                  <a:tcPr marL="6300" marR="6300" marT="3150" marB="3150"/>
                </a:tc>
                <a:tc>
                  <a:txBody>
                    <a:bodyPr/>
                    <a:lstStyle/>
                    <a:p>
                      <a:pPr algn="l" fontAlgn="t"/>
                      <a:r>
                        <a:rPr lang="en-US" sz="1800" dirty="0">
                          <a:effectLst/>
                        </a:rPr>
                        <a:t>Determines whether the field can be returned in a search result. This is useful when you want to use a field (such as profit margin) as a filter, sorting, or scoring mechanism, but don't want the field to be visible to the end user. This attribute must be true for key fields.</a:t>
                      </a:r>
                    </a:p>
                  </a:txBody>
                  <a:tcPr marL="6300" marR="6300" marT="3150" marB="3150"/>
                </a:tc>
                <a:extLst>
                  <a:ext uri="{0D108BD9-81ED-4DB2-BD59-A6C34878D82A}">
                    <a16:rowId xmlns:a16="http://schemas.microsoft.com/office/drawing/2014/main" val="2638351044"/>
                  </a:ext>
                </a:extLst>
              </a:tr>
            </a:tbl>
          </a:graphicData>
        </a:graphic>
      </p:graphicFrame>
      <p:sp>
        <p:nvSpPr>
          <p:cNvPr id="5" name="TextBox 4">
            <a:extLst>
              <a:ext uri="{FF2B5EF4-FFF2-40B4-BE49-F238E27FC236}">
                <a16:creationId xmlns:a16="http://schemas.microsoft.com/office/drawing/2014/main" id="{498F1054-4D7C-B5C3-0AE8-97BE61CAD4EB}"/>
              </a:ext>
            </a:extLst>
          </p:cNvPr>
          <p:cNvSpPr txBox="1"/>
          <p:nvPr/>
        </p:nvSpPr>
        <p:spPr>
          <a:xfrm>
            <a:off x="588263" y="6561575"/>
            <a:ext cx="6740164" cy="369332"/>
          </a:xfrm>
          <a:prstGeom prst="rect">
            <a:avLst/>
          </a:prstGeom>
          <a:noFill/>
        </p:spPr>
        <p:txBody>
          <a:bodyPr wrap="square">
            <a:spAutoFit/>
          </a:bodyPr>
          <a:lstStyle/>
          <a:p>
            <a:r>
              <a:rPr lang="en-US" dirty="0">
                <a:hlinkClick r:id="rId4"/>
              </a:rPr>
              <a:t>Index overview - Azure AI Search | Microsoft Learn</a:t>
            </a:r>
            <a:endParaRPr lang="en-US" dirty="0"/>
          </a:p>
        </p:txBody>
      </p:sp>
    </p:spTree>
    <p:extLst>
      <p:ext uri="{BB962C8B-B14F-4D97-AF65-F5344CB8AC3E}">
        <p14:creationId xmlns:p14="http://schemas.microsoft.com/office/powerpoint/2010/main" val="6258446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zure Cognitive Search UX">
            <a:extLst>
              <a:ext uri="{FF2B5EF4-FFF2-40B4-BE49-F238E27FC236}">
                <a16:creationId xmlns:a16="http://schemas.microsoft.com/office/drawing/2014/main" id="{B499AF93-AEA4-4B2B-B4FB-AA2D60CA9C71}"/>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Lst>
          </a:blip>
          <a:srcRect l="6810" r="13874" b="7558"/>
          <a:stretch/>
        </p:blipFill>
        <p:spPr>
          <a:xfrm>
            <a:off x="1188038" y="175175"/>
            <a:ext cx="8555402" cy="6174919"/>
          </a:xfrm>
          <a:prstGeom prst="rect">
            <a:avLst/>
          </a:prstGeom>
        </p:spPr>
      </p:pic>
      <p:sp>
        <p:nvSpPr>
          <p:cNvPr id="7" name="Speech Bubble: Rectangle 6">
            <a:extLst>
              <a:ext uri="{FF2B5EF4-FFF2-40B4-BE49-F238E27FC236}">
                <a16:creationId xmlns:a16="http://schemas.microsoft.com/office/drawing/2014/main" id="{3F0B94B3-ABCA-4E49-A001-B6C7F20AD6B6}"/>
              </a:ext>
            </a:extLst>
          </p:cNvPr>
          <p:cNvSpPr/>
          <p:nvPr/>
        </p:nvSpPr>
        <p:spPr bwMode="auto">
          <a:xfrm>
            <a:off x="157401" y="827248"/>
            <a:ext cx="1811547" cy="457200"/>
          </a:xfrm>
          <a:prstGeom prst="wedgeRectCallout">
            <a:avLst>
              <a:gd name="adj1" fmla="val 56180"/>
              <a:gd name="adj2" fmla="val 10778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elling Mistakes</a:t>
            </a:r>
          </a:p>
        </p:txBody>
      </p:sp>
      <p:sp>
        <p:nvSpPr>
          <p:cNvPr id="8" name="Speech Bubble: Rectangle 7">
            <a:extLst>
              <a:ext uri="{FF2B5EF4-FFF2-40B4-BE49-F238E27FC236}">
                <a16:creationId xmlns:a16="http://schemas.microsoft.com/office/drawing/2014/main" id="{DC46F0DF-1314-4FFA-B3E9-15C2594BCE7A}"/>
              </a:ext>
            </a:extLst>
          </p:cNvPr>
          <p:cNvSpPr/>
          <p:nvPr/>
        </p:nvSpPr>
        <p:spPr bwMode="auto">
          <a:xfrm>
            <a:off x="9263603" y="1130773"/>
            <a:ext cx="1811546" cy="619579"/>
          </a:xfrm>
          <a:prstGeom prst="wedgeRectCallout">
            <a:avLst>
              <a:gd name="adj1" fmla="val -59058"/>
              <a:gd name="adj2" fmla="val 10589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eospatial Queries</a:t>
            </a:r>
          </a:p>
        </p:txBody>
      </p:sp>
      <p:sp>
        <p:nvSpPr>
          <p:cNvPr id="9" name="Speech Bubble: Rectangle 8">
            <a:extLst>
              <a:ext uri="{FF2B5EF4-FFF2-40B4-BE49-F238E27FC236}">
                <a16:creationId xmlns:a16="http://schemas.microsoft.com/office/drawing/2014/main" id="{60E63814-9460-485E-926D-53136BD0207B}"/>
              </a:ext>
            </a:extLst>
          </p:cNvPr>
          <p:cNvSpPr/>
          <p:nvPr/>
        </p:nvSpPr>
        <p:spPr bwMode="auto">
          <a:xfrm>
            <a:off x="137332" y="3375574"/>
            <a:ext cx="1811547" cy="457200"/>
          </a:xfrm>
          <a:prstGeom prst="wedgeRectCallout">
            <a:avLst>
              <a:gd name="adj1" fmla="val 50941"/>
              <a:gd name="adj2" fmla="val 9398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ters and Facets</a:t>
            </a:r>
          </a:p>
        </p:txBody>
      </p:sp>
      <p:sp>
        <p:nvSpPr>
          <p:cNvPr id="10" name="Speech Bubble: Rectangle 9">
            <a:extLst>
              <a:ext uri="{FF2B5EF4-FFF2-40B4-BE49-F238E27FC236}">
                <a16:creationId xmlns:a16="http://schemas.microsoft.com/office/drawing/2014/main" id="{ECD400A6-1548-479C-9687-7F99A9699216}"/>
              </a:ext>
            </a:extLst>
          </p:cNvPr>
          <p:cNvSpPr/>
          <p:nvPr/>
        </p:nvSpPr>
        <p:spPr bwMode="auto">
          <a:xfrm>
            <a:off x="9395461" y="4257533"/>
            <a:ext cx="1811547" cy="619579"/>
          </a:xfrm>
          <a:prstGeom prst="wedgeRectCallout">
            <a:avLst>
              <a:gd name="adj1" fmla="val -52312"/>
              <a:gd name="adj2" fmla="val 6851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nippets and Highlights</a:t>
            </a:r>
          </a:p>
        </p:txBody>
      </p:sp>
      <p:sp>
        <p:nvSpPr>
          <p:cNvPr id="17" name="Speech Bubble: Rectangle 16">
            <a:extLst>
              <a:ext uri="{FF2B5EF4-FFF2-40B4-BE49-F238E27FC236}">
                <a16:creationId xmlns:a16="http://schemas.microsoft.com/office/drawing/2014/main" id="{B25B4BE4-431E-45F1-98D4-56D4232BDE5E}"/>
              </a:ext>
            </a:extLst>
          </p:cNvPr>
          <p:cNvSpPr/>
          <p:nvPr/>
        </p:nvSpPr>
        <p:spPr bwMode="auto">
          <a:xfrm>
            <a:off x="157402" y="1752600"/>
            <a:ext cx="1811547" cy="631624"/>
          </a:xfrm>
          <a:prstGeom prst="wedgeRectCallout">
            <a:avLst>
              <a:gd name="adj1" fmla="val 56180"/>
              <a:gd name="adj2" fmla="val 10778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ggestions and</a:t>
            </a:r>
            <a:b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uto-complete</a:t>
            </a:r>
          </a:p>
        </p:txBody>
      </p:sp>
      <p:sp>
        <p:nvSpPr>
          <p:cNvPr id="18" name="Speech Bubble: Rectangle 17">
            <a:extLst>
              <a:ext uri="{FF2B5EF4-FFF2-40B4-BE49-F238E27FC236}">
                <a16:creationId xmlns:a16="http://schemas.microsoft.com/office/drawing/2014/main" id="{869E1C5C-F440-4D9E-A2D0-779B3C27E9CF}"/>
              </a:ext>
            </a:extLst>
          </p:cNvPr>
          <p:cNvSpPr/>
          <p:nvPr/>
        </p:nvSpPr>
        <p:spPr bwMode="auto">
          <a:xfrm>
            <a:off x="5116676" y="3375573"/>
            <a:ext cx="1369778" cy="457201"/>
          </a:xfrm>
          <a:prstGeom prst="wedgeRectCallout">
            <a:avLst>
              <a:gd name="adj1" fmla="val 10647"/>
              <a:gd name="adj2" fmla="val 10272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nking</a:t>
            </a:r>
          </a:p>
        </p:txBody>
      </p:sp>
      <p:sp>
        <p:nvSpPr>
          <p:cNvPr id="19" name="Speech Bubble: Rectangle 18">
            <a:extLst>
              <a:ext uri="{FF2B5EF4-FFF2-40B4-BE49-F238E27FC236}">
                <a16:creationId xmlns:a16="http://schemas.microsoft.com/office/drawing/2014/main" id="{9D1E901E-E885-42E5-9EF9-78F700CB9928}"/>
              </a:ext>
            </a:extLst>
          </p:cNvPr>
          <p:cNvSpPr/>
          <p:nvPr/>
        </p:nvSpPr>
        <p:spPr bwMode="auto">
          <a:xfrm>
            <a:off x="9335181" y="3144527"/>
            <a:ext cx="1811547" cy="457201"/>
          </a:xfrm>
          <a:prstGeom prst="wedgeRectCallout">
            <a:avLst>
              <a:gd name="adj1" fmla="val -59058"/>
              <a:gd name="adj2" fmla="val 10589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ging</a:t>
            </a: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23334630"/>
      </p:ext>
    </p:extLst>
  </p:cSld>
  <p:clrMapOvr>
    <a:masterClrMapping/>
  </p:clrMapOvr>
  <p:transition advTm="139388">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1E3113-A1DA-517D-0EBD-92F8A49A861A}"/>
              </a:ext>
            </a:extLst>
          </p:cNvPr>
          <p:cNvPicPr>
            <a:picLocks noChangeAspect="1"/>
          </p:cNvPicPr>
          <p:nvPr/>
        </p:nvPicPr>
        <p:blipFill>
          <a:blip r:embed="rId2"/>
          <a:stretch>
            <a:fillRect/>
          </a:stretch>
        </p:blipFill>
        <p:spPr>
          <a:xfrm>
            <a:off x="367325" y="295105"/>
            <a:ext cx="8061107" cy="6267790"/>
          </a:xfrm>
          <a:prstGeom prst="rect">
            <a:avLst/>
          </a:prstGeom>
        </p:spPr>
      </p:pic>
      <p:pic>
        <p:nvPicPr>
          <p:cNvPr id="5" name="Picture 4">
            <a:extLst>
              <a:ext uri="{FF2B5EF4-FFF2-40B4-BE49-F238E27FC236}">
                <a16:creationId xmlns:a16="http://schemas.microsoft.com/office/drawing/2014/main" id="{E246E024-3FBE-874D-7978-D8E9A7450E7A}"/>
              </a:ext>
            </a:extLst>
          </p:cNvPr>
          <p:cNvPicPr>
            <a:picLocks noChangeAspect="1"/>
          </p:cNvPicPr>
          <p:nvPr/>
        </p:nvPicPr>
        <p:blipFill>
          <a:blip r:embed="rId3"/>
          <a:stretch>
            <a:fillRect/>
          </a:stretch>
        </p:blipFill>
        <p:spPr>
          <a:xfrm>
            <a:off x="4258713" y="2464903"/>
            <a:ext cx="7565962" cy="3935897"/>
          </a:xfrm>
          <a:prstGeom prst="rect">
            <a:avLst/>
          </a:prstGeom>
        </p:spPr>
      </p:pic>
    </p:spTree>
    <p:extLst>
      <p:ext uri="{BB962C8B-B14F-4D97-AF65-F5344CB8AC3E}">
        <p14:creationId xmlns:p14="http://schemas.microsoft.com/office/powerpoint/2010/main" val="317770572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AA0A774-5134-7242-E080-C7A7486DB8C5}"/>
              </a:ext>
            </a:extLst>
          </p:cNvPr>
          <p:cNvSpPr>
            <a:spLocks noGrp="1"/>
          </p:cNvSpPr>
          <p:nvPr>
            <p:ph type="title"/>
          </p:nvPr>
        </p:nvSpPr>
        <p:spPr>
          <a:xfrm>
            <a:off x="588263" y="457200"/>
            <a:ext cx="11018520" cy="492443"/>
          </a:xfrm>
        </p:spPr>
        <p:txBody>
          <a:bodyPr/>
          <a:lstStyle/>
          <a:p>
            <a:r>
              <a:rPr kumimoji="0" lang="en-US" sz="3200" b="0" i="0" u="none" strike="noStrike" kern="1200" cap="none" spc="-50" normalizeH="0" baseline="0" noProof="0" dirty="0">
                <a:ln w="3175">
                  <a:noFill/>
                </a:ln>
                <a:solidFill>
                  <a:schemeClr val="tx1"/>
                </a:solidFill>
                <a:effectLst/>
                <a:uLnTx/>
                <a:uFillTx/>
                <a:latin typeface="Segoe UI Semibold"/>
                <a:ea typeface="+mn-ea"/>
                <a:cs typeface="Segoe UI"/>
              </a:rPr>
              <a:t>Data Import</a:t>
            </a:r>
            <a:endParaRPr lang="en-US" dirty="0">
              <a:solidFill>
                <a:srgbClr val="0078D4"/>
              </a:solidFill>
            </a:endParaRPr>
          </a:p>
        </p:txBody>
      </p:sp>
      <p:sp>
        <p:nvSpPr>
          <p:cNvPr id="4" name="Text Placeholder 3">
            <a:extLst>
              <a:ext uri="{FF2B5EF4-FFF2-40B4-BE49-F238E27FC236}">
                <a16:creationId xmlns:a16="http://schemas.microsoft.com/office/drawing/2014/main" id="{79BC6B29-F566-DA30-5FF9-C81F047D8C4D}"/>
              </a:ext>
            </a:extLst>
          </p:cNvPr>
          <p:cNvSpPr>
            <a:spLocks noGrp="1"/>
          </p:cNvSpPr>
          <p:nvPr>
            <p:ph sz="quarter" idx="12"/>
          </p:nvPr>
        </p:nvSpPr>
        <p:spPr>
          <a:xfrm>
            <a:off x="592137" y="2071200"/>
            <a:ext cx="5419049" cy="4038029"/>
          </a:xfrm>
        </p:spPr>
        <p:txBody>
          <a:bodyPr vert="horz" wrap="square" lIns="0" tIns="0" rIns="0" bIns="0" rtlCol="0" anchor="t">
            <a:spAutoFit/>
          </a:bodyPr>
          <a:lstStyle/>
          <a:p>
            <a:r>
              <a:rPr lang="en-US" sz="2000" dirty="0">
                <a:cs typeface="Segoe UI"/>
              </a:rPr>
              <a:t>Automated data ingestion using our Indexer</a:t>
            </a:r>
          </a:p>
          <a:p>
            <a:pPr lvl="1"/>
            <a:r>
              <a:rPr lang="en-US" sz="1600" dirty="0">
                <a:cs typeface="Segoe UI"/>
              </a:rPr>
              <a:t>Azure Blob storage</a:t>
            </a:r>
          </a:p>
          <a:p>
            <a:pPr lvl="1"/>
            <a:r>
              <a:rPr lang="en-US" sz="1600" dirty="0">
                <a:cs typeface="Segoe UI"/>
              </a:rPr>
              <a:t>Azure Table storage</a:t>
            </a:r>
          </a:p>
          <a:p>
            <a:pPr lvl="1"/>
            <a:r>
              <a:rPr lang="en-US" sz="1600" dirty="0">
                <a:cs typeface="Segoe UI"/>
              </a:rPr>
              <a:t>Azure Data Lake Storage Gen2</a:t>
            </a:r>
          </a:p>
          <a:p>
            <a:pPr lvl="1"/>
            <a:r>
              <a:rPr lang="en-US" sz="1600" dirty="0">
                <a:cs typeface="Segoe UI"/>
              </a:rPr>
              <a:t>Azure Files (preview)</a:t>
            </a:r>
          </a:p>
          <a:p>
            <a:pPr lvl="1"/>
            <a:r>
              <a:rPr lang="en-US" sz="1600" dirty="0">
                <a:cs typeface="Segoe UI"/>
              </a:rPr>
              <a:t>Azure Cosmos DB</a:t>
            </a:r>
          </a:p>
          <a:p>
            <a:pPr lvl="1"/>
            <a:r>
              <a:rPr lang="en-US" sz="1600" dirty="0">
                <a:cs typeface="Segoe UI"/>
              </a:rPr>
              <a:t>Azure SQL Database, SQL Managed Instance, and SQL Server on Azure VMs</a:t>
            </a:r>
          </a:p>
          <a:p>
            <a:pPr lvl="1"/>
            <a:r>
              <a:rPr lang="en-US" sz="1600" dirty="0">
                <a:cs typeface="Segoe UI"/>
              </a:rPr>
              <a:t>SharePoint in Microsoft 365 (preview)</a:t>
            </a:r>
          </a:p>
          <a:p>
            <a:r>
              <a:rPr lang="en-US" sz="2000" dirty="0">
                <a:cs typeface="Segoe UI"/>
              </a:rPr>
              <a:t>Connection defined with Data source</a:t>
            </a:r>
          </a:p>
          <a:p>
            <a:r>
              <a:rPr lang="en-US" sz="2000" dirty="0">
                <a:cs typeface="Segoe UI"/>
              </a:rPr>
              <a:t>Utilize custom skills to generate embeddings and process data during indexing</a:t>
            </a:r>
          </a:p>
          <a:p>
            <a:r>
              <a:rPr lang="en-US" sz="2000" dirty="0">
                <a:cs typeface="Segoe UI"/>
              </a:rPr>
              <a:t>Streamlined Indexing</a:t>
            </a:r>
          </a:p>
        </p:txBody>
      </p:sp>
      <p:sp>
        <p:nvSpPr>
          <p:cNvPr id="6" name="Text Placeholder 5">
            <a:extLst>
              <a:ext uri="{FF2B5EF4-FFF2-40B4-BE49-F238E27FC236}">
                <a16:creationId xmlns:a16="http://schemas.microsoft.com/office/drawing/2014/main" id="{CCEB8F6C-B883-7EED-195B-5F39574A93E9}"/>
              </a:ext>
            </a:extLst>
          </p:cNvPr>
          <p:cNvSpPr>
            <a:spLocks noGrp="1"/>
          </p:cNvSpPr>
          <p:nvPr>
            <p:ph sz="quarter" idx="13"/>
          </p:nvPr>
        </p:nvSpPr>
        <p:spPr>
          <a:xfrm>
            <a:off x="6396039" y="2011680"/>
            <a:ext cx="5219700" cy="4257358"/>
          </a:xfrm>
        </p:spPr>
        <p:txBody>
          <a:bodyPr/>
          <a:lstStyle/>
          <a:p>
            <a:r>
              <a:rPr lang="en-US" sz="2000" dirty="0"/>
              <a:t>Manual Data Ingestion giving you full control over the indexing process</a:t>
            </a:r>
          </a:p>
          <a:p>
            <a:r>
              <a:rPr lang="en-US" sz="2000" dirty="0"/>
              <a:t>Quick and easy to get started</a:t>
            </a:r>
          </a:p>
          <a:p>
            <a:r>
              <a:rPr lang="en-US" sz="2000" dirty="0"/>
              <a:t>High Flexibility </a:t>
            </a:r>
          </a:p>
        </p:txBody>
      </p:sp>
      <p:sp>
        <p:nvSpPr>
          <p:cNvPr id="3" name="Text Placeholder 2">
            <a:extLst>
              <a:ext uri="{FF2B5EF4-FFF2-40B4-BE49-F238E27FC236}">
                <a16:creationId xmlns:a16="http://schemas.microsoft.com/office/drawing/2014/main" id="{3137AAB7-C863-B8F0-9603-75421FC997E4}"/>
              </a:ext>
            </a:extLst>
          </p:cNvPr>
          <p:cNvSpPr>
            <a:spLocks noGrp="1"/>
          </p:cNvSpPr>
          <p:nvPr>
            <p:ph type="body" sz="quarter" idx="4294967295"/>
          </p:nvPr>
        </p:nvSpPr>
        <p:spPr>
          <a:xfrm>
            <a:off x="584200" y="1556362"/>
            <a:ext cx="5219700" cy="338138"/>
          </a:xfrm>
        </p:spPr>
        <p:txBody>
          <a:bodyPr/>
          <a:lstStyle/>
          <a:p>
            <a:pPr marL="0" indent="0">
              <a:buNone/>
            </a:pPr>
            <a:r>
              <a:rPr lang="en-US" sz="2200" dirty="0">
                <a:solidFill>
                  <a:srgbClr val="0078D4"/>
                </a:solidFill>
                <a:cs typeface="Segoe UI"/>
              </a:rPr>
              <a:t>“Pull” </a:t>
            </a:r>
            <a:endParaRPr lang="en-US" sz="2200" dirty="0">
              <a:solidFill>
                <a:srgbClr val="0078D4"/>
              </a:solidFill>
            </a:endParaRPr>
          </a:p>
        </p:txBody>
      </p:sp>
      <p:sp>
        <p:nvSpPr>
          <p:cNvPr id="5" name="Text Placeholder 4">
            <a:extLst>
              <a:ext uri="{FF2B5EF4-FFF2-40B4-BE49-F238E27FC236}">
                <a16:creationId xmlns:a16="http://schemas.microsoft.com/office/drawing/2014/main" id="{E8EDDEA3-CD34-F207-68BA-43ED10D29CCF}"/>
              </a:ext>
            </a:extLst>
          </p:cNvPr>
          <p:cNvSpPr>
            <a:spLocks noGrp="1"/>
          </p:cNvSpPr>
          <p:nvPr>
            <p:ph type="body" sz="quarter" idx="4294967295"/>
          </p:nvPr>
        </p:nvSpPr>
        <p:spPr>
          <a:xfrm>
            <a:off x="6396039" y="1503146"/>
            <a:ext cx="5219700" cy="338138"/>
          </a:xfrm>
        </p:spPr>
        <p:txBody>
          <a:bodyPr/>
          <a:lstStyle/>
          <a:p>
            <a:pPr marL="0" indent="0">
              <a:buNone/>
            </a:pPr>
            <a:r>
              <a:rPr lang="en-US" sz="2200" dirty="0">
                <a:solidFill>
                  <a:srgbClr val="0078D4"/>
                </a:solidFill>
                <a:cs typeface="Segoe UI"/>
              </a:rPr>
              <a:t>“Push”</a:t>
            </a:r>
          </a:p>
        </p:txBody>
      </p:sp>
      <p:pic>
        <p:nvPicPr>
          <p:cNvPr id="7" name="Picture 6">
            <a:extLst>
              <a:ext uri="{FF2B5EF4-FFF2-40B4-BE49-F238E27FC236}">
                <a16:creationId xmlns:a16="http://schemas.microsoft.com/office/drawing/2014/main" id="{22F1A2DC-DA2B-B6FF-563E-8E674BD241C6}"/>
              </a:ext>
            </a:extLst>
          </p:cNvPr>
          <p:cNvPicPr>
            <a:picLocks noChangeAspect="1"/>
          </p:cNvPicPr>
          <p:nvPr/>
        </p:nvPicPr>
        <p:blipFill rotWithShape="1">
          <a:blip r:embed="rId3"/>
          <a:srcRect r="6876"/>
          <a:stretch/>
        </p:blipFill>
        <p:spPr>
          <a:xfrm>
            <a:off x="6567487" y="3816558"/>
            <a:ext cx="5219701" cy="925417"/>
          </a:xfrm>
          <a:prstGeom prst="rect">
            <a:avLst/>
          </a:prstGeom>
        </p:spPr>
      </p:pic>
      <p:sp>
        <p:nvSpPr>
          <p:cNvPr id="10" name="TextBox 9">
            <a:extLst>
              <a:ext uri="{FF2B5EF4-FFF2-40B4-BE49-F238E27FC236}">
                <a16:creationId xmlns:a16="http://schemas.microsoft.com/office/drawing/2014/main" id="{A78EDEFB-345A-D495-57B9-C4A36C60B442}"/>
              </a:ext>
            </a:extLst>
          </p:cNvPr>
          <p:cNvSpPr txBox="1"/>
          <p:nvPr/>
        </p:nvSpPr>
        <p:spPr>
          <a:xfrm>
            <a:off x="6493858" y="4912371"/>
            <a:ext cx="6740664" cy="369332"/>
          </a:xfrm>
          <a:prstGeom prst="rect">
            <a:avLst/>
          </a:prstGeom>
          <a:noFill/>
        </p:spPr>
        <p:txBody>
          <a:bodyPr wrap="square">
            <a:spAutoFit/>
          </a:bodyPr>
          <a:lstStyle/>
          <a:p>
            <a:r>
              <a:rPr lang="en-US" dirty="0">
                <a:hlinkClick r:id="rId4"/>
              </a:rPr>
              <a:t>REST samples - Azure AI Search | Microsoft Learn</a:t>
            </a:r>
            <a:endParaRPr lang="en-US" dirty="0"/>
          </a:p>
        </p:txBody>
      </p:sp>
      <p:sp>
        <p:nvSpPr>
          <p:cNvPr id="12" name="TextBox 11">
            <a:extLst>
              <a:ext uri="{FF2B5EF4-FFF2-40B4-BE49-F238E27FC236}">
                <a16:creationId xmlns:a16="http://schemas.microsoft.com/office/drawing/2014/main" id="{CD396145-A692-D211-0BF1-2C3080D9F677}"/>
              </a:ext>
            </a:extLst>
          </p:cNvPr>
          <p:cNvSpPr txBox="1"/>
          <p:nvPr/>
        </p:nvSpPr>
        <p:spPr>
          <a:xfrm>
            <a:off x="6493858" y="5281703"/>
            <a:ext cx="5085844" cy="646331"/>
          </a:xfrm>
          <a:prstGeom prst="rect">
            <a:avLst/>
          </a:prstGeom>
          <a:noFill/>
        </p:spPr>
        <p:txBody>
          <a:bodyPr wrap="square">
            <a:spAutoFit/>
          </a:bodyPr>
          <a:lstStyle/>
          <a:p>
            <a:r>
              <a:rPr lang="en-US" dirty="0">
                <a:hlinkClick r:id="rId5"/>
              </a:rPr>
              <a:t>https://github.com/Azure-Samples/azure-search-postman-samples</a:t>
            </a:r>
            <a:endParaRPr lang="en-US" dirty="0"/>
          </a:p>
        </p:txBody>
      </p:sp>
    </p:spTree>
    <p:extLst>
      <p:ext uri="{BB962C8B-B14F-4D97-AF65-F5344CB8AC3E}">
        <p14:creationId xmlns:p14="http://schemas.microsoft.com/office/powerpoint/2010/main" val="9178425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8F973-748A-8E47-0B41-60085A283D09}"/>
              </a:ext>
            </a:extLst>
          </p:cNvPr>
          <p:cNvSpPr>
            <a:spLocks noGrp="1"/>
          </p:cNvSpPr>
          <p:nvPr>
            <p:ph type="title"/>
          </p:nvPr>
        </p:nvSpPr>
        <p:spPr/>
        <p:txBody>
          <a:bodyPr/>
          <a:lstStyle/>
          <a:p>
            <a:r>
              <a:rPr lang="en-US" dirty="0"/>
              <a:t>Indexer Scenarios</a:t>
            </a:r>
          </a:p>
        </p:txBody>
      </p:sp>
      <p:graphicFrame>
        <p:nvGraphicFramePr>
          <p:cNvPr id="3" name="Table 2">
            <a:extLst>
              <a:ext uri="{FF2B5EF4-FFF2-40B4-BE49-F238E27FC236}">
                <a16:creationId xmlns:a16="http://schemas.microsoft.com/office/drawing/2014/main" id="{A3B93FD3-6180-9BE1-C464-5D7A9DD3BABD}"/>
              </a:ext>
            </a:extLst>
          </p:cNvPr>
          <p:cNvGraphicFramePr>
            <a:graphicFrameLocks noGrp="1"/>
          </p:cNvGraphicFramePr>
          <p:nvPr>
            <p:extLst>
              <p:ext uri="{D42A27DB-BD31-4B8C-83A1-F6EECF244321}">
                <p14:modId xmlns:p14="http://schemas.microsoft.com/office/powerpoint/2010/main" val="2213681564"/>
              </p:ext>
            </p:extLst>
          </p:nvPr>
        </p:nvGraphicFramePr>
        <p:xfrm>
          <a:off x="586740" y="1083361"/>
          <a:ext cx="11018520" cy="2640227"/>
        </p:xfrm>
        <a:graphic>
          <a:graphicData uri="http://schemas.openxmlformats.org/drawingml/2006/table">
            <a:tbl>
              <a:tblPr firstRow="1" bandRow="1">
                <a:tableStyleId>{5C22544A-7EE6-4342-B048-85BDC9FD1C3A}</a:tableStyleId>
              </a:tblPr>
              <a:tblGrid>
                <a:gridCol w="2334046">
                  <a:extLst>
                    <a:ext uri="{9D8B030D-6E8A-4147-A177-3AD203B41FA5}">
                      <a16:colId xmlns:a16="http://schemas.microsoft.com/office/drawing/2014/main" val="91250561"/>
                    </a:ext>
                  </a:extLst>
                </a:gridCol>
                <a:gridCol w="8684474">
                  <a:extLst>
                    <a:ext uri="{9D8B030D-6E8A-4147-A177-3AD203B41FA5}">
                      <a16:colId xmlns:a16="http://schemas.microsoft.com/office/drawing/2014/main" val="1691645547"/>
                    </a:ext>
                  </a:extLst>
                </a:gridCol>
              </a:tblGrid>
              <a:tr h="335476">
                <a:tc>
                  <a:txBody>
                    <a:bodyPr/>
                    <a:lstStyle/>
                    <a:p>
                      <a:pPr algn="l" fontAlgn="t"/>
                      <a:r>
                        <a:rPr lang="en-US" sz="1600" dirty="0">
                          <a:effectLst/>
                        </a:rPr>
                        <a:t>Scenario</a:t>
                      </a:r>
                    </a:p>
                  </a:txBody>
                  <a:tcPr marL="6504" marR="6504" marT="3252" marB="3252" anchor="ctr"/>
                </a:tc>
                <a:tc>
                  <a:txBody>
                    <a:bodyPr/>
                    <a:lstStyle/>
                    <a:p>
                      <a:pPr algn="l" fontAlgn="t"/>
                      <a:r>
                        <a:rPr lang="en-US" sz="1600">
                          <a:effectLst/>
                        </a:rPr>
                        <a:t>Strategy</a:t>
                      </a:r>
                    </a:p>
                  </a:txBody>
                  <a:tcPr marL="6504" marR="6504" marT="3252" marB="3252" anchor="ctr"/>
                </a:tc>
                <a:extLst>
                  <a:ext uri="{0D108BD9-81ED-4DB2-BD59-A6C34878D82A}">
                    <a16:rowId xmlns:a16="http://schemas.microsoft.com/office/drawing/2014/main" val="1008742209"/>
                  </a:ext>
                </a:extLst>
              </a:tr>
              <a:tr h="988996">
                <a:tc>
                  <a:txBody>
                    <a:bodyPr/>
                    <a:lstStyle/>
                    <a:p>
                      <a:pPr algn="l" fontAlgn="t"/>
                      <a:r>
                        <a:rPr lang="en-US" sz="1600" dirty="0">
                          <a:effectLst/>
                        </a:rPr>
                        <a:t>Single data source</a:t>
                      </a:r>
                    </a:p>
                  </a:txBody>
                  <a:tcPr marL="6504" marR="6504" marT="3252" marB="3252" anchor="ctr"/>
                </a:tc>
                <a:tc>
                  <a:txBody>
                    <a:bodyPr/>
                    <a:lstStyle/>
                    <a:p>
                      <a:pPr algn="l" fontAlgn="t"/>
                      <a:r>
                        <a:rPr lang="en-US" sz="1600" dirty="0">
                          <a:effectLst/>
                        </a:rPr>
                        <a:t>This pattern is the simplest: one data source is the sole content provider for a search index. Most supported data sources provide some form of change detection so that subsequent indexer runs pick up the difference when content is added or updated in the source.</a:t>
                      </a:r>
                    </a:p>
                  </a:txBody>
                  <a:tcPr marL="6504" marR="6504" marT="3252" marB="3252" anchor="ctr"/>
                </a:tc>
                <a:extLst>
                  <a:ext uri="{0D108BD9-81ED-4DB2-BD59-A6C34878D82A}">
                    <a16:rowId xmlns:a16="http://schemas.microsoft.com/office/drawing/2014/main" val="3931511295"/>
                  </a:ext>
                </a:extLst>
              </a:tr>
              <a:tr h="1315755">
                <a:tc>
                  <a:txBody>
                    <a:bodyPr/>
                    <a:lstStyle/>
                    <a:p>
                      <a:pPr algn="l" fontAlgn="t"/>
                      <a:r>
                        <a:rPr lang="en-US" sz="1600" dirty="0">
                          <a:effectLst/>
                        </a:rPr>
                        <a:t>Multiple data sources</a:t>
                      </a:r>
                    </a:p>
                  </a:txBody>
                  <a:tcPr marL="6504" marR="6504" marT="3252" marB="3252" anchor="ctr"/>
                </a:tc>
                <a:tc>
                  <a:txBody>
                    <a:bodyPr/>
                    <a:lstStyle/>
                    <a:p>
                      <a:pPr algn="l" fontAlgn="t"/>
                      <a:r>
                        <a:rPr lang="en-US" sz="1600" dirty="0">
                          <a:effectLst/>
                        </a:rPr>
                        <a:t>An indexer specification can have only one data source, but the search index itself can accept content from multiple sources, where each indexer run brings new content from a different data provider. Each source can contribute its share of full documents, or populate selected fields in each document. For a closer look at this scenario, see </a:t>
                      </a:r>
                      <a:r>
                        <a:rPr lang="en-US" sz="1600" u="none" strike="noStrike" dirty="0">
                          <a:effectLst/>
                          <a:hlinkClick r:id="rId2"/>
                        </a:rPr>
                        <a:t>Tutorial: Index from multiple data sources</a:t>
                      </a:r>
                      <a:r>
                        <a:rPr lang="en-US" sz="1600" dirty="0">
                          <a:effectLst/>
                        </a:rPr>
                        <a:t>.</a:t>
                      </a:r>
                    </a:p>
                  </a:txBody>
                  <a:tcPr marL="6504" marR="6504" marT="3252" marB="3252" anchor="ctr"/>
                </a:tc>
                <a:extLst>
                  <a:ext uri="{0D108BD9-81ED-4DB2-BD59-A6C34878D82A}">
                    <a16:rowId xmlns:a16="http://schemas.microsoft.com/office/drawing/2014/main" val="1166663116"/>
                  </a:ext>
                </a:extLst>
              </a:tr>
            </a:tbl>
          </a:graphicData>
        </a:graphic>
      </p:graphicFrame>
      <p:pic>
        <p:nvPicPr>
          <p:cNvPr id="4098" name="Picture 2" descr="Diagram of indexer workflow.">
            <a:extLst>
              <a:ext uri="{FF2B5EF4-FFF2-40B4-BE49-F238E27FC236}">
                <a16:creationId xmlns:a16="http://schemas.microsoft.com/office/drawing/2014/main" id="{C6E36DF2-D2A8-1BB1-FE1E-0CE5C8FFB7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2383" y="4447755"/>
            <a:ext cx="8826274" cy="1109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2849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8F973-748A-8E47-0B41-60085A283D09}"/>
              </a:ext>
            </a:extLst>
          </p:cNvPr>
          <p:cNvSpPr>
            <a:spLocks noGrp="1"/>
          </p:cNvSpPr>
          <p:nvPr>
            <p:ph type="title"/>
          </p:nvPr>
        </p:nvSpPr>
        <p:spPr/>
        <p:txBody>
          <a:bodyPr/>
          <a:lstStyle/>
          <a:p>
            <a:r>
              <a:rPr lang="en-US" dirty="0"/>
              <a:t>Indexer Scenarios</a:t>
            </a:r>
          </a:p>
        </p:txBody>
      </p:sp>
      <p:graphicFrame>
        <p:nvGraphicFramePr>
          <p:cNvPr id="3" name="Table 2">
            <a:extLst>
              <a:ext uri="{FF2B5EF4-FFF2-40B4-BE49-F238E27FC236}">
                <a16:creationId xmlns:a16="http://schemas.microsoft.com/office/drawing/2014/main" id="{A3B93FD3-6180-9BE1-C464-5D7A9DD3BABD}"/>
              </a:ext>
            </a:extLst>
          </p:cNvPr>
          <p:cNvGraphicFramePr>
            <a:graphicFrameLocks noGrp="1"/>
          </p:cNvGraphicFramePr>
          <p:nvPr>
            <p:extLst>
              <p:ext uri="{D42A27DB-BD31-4B8C-83A1-F6EECF244321}">
                <p14:modId xmlns:p14="http://schemas.microsoft.com/office/powerpoint/2010/main" val="1110976543"/>
              </p:ext>
            </p:extLst>
          </p:nvPr>
        </p:nvGraphicFramePr>
        <p:xfrm>
          <a:off x="586740" y="1036226"/>
          <a:ext cx="11018520" cy="3399454"/>
        </p:xfrm>
        <a:graphic>
          <a:graphicData uri="http://schemas.openxmlformats.org/drawingml/2006/table">
            <a:tbl>
              <a:tblPr firstRow="1" bandRow="1">
                <a:tableStyleId>{5C22544A-7EE6-4342-B048-85BDC9FD1C3A}</a:tableStyleId>
              </a:tblPr>
              <a:tblGrid>
                <a:gridCol w="2334046">
                  <a:extLst>
                    <a:ext uri="{9D8B030D-6E8A-4147-A177-3AD203B41FA5}">
                      <a16:colId xmlns:a16="http://schemas.microsoft.com/office/drawing/2014/main" val="91250561"/>
                    </a:ext>
                  </a:extLst>
                </a:gridCol>
                <a:gridCol w="8684474">
                  <a:extLst>
                    <a:ext uri="{9D8B030D-6E8A-4147-A177-3AD203B41FA5}">
                      <a16:colId xmlns:a16="http://schemas.microsoft.com/office/drawing/2014/main" val="1691645547"/>
                    </a:ext>
                  </a:extLst>
                </a:gridCol>
              </a:tblGrid>
              <a:tr h="266829">
                <a:tc>
                  <a:txBody>
                    <a:bodyPr/>
                    <a:lstStyle/>
                    <a:p>
                      <a:pPr algn="l" fontAlgn="t"/>
                      <a:r>
                        <a:rPr lang="en-US" sz="1600">
                          <a:effectLst/>
                        </a:rPr>
                        <a:t>Scenario</a:t>
                      </a:r>
                    </a:p>
                  </a:txBody>
                  <a:tcPr marL="6504" marR="6504" marT="3252" marB="3252"/>
                </a:tc>
                <a:tc>
                  <a:txBody>
                    <a:bodyPr/>
                    <a:lstStyle/>
                    <a:p>
                      <a:pPr algn="l" fontAlgn="t"/>
                      <a:r>
                        <a:rPr lang="en-US" sz="1600">
                          <a:effectLst/>
                        </a:rPr>
                        <a:t>Strategy</a:t>
                      </a:r>
                    </a:p>
                  </a:txBody>
                  <a:tcPr marL="6504" marR="6504" marT="3252" marB="3252"/>
                </a:tc>
                <a:extLst>
                  <a:ext uri="{0D108BD9-81ED-4DB2-BD59-A6C34878D82A}">
                    <a16:rowId xmlns:a16="http://schemas.microsoft.com/office/drawing/2014/main" val="1008742209"/>
                  </a:ext>
                </a:extLst>
              </a:tr>
              <a:tr h="2605899">
                <a:tc>
                  <a:txBody>
                    <a:bodyPr/>
                    <a:lstStyle/>
                    <a:p>
                      <a:pPr algn="l" fontAlgn="t"/>
                      <a:r>
                        <a:rPr lang="en-US" sz="1600" dirty="0">
                          <a:effectLst/>
                        </a:rPr>
                        <a:t>Multiple indexers</a:t>
                      </a:r>
                    </a:p>
                  </a:txBody>
                  <a:tcPr marL="6504" marR="6504" marT="3252" marB="3252" anchor="ctr"/>
                </a:tc>
                <a:tc>
                  <a:txBody>
                    <a:bodyPr/>
                    <a:lstStyle/>
                    <a:p>
                      <a:pPr algn="l" fontAlgn="t"/>
                      <a:r>
                        <a:rPr lang="en-US" sz="1600" dirty="0">
                          <a:effectLst/>
                        </a:rPr>
                        <a:t>Multiple data sources are typically paired with multiple indexers if you need to vary run time parameters, the schedule, or field mappings.</a:t>
                      </a:r>
                      <a:br>
                        <a:rPr lang="en-US" sz="1600" dirty="0">
                          <a:effectLst/>
                        </a:rPr>
                      </a:br>
                      <a:br>
                        <a:rPr lang="en-US" sz="1600" dirty="0">
                          <a:effectLst/>
                        </a:rPr>
                      </a:br>
                      <a:r>
                        <a:rPr lang="en-US" sz="1600" u="none" strike="noStrike" dirty="0">
                          <a:effectLst/>
                          <a:hlinkClick r:id="rId2"/>
                        </a:rPr>
                        <a:t>Cross-region scale out of Azure AI Search</a:t>
                      </a:r>
                      <a:r>
                        <a:rPr lang="en-US" sz="1600" dirty="0">
                          <a:effectLst/>
                        </a:rPr>
                        <a:t> is another scenario. You might have copies of the same search index in different regions. To synchronize search index content, you could have multiple indexers pulling from the same data source, where each indexer targets a different search index in each region.</a:t>
                      </a:r>
                      <a:br>
                        <a:rPr lang="en-US" sz="1600" dirty="0">
                          <a:effectLst/>
                        </a:rPr>
                      </a:br>
                      <a:br>
                        <a:rPr lang="en-US" sz="1600" dirty="0">
                          <a:effectLst/>
                        </a:rPr>
                      </a:br>
                      <a:r>
                        <a:rPr lang="en-US" sz="1600" u="none" strike="noStrike" dirty="0">
                          <a:effectLst/>
                          <a:hlinkClick r:id="rId3"/>
                        </a:rPr>
                        <a:t>Parallel indexing</a:t>
                      </a:r>
                      <a:r>
                        <a:rPr lang="en-US" sz="1600" dirty="0">
                          <a:effectLst/>
                        </a:rPr>
                        <a:t> of very large data sets also requires a multi-indexer strategy, where each indexer targets a subset of the data.</a:t>
                      </a:r>
                    </a:p>
                  </a:txBody>
                  <a:tcPr marL="6504" marR="6504" marT="3252" marB="3252" anchor="ctr"/>
                </a:tc>
                <a:extLst>
                  <a:ext uri="{0D108BD9-81ED-4DB2-BD59-A6C34878D82A}">
                    <a16:rowId xmlns:a16="http://schemas.microsoft.com/office/drawing/2014/main" val="3594702251"/>
                  </a:ext>
                </a:extLst>
              </a:tr>
              <a:tr h="526726">
                <a:tc>
                  <a:txBody>
                    <a:bodyPr/>
                    <a:lstStyle/>
                    <a:p>
                      <a:pPr algn="l" fontAlgn="t"/>
                      <a:r>
                        <a:rPr lang="en-US" sz="1600">
                          <a:effectLst/>
                        </a:rPr>
                        <a:t>Content transformation</a:t>
                      </a:r>
                    </a:p>
                  </a:txBody>
                  <a:tcPr marL="6504" marR="6504" marT="3252" marB="3252" anchor="ctr"/>
                </a:tc>
                <a:tc>
                  <a:txBody>
                    <a:bodyPr/>
                    <a:lstStyle/>
                    <a:p>
                      <a:pPr algn="l" fontAlgn="t"/>
                      <a:r>
                        <a:rPr lang="en-US" sz="1600" dirty="0">
                          <a:effectLst/>
                        </a:rPr>
                        <a:t>Indexers drive </a:t>
                      </a:r>
                      <a:r>
                        <a:rPr lang="en-US" sz="1600" u="none" strike="noStrike" dirty="0">
                          <a:effectLst/>
                          <a:hlinkClick r:id="rId4"/>
                        </a:rPr>
                        <a:t>AI enrichment</a:t>
                      </a:r>
                      <a:r>
                        <a:rPr lang="en-US" sz="1600" dirty="0">
                          <a:effectLst/>
                        </a:rPr>
                        <a:t>. Content transforms are defined in a </a:t>
                      </a:r>
                      <a:r>
                        <a:rPr lang="en-US" sz="1600" u="none" strike="noStrike" dirty="0">
                          <a:effectLst/>
                          <a:hlinkClick r:id="rId5"/>
                        </a:rPr>
                        <a:t>skillset</a:t>
                      </a:r>
                      <a:r>
                        <a:rPr lang="en-US" sz="1600" dirty="0">
                          <a:effectLst/>
                        </a:rPr>
                        <a:t> that you attach to the indexer.</a:t>
                      </a:r>
                    </a:p>
                  </a:txBody>
                  <a:tcPr marL="6504" marR="6504" marT="3252" marB="3252" anchor="ctr"/>
                </a:tc>
                <a:extLst>
                  <a:ext uri="{0D108BD9-81ED-4DB2-BD59-A6C34878D82A}">
                    <a16:rowId xmlns:a16="http://schemas.microsoft.com/office/drawing/2014/main" val="3960473797"/>
                  </a:ext>
                </a:extLst>
              </a:tr>
            </a:tbl>
          </a:graphicData>
        </a:graphic>
      </p:graphicFrame>
      <p:pic>
        <p:nvPicPr>
          <p:cNvPr id="6146" name="Picture 2" descr="Diagram of multiple combinations of data sources, indexers, and indexes.">
            <a:extLst>
              <a:ext uri="{FF2B5EF4-FFF2-40B4-BE49-F238E27FC236}">
                <a16:creationId xmlns:a16="http://schemas.microsoft.com/office/drawing/2014/main" id="{B81ECBEB-F66D-8ACC-F676-6C7A6A191C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0304" y="4482815"/>
            <a:ext cx="5229225" cy="2314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2205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05784-96B8-9F93-C079-7886FF6BEE7C}"/>
              </a:ext>
            </a:extLst>
          </p:cNvPr>
          <p:cNvSpPr>
            <a:spLocks noGrp="1"/>
          </p:cNvSpPr>
          <p:nvPr>
            <p:ph type="title"/>
          </p:nvPr>
        </p:nvSpPr>
        <p:spPr>
          <a:xfrm>
            <a:off x="588263" y="457200"/>
            <a:ext cx="11018520" cy="553998"/>
          </a:xfrm>
        </p:spPr>
        <p:txBody>
          <a:bodyPr/>
          <a:lstStyle/>
          <a:p>
            <a:r>
              <a:rPr lang="en-US" dirty="0"/>
              <a:t>Azure AI Search architectur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Ingest                         Enrich                                Explore</a:t>
            </a:r>
          </a:p>
        </p:txBody>
      </p:sp>
      <p:sp>
        <p:nvSpPr>
          <p:cNvPr id="41" name="Arrow: Pentagon 40">
            <a:extLst>
              <a:ext uri="{FF2B5EF4-FFF2-40B4-BE49-F238E27FC236}">
                <a16:creationId xmlns:a16="http://schemas.microsoft.com/office/drawing/2014/main" id="{933C32D9-205E-DE17-30FA-79DFAF5E6503}"/>
              </a:ext>
            </a:extLst>
          </p:cNvPr>
          <p:cNvSpPr/>
          <p:nvPr/>
        </p:nvSpPr>
        <p:spPr bwMode="auto">
          <a:xfrm>
            <a:off x="3549317" y="2566161"/>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42" name="Cylinder 41">
            <a:extLst>
              <a:ext uri="{FF2B5EF4-FFF2-40B4-BE49-F238E27FC236}">
                <a16:creationId xmlns:a16="http://schemas.microsoft.com/office/drawing/2014/main" id="{75B3BE95-0C70-949C-D23C-822636FAEB4F}"/>
              </a:ext>
            </a:extLst>
          </p:cNvPr>
          <p:cNvSpPr/>
          <p:nvPr/>
        </p:nvSpPr>
        <p:spPr bwMode="auto">
          <a:xfrm>
            <a:off x="514042" y="3308931"/>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8174E12B-9437-2678-B5E5-251CF6522C2F}"/>
              </a:ext>
            </a:extLst>
          </p:cNvPr>
          <p:cNvPicPr>
            <a:picLocks noChangeAspect="1"/>
          </p:cNvPicPr>
          <p:nvPr/>
        </p:nvPicPr>
        <p:blipFill>
          <a:blip r:embed="rId3"/>
          <a:stretch>
            <a:fillRect/>
          </a:stretch>
        </p:blipFill>
        <p:spPr>
          <a:xfrm>
            <a:off x="7963553" y="2566161"/>
            <a:ext cx="1051046" cy="939462"/>
          </a:xfrm>
          <a:prstGeom prst="rect">
            <a:avLst/>
          </a:prstGeom>
        </p:spPr>
      </p:pic>
      <p:sp>
        <p:nvSpPr>
          <p:cNvPr id="44" name="Arrow: Pentagon 43">
            <a:extLst>
              <a:ext uri="{FF2B5EF4-FFF2-40B4-BE49-F238E27FC236}">
                <a16:creationId xmlns:a16="http://schemas.microsoft.com/office/drawing/2014/main" id="{E58AA9DC-8A82-66EE-DB1F-FF55D33E9FDB}"/>
              </a:ext>
            </a:extLst>
          </p:cNvPr>
          <p:cNvSpPr/>
          <p:nvPr/>
        </p:nvSpPr>
        <p:spPr bwMode="auto">
          <a:xfrm>
            <a:off x="9134205" y="2566161"/>
            <a:ext cx="157011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dexing for Search</a:t>
            </a:r>
          </a:p>
        </p:txBody>
      </p:sp>
      <p:sp>
        <p:nvSpPr>
          <p:cNvPr id="45" name="Cylinder 44">
            <a:extLst>
              <a:ext uri="{FF2B5EF4-FFF2-40B4-BE49-F238E27FC236}">
                <a16:creationId xmlns:a16="http://schemas.microsoft.com/office/drawing/2014/main" id="{957A4AB9-9EE9-8744-B1F7-87D3E32C7BFC}"/>
              </a:ext>
            </a:extLst>
          </p:cNvPr>
          <p:cNvSpPr/>
          <p:nvPr/>
        </p:nvSpPr>
        <p:spPr bwMode="auto">
          <a:xfrm>
            <a:off x="514042" y="3004719"/>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Arrow: Pentagon 45">
            <a:extLst>
              <a:ext uri="{FF2B5EF4-FFF2-40B4-BE49-F238E27FC236}">
                <a16:creationId xmlns:a16="http://schemas.microsoft.com/office/drawing/2014/main" id="{AACE3013-C1BD-5A0F-D3F1-A7EB7DF0D6F3}"/>
              </a:ext>
            </a:extLst>
          </p:cNvPr>
          <p:cNvSpPr/>
          <p:nvPr/>
        </p:nvSpPr>
        <p:spPr bwMode="auto">
          <a:xfrm>
            <a:off x="1688579" y="2566161"/>
            <a:ext cx="2539870"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47" name="Text Placeholder 1">
            <a:extLst>
              <a:ext uri="{FF2B5EF4-FFF2-40B4-BE49-F238E27FC236}">
                <a16:creationId xmlns:a16="http://schemas.microsoft.com/office/drawing/2014/main" id="{82C87DBE-B1A0-754C-06F3-431CA711FFA2}"/>
              </a:ext>
            </a:extLst>
          </p:cNvPr>
          <p:cNvSpPr txBox="1">
            <a:spLocks/>
          </p:cNvSpPr>
          <p:nvPr/>
        </p:nvSpPr>
        <p:spPr>
          <a:xfrm>
            <a:off x="7007423" y="3731885"/>
            <a:ext cx="2205721"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notated</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ocuments</a:t>
            </a:r>
          </a:p>
        </p:txBody>
      </p:sp>
      <p:pic>
        <p:nvPicPr>
          <p:cNvPr id="48" name="Picture 47">
            <a:extLst>
              <a:ext uri="{FF2B5EF4-FFF2-40B4-BE49-F238E27FC236}">
                <a16:creationId xmlns:a16="http://schemas.microsoft.com/office/drawing/2014/main" id="{CA866A0A-4290-7827-D392-D977F381F625}"/>
              </a:ext>
            </a:extLst>
          </p:cNvPr>
          <p:cNvPicPr>
            <a:picLocks noChangeAspect="1"/>
          </p:cNvPicPr>
          <p:nvPr/>
        </p:nvPicPr>
        <p:blipFill>
          <a:blip r:embed="rId3"/>
          <a:stretch>
            <a:fillRect/>
          </a:stretch>
        </p:blipFill>
        <p:spPr>
          <a:xfrm>
            <a:off x="7730701" y="2672528"/>
            <a:ext cx="1051046" cy="939462"/>
          </a:xfrm>
          <a:prstGeom prst="rect">
            <a:avLst/>
          </a:prstGeom>
        </p:spPr>
      </p:pic>
      <p:pic>
        <p:nvPicPr>
          <p:cNvPr id="49" name="Picture 48">
            <a:extLst>
              <a:ext uri="{FF2B5EF4-FFF2-40B4-BE49-F238E27FC236}">
                <a16:creationId xmlns:a16="http://schemas.microsoft.com/office/drawing/2014/main" id="{72333A36-FDEF-4739-A7DE-E7F06263A6DB}"/>
              </a:ext>
            </a:extLst>
          </p:cNvPr>
          <p:cNvPicPr>
            <a:picLocks noChangeAspect="1"/>
          </p:cNvPicPr>
          <p:nvPr/>
        </p:nvPicPr>
        <p:blipFill>
          <a:blip r:embed="rId3"/>
          <a:stretch>
            <a:fillRect/>
          </a:stretch>
        </p:blipFill>
        <p:spPr>
          <a:xfrm>
            <a:off x="7485796" y="2784299"/>
            <a:ext cx="1051046" cy="939462"/>
          </a:xfrm>
          <a:prstGeom prst="rect">
            <a:avLst/>
          </a:prstGeom>
        </p:spPr>
      </p:pic>
      <p:sp>
        <p:nvSpPr>
          <p:cNvPr id="50" name="Text Placeholder 1">
            <a:extLst>
              <a:ext uri="{FF2B5EF4-FFF2-40B4-BE49-F238E27FC236}">
                <a16:creationId xmlns:a16="http://schemas.microsoft.com/office/drawing/2014/main" id="{1437B761-881B-71E0-A0F6-46CEA443C2DC}"/>
              </a:ext>
            </a:extLst>
          </p:cNvPr>
          <p:cNvSpPr txBox="1">
            <a:spLocks/>
          </p:cNvSpPr>
          <p:nvPr/>
        </p:nvSpPr>
        <p:spPr>
          <a:xfrm>
            <a:off x="194536" y="3761395"/>
            <a:ext cx="1419340"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ustomer</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51" name="Cylinder 50">
            <a:extLst>
              <a:ext uri="{FF2B5EF4-FFF2-40B4-BE49-F238E27FC236}">
                <a16:creationId xmlns:a16="http://schemas.microsoft.com/office/drawing/2014/main" id="{FFB2F54E-D827-7554-80F1-BD042DAD616E}"/>
              </a:ext>
            </a:extLst>
          </p:cNvPr>
          <p:cNvSpPr/>
          <p:nvPr/>
        </p:nvSpPr>
        <p:spPr bwMode="auto">
          <a:xfrm>
            <a:off x="511453" y="2697735"/>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6284749E-09E6-5EA2-847C-AB79472B5370}"/>
              </a:ext>
            </a:extLst>
          </p:cNvPr>
          <p:cNvGrpSpPr/>
          <p:nvPr/>
        </p:nvGrpSpPr>
        <p:grpSpPr>
          <a:xfrm>
            <a:off x="4695144" y="1323520"/>
            <a:ext cx="1911810" cy="1074408"/>
            <a:chOff x="4238413" y="1170179"/>
            <a:chExt cx="1950146" cy="1095952"/>
          </a:xfrm>
        </p:grpSpPr>
        <p:grpSp>
          <p:nvGrpSpPr>
            <p:cNvPr id="53" name="Group 52">
              <a:extLst>
                <a:ext uri="{FF2B5EF4-FFF2-40B4-BE49-F238E27FC236}">
                  <a16:creationId xmlns:a16="http://schemas.microsoft.com/office/drawing/2014/main" id="{739838A7-A5AE-6926-ACF8-4E9A59221DF1}"/>
                </a:ext>
              </a:extLst>
            </p:cNvPr>
            <p:cNvGrpSpPr/>
            <p:nvPr/>
          </p:nvGrpSpPr>
          <p:grpSpPr>
            <a:xfrm>
              <a:off x="4512159" y="1170179"/>
              <a:ext cx="1676400" cy="890539"/>
              <a:chOff x="4160837" y="1350919"/>
              <a:chExt cx="1676400" cy="890539"/>
            </a:xfrm>
            <a:solidFill>
              <a:srgbClr val="004B50">
                <a:alpha val="62000"/>
              </a:srgbClr>
            </a:solidFill>
          </p:grpSpPr>
          <p:sp>
            <p:nvSpPr>
              <p:cNvPr id="62" name="Rectangle: Rounded Corners 61">
                <a:extLst>
                  <a:ext uri="{FF2B5EF4-FFF2-40B4-BE49-F238E27FC236}">
                    <a16:creationId xmlns:a16="http://schemas.microsoft.com/office/drawing/2014/main" id="{87F4E703-4E85-150C-FAFD-B9D598DBF397}"/>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AFA0A5F5-618F-9E37-5E8D-93E9ADFC869D}"/>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BFEB219-724A-3335-6818-EA2A60E34EA0}"/>
                  </a:ext>
                </a:extLst>
              </p:cNvPr>
              <p:cNvCxnSpPr>
                <a:cxnSpLocks/>
                <a:stCxn id="63" idx="0"/>
                <a:endCxn id="62"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4" name="Group 53">
              <a:extLst>
                <a:ext uri="{FF2B5EF4-FFF2-40B4-BE49-F238E27FC236}">
                  <a16:creationId xmlns:a16="http://schemas.microsoft.com/office/drawing/2014/main" id="{829D1F42-81CA-B2A6-638B-D055CDB6BDA7}"/>
                </a:ext>
              </a:extLst>
            </p:cNvPr>
            <p:cNvGrpSpPr/>
            <p:nvPr/>
          </p:nvGrpSpPr>
          <p:grpSpPr>
            <a:xfrm>
              <a:off x="4375286" y="1266756"/>
              <a:ext cx="1676400" cy="890539"/>
              <a:chOff x="4160837" y="1350919"/>
              <a:chExt cx="1676400" cy="890539"/>
            </a:xfrm>
            <a:solidFill>
              <a:srgbClr val="0070C0">
                <a:alpha val="62000"/>
              </a:srgbClr>
            </a:solidFill>
          </p:grpSpPr>
          <p:sp>
            <p:nvSpPr>
              <p:cNvPr id="59" name="Rectangle: Rounded Corners 58">
                <a:extLst>
                  <a:ext uri="{FF2B5EF4-FFF2-40B4-BE49-F238E27FC236}">
                    <a16:creationId xmlns:a16="http://schemas.microsoft.com/office/drawing/2014/main" id="{804243C9-EED7-D338-EF91-B497F2A40559}"/>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5EF89B21-F629-5D31-CE52-8F9942ACACDF}"/>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C44A10B8-3C44-0C26-8D47-A6958EE42B2C}"/>
                  </a:ext>
                </a:extLst>
              </p:cNvPr>
              <p:cNvCxnSpPr>
                <a:cxnSpLocks/>
                <a:stCxn id="60" idx="0"/>
                <a:endCxn id="59"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5" name="Group 54">
              <a:extLst>
                <a:ext uri="{FF2B5EF4-FFF2-40B4-BE49-F238E27FC236}">
                  <a16:creationId xmlns:a16="http://schemas.microsoft.com/office/drawing/2014/main" id="{C330B84F-CFF1-6E33-8642-FB48194ADDEB}"/>
                </a:ext>
              </a:extLst>
            </p:cNvPr>
            <p:cNvGrpSpPr/>
            <p:nvPr/>
          </p:nvGrpSpPr>
          <p:grpSpPr>
            <a:xfrm>
              <a:off x="4238413" y="1375592"/>
              <a:ext cx="1676400" cy="890539"/>
              <a:chOff x="4160837" y="1350919"/>
              <a:chExt cx="1676400" cy="890539"/>
            </a:xfrm>
          </p:grpSpPr>
          <p:sp>
            <p:nvSpPr>
              <p:cNvPr id="56" name="Rectangle: Rounded Corners 55">
                <a:extLst>
                  <a:ext uri="{FF2B5EF4-FFF2-40B4-BE49-F238E27FC236}">
                    <a16:creationId xmlns:a16="http://schemas.microsoft.com/office/drawing/2014/main" id="{45943767-7C07-68EB-873B-7A92DF0190AA}"/>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57" name="Oval 56">
                <a:extLst>
                  <a:ext uri="{FF2B5EF4-FFF2-40B4-BE49-F238E27FC236}">
                    <a16:creationId xmlns:a16="http://schemas.microsoft.com/office/drawing/2014/main" id="{32A1223D-70B6-D06A-EF1F-E503F0381529}"/>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C242BEB-4410-5E1C-0168-89892B0A6212}"/>
                  </a:ext>
                </a:extLst>
              </p:cNvPr>
              <p:cNvCxnSpPr>
                <a:cxnSpLocks/>
                <a:stCxn id="57" idx="0"/>
                <a:endCxn id="56"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grpSp>
        <p:nvGrpSpPr>
          <p:cNvPr id="65" name="Group 64">
            <a:extLst>
              <a:ext uri="{FF2B5EF4-FFF2-40B4-BE49-F238E27FC236}">
                <a16:creationId xmlns:a16="http://schemas.microsoft.com/office/drawing/2014/main" id="{0071C664-321E-1A4A-A74A-BC0970C0FD49}"/>
              </a:ext>
            </a:extLst>
          </p:cNvPr>
          <p:cNvGrpSpPr/>
          <p:nvPr/>
        </p:nvGrpSpPr>
        <p:grpSpPr>
          <a:xfrm>
            <a:off x="10226562" y="2566161"/>
            <a:ext cx="2320538" cy="1875698"/>
            <a:chOff x="2512468" y="3116262"/>
            <a:chExt cx="2367070" cy="1913309"/>
          </a:xfrm>
        </p:grpSpPr>
        <p:pic>
          <p:nvPicPr>
            <p:cNvPr id="66" name="Picture 65">
              <a:extLst>
                <a:ext uri="{FF2B5EF4-FFF2-40B4-BE49-F238E27FC236}">
                  <a16:creationId xmlns:a16="http://schemas.microsoft.com/office/drawing/2014/main" id="{6CC916A9-56FA-4AD8-8AF6-07F8D27A16E8}"/>
                </a:ext>
              </a:extLst>
            </p:cNvPr>
            <p:cNvPicPr>
              <a:picLocks noChangeAspect="1"/>
            </p:cNvPicPr>
            <p:nvPr/>
          </p:nvPicPr>
          <p:blipFill>
            <a:blip r:embed="rId4"/>
            <a:stretch>
              <a:fillRect/>
            </a:stretch>
          </p:blipFill>
          <p:spPr>
            <a:xfrm>
              <a:off x="3121809" y="3116262"/>
              <a:ext cx="1148072" cy="1140828"/>
            </a:xfrm>
            <a:prstGeom prst="rect">
              <a:avLst/>
            </a:prstGeom>
            <a:noFill/>
          </p:spPr>
        </p:pic>
        <p:sp>
          <p:nvSpPr>
            <p:cNvPr id="67" name="Text Placeholder 1">
              <a:extLst>
                <a:ext uri="{FF2B5EF4-FFF2-40B4-BE49-F238E27FC236}">
                  <a16:creationId xmlns:a16="http://schemas.microsoft.com/office/drawing/2014/main" id="{A4D8D8B1-AE38-C05B-646C-DAD3E8A40E97}"/>
                </a:ext>
              </a:extLst>
            </p:cNvPr>
            <p:cNvSpPr txBox="1">
              <a:spLocks/>
            </p:cNvSpPr>
            <p:nvPr/>
          </p:nvSpPr>
          <p:spPr>
            <a:xfrm>
              <a:off x="2512468" y="4259262"/>
              <a:ext cx="2367070" cy="77030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dex</a:t>
              </a:r>
            </a:p>
          </p:txBody>
        </p:sp>
      </p:grpSp>
      <p:sp>
        <p:nvSpPr>
          <p:cNvPr id="3" name="Rectangle 2">
            <a:extLst>
              <a:ext uri="{FF2B5EF4-FFF2-40B4-BE49-F238E27FC236}">
                <a16:creationId xmlns:a16="http://schemas.microsoft.com/office/drawing/2014/main" id="{8A1D4F0C-0FEE-7AC2-8B3C-4F7A8E591A27}"/>
              </a:ext>
            </a:extLst>
          </p:cNvPr>
          <p:cNvSpPr/>
          <p:nvPr/>
        </p:nvSpPr>
        <p:spPr bwMode="auto">
          <a:xfrm>
            <a:off x="3674850" y="1146974"/>
            <a:ext cx="3699087" cy="429282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1293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D6086D8-E804-E3FE-DF7F-D9EF4027A6B6}"/>
              </a:ext>
            </a:extLst>
          </p:cNvPr>
          <p:cNvSpPr>
            <a:spLocks noGrp="1"/>
          </p:cNvSpPr>
          <p:nvPr>
            <p:ph type="body" sz="quarter" idx="11"/>
          </p:nvPr>
        </p:nvSpPr>
        <p:spPr>
          <a:xfrm>
            <a:off x="4941888" y="585788"/>
            <a:ext cx="6667500" cy="5683249"/>
          </a:xfrm>
        </p:spPr>
        <p:txBody>
          <a:bodyPr wrap="square" anchor="ctr">
            <a:normAutofit/>
          </a:bodyPr>
          <a:lstStyle/>
          <a:p>
            <a:pPr marL="342900" indent="-342900">
              <a:buFont typeface="Arial" panose="020B0604020202020204" pitchFamily="34" charset="0"/>
              <a:buChar char="•"/>
            </a:pPr>
            <a:r>
              <a:rPr lang="en-US" dirty="0"/>
              <a:t>Overview</a:t>
            </a:r>
          </a:p>
          <a:p>
            <a:pPr marL="342900" indent="-342900">
              <a:buFont typeface="Arial" panose="020B0604020202020204" pitchFamily="34" charset="0"/>
              <a:buChar char="•"/>
            </a:pPr>
            <a:r>
              <a:rPr lang="en-US" dirty="0"/>
              <a:t>Indexing</a:t>
            </a:r>
          </a:p>
          <a:p>
            <a:pPr marL="342900" indent="-342900">
              <a:buFont typeface="Arial" panose="020B0604020202020204" pitchFamily="34" charset="0"/>
              <a:buChar char="•"/>
            </a:pPr>
            <a:r>
              <a:rPr lang="en-US" dirty="0"/>
              <a:t>Querying</a:t>
            </a:r>
          </a:p>
          <a:p>
            <a:pPr marL="342900" indent="-342900">
              <a:buFont typeface="Arial" panose="020B0604020202020204" pitchFamily="34" charset="0"/>
              <a:buChar char="•"/>
            </a:pPr>
            <a:r>
              <a:rPr lang="en-US" dirty="0"/>
              <a:t>Security</a:t>
            </a:r>
          </a:p>
          <a:p>
            <a:pPr marL="342900" indent="-342900">
              <a:buFont typeface="Arial" panose="020B0604020202020204" pitchFamily="34" charset="0"/>
              <a:buChar char="•"/>
            </a:pPr>
            <a:r>
              <a:rPr lang="en-US" dirty="0"/>
              <a:t>Sample Scenarios</a:t>
            </a:r>
          </a:p>
        </p:txBody>
      </p:sp>
      <p:sp>
        <p:nvSpPr>
          <p:cNvPr id="4" name="Title 3">
            <a:extLst>
              <a:ext uri="{FF2B5EF4-FFF2-40B4-BE49-F238E27FC236}">
                <a16:creationId xmlns:a16="http://schemas.microsoft.com/office/drawing/2014/main" id="{E1CB57CB-D514-8E12-B7DA-393BBF97418C}"/>
              </a:ext>
            </a:extLst>
          </p:cNvPr>
          <p:cNvSpPr>
            <a:spLocks noGrp="1"/>
          </p:cNvSpPr>
          <p:nvPr>
            <p:ph type="title"/>
          </p:nvPr>
        </p:nvSpPr>
        <p:spPr>
          <a:xfrm>
            <a:off x="588263" y="585788"/>
            <a:ext cx="3182027" cy="5683250"/>
          </a:xfrm>
        </p:spPr>
        <p:txBody>
          <a:bodyPr wrap="square" anchor="ctr">
            <a:normAutofit/>
          </a:bodyPr>
          <a:lstStyle/>
          <a:p>
            <a:r>
              <a:rPr lang="en-US" dirty="0"/>
              <a:t>Agenda</a:t>
            </a:r>
          </a:p>
        </p:txBody>
      </p:sp>
    </p:spTree>
    <p:extLst>
      <p:ext uri="{BB962C8B-B14F-4D97-AF65-F5344CB8AC3E}">
        <p14:creationId xmlns:p14="http://schemas.microsoft.com/office/powerpoint/2010/main" val="8254607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F1CFF1-AE23-4205-A6DE-5E91EEF5CD34}"/>
              </a:ext>
            </a:extLst>
          </p:cNvPr>
          <p:cNvSpPr>
            <a:spLocks noGrp="1"/>
          </p:cNvSpPr>
          <p:nvPr>
            <p:ph type="title"/>
          </p:nvPr>
        </p:nvSpPr>
        <p:spPr/>
        <p:txBody>
          <a:bodyPr/>
          <a:lstStyle/>
          <a:p>
            <a:pPr algn="l"/>
            <a:r>
              <a:rPr lang="en-US"/>
              <a:t>AI Enrichment</a:t>
            </a:r>
          </a:p>
        </p:txBody>
      </p:sp>
      <p:sp>
        <p:nvSpPr>
          <p:cNvPr id="2" name="TextBox 1">
            <a:extLst>
              <a:ext uri="{FF2B5EF4-FFF2-40B4-BE49-F238E27FC236}">
                <a16:creationId xmlns:a16="http://schemas.microsoft.com/office/drawing/2014/main" id="{5FF2B77D-41A7-40F6-AF3E-126ABAAEF305}"/>
              </a:ext>
            </a:extLst>
          </p:cNvPr>
          <p:cNvSpPr txBox="1"/>
          <p:nvPr/>
        </p:nvSpPr>
        <p:spPr>
          <a:xfrm>
            <a:off x="417816" y="1242181"/>
            <a:ext cx="5668699"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a:ea typeface="+mn-ea"/>
                <a:cs typeface="+mn-cs"/>
              </a:rPr>
              <a:t>Built-in skills in Azure </a:t>
            </a: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AI</a:t>
            </a:r>
            <a:r>
              <a:rPr kumimoji="0" lang="en-US" sz="1400" b="0" i="0" u="none" strike="noStrike" kern="1200" cap="none" spc="0" normalizeH="0" baseline="0" noProof="0">
                <a:ln>
                  <a:noFill/>
                </a:ln>
                <a:solidFill>
                  <a:prstClr val="black"/>
                </a:solidFill>
                <a:effectLst/>
                <a:uLnTx/>
                <a:uFillTx/>
                <a:latin typeface="Segoe UI Semibold"/>
                <a:ea typeface="+mn-ea"/>
                <a:cs typeface="+mn-cs"/>
              </a:rPr>
              <a:t> Search are based on pre-trained machine learning models in Azure AI services APIs and fall into two categories:  </a:t>
            </a:r>
          </a:p>
        </p:txBody>
      </p:sp>
      <p:sp>
        <p:nvSpPr>
          <p:cNvPr id="3" name="TextBox 2">
            <a:extLst>
              <a:ext uri="{FF2B5EF4-FFF2-40B4-BE49-F238E27FC236}">
                <a16:creationId xmlns:a16="http://schemas.microsoft.com/office/drawing/2014/main" id="{D83D17E7-3FD4-437A-8CAB-242BE645FDDB}"/>
              </a:ext>
            </a:extLst>
          </p:cNvPr>
          <p:cNvSpPr txBox="1"/>
          <p:nvPr/>
        </p:nvSpPr>
        <p:spPr>
          <a:xfrm>
            <a:off x="680552" y="2274589"/>
            <a:ext cx="2881632" cy="67710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Natural Language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Based on Azure AI Azure AI Text Analytics</a:t>
            </a:r>
            <a:endParaRPr kumimoji="0" lang="en-US" sz="1200" b="0" i="0" u="none" strike="noStrike" kern="1200" cap="none" spc="0" normalizeH="0" baseline="0" noProof="0" dirty="0">
              <a:ln>
                <a:noFill/>
              </a:ln>
              <a:solidFill>
                <a:prstClr val="black"/>
              </a:solidFill>
              <a:effectLst/>
              <a:uLnTx/>
              <a:uFillTx/>
              <a:latin typeface="Segoe UI Semibold"/>
              <a:ea typeface="+mn-ea"/>
              <a:cs typeface="Segoe UI Semibold"/>
            </a:endParaRPr>
          </a:p>
        </p:txBody>
      </p:sp>
      <p:sp>
        <p:nvSpPr>
          <p:cNvPr id="5" name="TextBox 4">
            <a:extLst>
              <a:ext uri="{FF2B5EF4-FFF2-40B4-BE49-F238E27FC236}">
                <a16:creationId xmlns:a16="http://schemas.microsoft.com/office/drawing/2014/main" id="{9DDC13C9-5DE2-4397-8059-BB6FF4F04029}"/>
              </a:ext>
            </a:extLst>
          </p:cNvPr>
          <p:cNvSpPr txBox="1"/>
          <p:nvPr/>
        </p:nvSpPr>
        <p:spPr>
          <a:xfrm>
            <a:off x="3911929" y="2268098"/>
            <a:ext cx="2609636" cy="67710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Image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a:ea typeface="+mn-ea"/>
                <a:cs typeface="+mn-cs"/>
              </a:rPr>
              <a:t>Based on Azure AI Vision </a:t>
            </a:r>
            <a:endParaRPr kumimoji="0" lang="en-US" sz="1200" b="0" i="0" u="none" strike="noStrike" kern="1200" cap="none" spc="0" normalizeH="0" baseline="0" noProof="0">
              <a:ln>
                <a:noFill/>
              </a:ln>
              <a:solidFill>
                <a:prstClr val="black"/>
              </a:solidFill>
              <a:effectLst/>
              <a:uLnTx/>
              <a:uFillTx/>
              <a:latin typeface="Segoe UI Semibold"/>
              <a:ea typeface="+mn-ea"/>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Semibold"/>
              <a:ea typeface="+mn-ea"/>
              <a:cs typeface="Segoe UI Semibold"/>
            </a:endParaRPr>
          </a:p>
        </p:txBody>
      </p:sp>
      <p:sp>
        <p:nvSpPr>
          <p:cNvPr id="6" name="TextBox 5">
            <a:extLst>
              <a:ext uri="{FF2B5EF4-FFF2-40B4-BE49-F238E27FC236}">
                <a16:creationId xmlns:a16="http://schemas.microsoft.com/office/drawing/2014/main" id="{9A87D7A1-8F32-45D0-852E-8B0DBD42894F}"/>
              </a:ext>
            </a:extLst>
          </p:cNvPr>
          <p:cNvSpPr txBox="1"/>
          <p:nvPr/>
        </p:nvSpPr>
        <p:spPr>
          <a:xfrm>
            <a:off x="6709863" y="757798"/>
            <a:ext cx="5157627"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Semibold"/>
                <a:ea typeface="+mn-ea"/>
                <a:cs typeface="+mn-cs"/>
              </a:rPr>
              <a:t>Customers can also integrate with other Azure AI services or build custom skills and models:  </a:t>
            </a:r>
          </a:p>
        </p:txBody>
      </p:sp>
      <p:pic>
        <p:nvPicPr>
          <p:cNvPr id="7" name="Graphic 6">
            <a:extLst>
              <a:ext uri="{FF2B5EF4-FFF2-40B4-BE49-F238E27FC236}">
                <a16:creationId xmlns:a16="http://schemas.microsoft.com/office/drawing/2014/main" id="{4143D8FD-3980-4C5D-986C-DD2AB72D46F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9459" y="2309582"/>
            <a:ext cx="422456" cy="422456"/>
          </a:xfrm>
          <a:prstGeom prst="rect">
            <a:avLst/>
          </a:prstGeom>
        </p:spPr>
      </p:pic>
      <p:pic>
        <p:nvPicPr>
          <p:cNvPr id="9" name="Graphic 8">
            <a:extLst>
              <a:ext uri="{FF2B5EF4-FFF2-40B4-BE49-F238E27FC236}">
                <a16:creationId xmlns:a16="http://schemas.microsoft.com/office/drawing/2014/main" id="{77CE8472-45A5-459E-AB2B-73C14787DA1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88885" y="2343542"/>
            <a:ext cx="422456" cy="422456"/>
          </a:xfrm>
          <a:prstGeom prst="rect">
            <a:avLst/>
          </a:prstGeom>
        </p:spPr>
      </p:pic>
      <p:pic>
        <p:nvPicPr>
          <p:cNvPr id="10" name="Picture 9">
            <a:extLst>
              <a:ext uri="{FF2B5EF4-FFF2-40B4-BE49-F238E27FC236}">
                <a16:creationId xmlns:a16="http://schemas.microsoft.com/office/drawing/2014/main" id="{16F8D7C7-47C0-4E95-896F-44E6E65C99C0}"/>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8262473" y="2441261"/>
            <a:ext cx="597060" cy="581554"/>
          </a:xfrm>
          <a:prstGeom prst="rect">
            <a:avLst/>
          </a:prstGeom>
        </p:spPr>
      </p:pic>
      <p:pic>
        <p:nvPicPr>
          <p:cNvPr id="11" name="Picture 10">
            <a:extLst>
              <a:ext uri="{FF2B5EF4-FFF2-40B4-BE49-F238E27FC236}">
                <a16:creationId xmlns:a16="http://schemas.microsoft.com/office/drawing/2014/main" id="{453022FB-594E-42C5-B982-916695FED32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573428" y="2937197"/>
            <a:ext cx="5471309" cy="3783725"/>
          </a:xfrm>
          <a:prstGeom prst="rect">
            <a:avLst/>
          </a:prstGeom>
        </p:spPr>
      </p:pic>
      <p:sp>
        <p:nvSpPr>
          <p:cNvPr id="108" name="TextBox 107">
            <a:extLst>
              <a:ext uri="{FF2B5EF4-FFF2-40B4-BE49-F238E27FC236}">
                <a16:creationId xmlns:a16="http://schemas.microsoft.com/office/drawing/2014/main" id="{920040AC-1C81-4CC7-915C-8DCA613CF734}"/>
              </a:ext>
            </a:extLst>
          </p:cNvPr>
          <p:cNvSpPr txBox="1"/>
          <p:nvPr/>
        </p:nvSpPr>
        <p:spPr>
          <a:xfrm>
            <a:off x="8791384" y="2441261"/>
            <a:ext cx="3332466" cy="6463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Azure AI Document Intellig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Extract key-value pairs from customer/patient intake forms or invoices</a:t>
            </a:r>
          </a:p>
        </p:txBody>
      </p:sp>
      <p:sp>
        <p:nvSpPr>
          <p:cNvPr id="110" name="TextBox 109">
            <a:extLst>
              <a:ext uri="{FF2B5EF4-FFF2-40B4-BE49-F238E27FC236}">
                <a16:creationId xmlns:a16="http://schemas.microsoft.com/office/drawing/2014/main" id="{A6B86419-5E32-4468-812B-C0E83DA6D134}"/>
              </a:ext>
            </a:extLst>
          </p:cNvPr>
          <p:cNvSpPr txBox="1"/>
          <p:nvPr/>
        </p:nvSpPr>
        <p:spPr>
          <a:xfrm>
            <a:off x="8791384" y="3188758"/>
            <a:ext cx="3261886"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Azure AI Speech, Azure AI Bot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Use speech to text for analyzing customer calls and surface suggested answers  with Azure AI Bot Service to automate field service</a:t>
            </a:r>
            <a:endParaRPr kumimoji="0" lang="en-US" sz="1200" b="0" i="0" u="none" strike="noStrike" kern="1200" cap="none" spc="0" normalizeH="0" baseline="0" noProof="0" dirty="0">
              <a:ln>
                <a:noFill/>
              </a:ln>
              <a:solidFill>
                <a:prstClr val="black"/>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7D6E233A-120F-4717-9A5F-DDE6AEDDA806}"/>
              </a:ext>
            </a:extLst>
          </p:cNvPr>
          <p:cNvSpPr txBox="1"/>
          <p:nvPr/>
        </p:nvSpPr>
        <p:spPr>
          <a:xfrm>
            <a:off x="8791384" y="5095089"/>
            <a:ext cx="333246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Bing Web Search AP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Search the web for latest details on detected entities in documents (people, places, cases, regulations, etc.)</a:t>
            </a:r>
          </a:p>
        </p:txBody>
      </p:sp>
      <p:pic>
        <p:nvPicPr>
          <p:cNvPr id="18" name="Picture 17">
            <a:extLst>
              <a:ext uri="{FF2B5EF4-FFF2-40B4-BE49-F238E27FC236}">
                <a16:creationId xmlns:a16="http://schemas.microsoft.com/office/drawing/2014/main" id="{96B0ED81-9E4F-40A7-B161-411FFBC55EAA}"/>
              </a:ext>
              <a:ext uri="{C183D7F6-B498-43B3-948B-1728B52AA6E4}">
                <adec:decorative xmlns:adec="http://schemas.microsoft.com/office/drawing/2017/decorative" val="1"/>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34568" y1="33333" x2="34568" y2="33333"/>
                      </a14:backgroundRemoval>
                    </a14:imgEffect>
                  </a14:imgLayer>
                </a14:imgProps>
              </a:ext>
            </a:extLst>
          </a:blip>
          <a:stretch>
            <a:fillRect/>
          </a:stretch>
        </p:blipFill>
        <p:spPr>
          <a:xfrm>
            <a:off x="8143783" y="3271599"/>
            <a:ext cx="748749" cy="665556"/>
          </a:xfrm>
          <a:prstGeom prst="rect">
            <a:avLst/>
          </a:prstGeom>
        </p:spPr>
      </p:pic>
      <p:pic>
        <p:nvPicPr>
          <p:cNvPr id="1026" name="Picture 2" descr="Bing">
            <a:extLst>
              <a:ext uri="{FF2B5EF4-FFF2-40B4-BE49-F238E27FC236}">
                <a16:creationId xmlns:a16="http://schemas.microsoft.com/office/drawing/2014/main" id="{2F916E8D-9018-435F-BE5B-7833F2018AD2}"/>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backgroundMark x1="51818" y1="60000" x2="51818" y2="60000"/>
                        <a14:backgroundMark x1="60000" y1="60000" x2="60000" y2="60000"/>
                        <a14:backgroundMark x1="52727" y1="49091" x2="52727" y2="49091"/>
                      </a14:backgroundRemoval>
                    </a14:imgEffect>
                  </a14:imgLayer>
                </a14:imgProps>
              </a:ext>
              <a:ext uri="{28A0092B-C50C-407E-A947-70E740481C1C}">
                <a14:useLocalDpi xmlns:a14="http://schemas.microsoft.com/office/drawing/2010/main" val="0"/>
              </a:ext>
            </a:extLst>
          </a:blip>
          <a:srcRect/>
          <a:stretch>
            <a:fillRect/>
          </a:stretch>
        </p:blipFill>
        <p:spPr bwMode="auto">
          <a:xfrm>
            <a:off x="8244933" y="5037333"/>
            <a:ext cx="546451" cy="54645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nector: Elbow 21">
            <a:extLst>
              <a:ext uri="{FF2B5EF4-FFF2-40B4-BE49-F238E27FC236}">
                <a16:creationId xmlns:a16="http://schemas.microsoft.com/office/drawing/2014/main" id="{764B974A-8365-4FC2-AE89-19D2F64B8FC3}"/>
              </a:ext>
              <a:ext uri="{C183D7F6-B498-43B3-948B-1728B52AA6E4}">
                <adec:decorative xmlns:adec="http://schemas.microsoft.com/office/drawing/2017/decorative" val="1"/>
              </a:ext>
            </a:extLst>
          </p:cNvPr>
          <p:cNvCxnSpPr>
            <a:cxnSpLocks/>
            <a:endCxn id="140" idx="1"/>
          </p:cNvCxnSpPr>
          <p:nvPr/>
        </p:nvCxnSpPr>
        <p:spPr>
          <a:xfrm flipV="1">
            <a:off x="7232240" y="2713760"/>
            <a:ext cx="803161" cy="922442"/>
          </a:xfrm>
          <a:prstGeom prst="bentConnector3">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F9F29F4-FFA5-4C63-BFAB-B4BC39161E32}"/>
              </a:ext>
              <a:ext uri="{C183D7F6-B498-43B3-948B-1728B52AA6E4}">
                <adec:decorative xmlns:adec="http://schemas.microsoft.com/office/drawing/2017/decorative" val="1"/>
              </a:ext>
            </a:extLst>
          </p:cNvPr>
          <p:cNvCxnSpPr>
            <a:cxnSpLocks/>
          </p:cNvCxnSpPr>
          <p:nvPr/>
        </p:nvCxnSpPr>
        <p:spPr>
          <a:xfrm>
            <a:off x="7244558" y="3703525"/>
            <a:ext cx="807488" cy="7360"/>
          </a:xfrm>
          <a:prstGeom prst="line">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26E7EC20-BF46-42A5-B19C-5003BF738EDC}"/>
              </a:ext>
            </a:extLst>
          </p:cNvPr>
          <p:cNvSpPr txBox="1"/>
          <p:nvPr/>
        </p:nvSpPr>
        <p:spPr>
          <a:xfrm>
            <a:off x="8791384" y="6015789"/>
            <a:ext cx="33097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Build Custom Skil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Extend AI enrichment by using Azure OpenAI LLM, building custom skills or training Azure Machine Learning models</a:t>
            </a:r>
          </a:p>
        </p:txBody>
      </p:sp>
      <p:cxnSp>
        <p:nvCxnSpPr>
          <p:cNvPr id="30" name="Connector: Elbow 29">
            <a:extLst>
              <a:ext uri="{FF2B5EF4-FFF2-40B4-BE49-F238E27FC236}">
                <a16:creationId xmlns:a16="http://schemas.microsoft.com/office/drawing/2014/main" id="{01436020-560F-4A7F-B759-33797B62AD35}"/>
              </a:ext>
              <a:ext uri="{C183D7F6-B498-43B3-948B-1728B52AA6E4}">
                <adec:decorative xmlns:adec="http://schemas.microsoft.com/office/drawing/2017/decorative" val="1"/>
              </a:ext>
            </a:extLst>
          </p:cNvPr>
          <p:cNvCxnSpPr>
            <a:cxnSpLocks/>
          </p:cNvCxnSpPr>
          <p:nvPr/>
        </p:nvCxnSpPr>
        <p:spPr>
          <a:xfrm rot="16200000" flipV="1">
            <a:off x="6356394" y="4761521"/>
            <a:ext cx="2435373" cy="616822"/>
          </a:xfrm>
          <a:prstGeom prst="bentConnector3">
            <a:avLst>
              <a:gd name="adj1" fmla="val 329"/>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8C160B4-0655-4B02-A720-53F3D13A2F5A}"/>
              </a:ext>
            </a:extLst>
          </p:cNvPr>
          <p:cNvSpPr txBox="1"/>
          <p:nvPr/>
        </p:nvSpPr>
        <p:spPr>
          <a:xfrm>
            <a:off x="7718306" y="1501690"/>
            <a:ext cx="333246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Semibold"/>
                <a:ea typeface="+mn-ea"/>
                <a:cs typeface="+mn-cs"/>
              </a:rPr>
              <a:t>(Examples of common service combinations)</a:t>
            </a:r>
          </a:p>
        </p:txBody>
      </p:sp>
      <p:sp>
        <p:nvSpPr>
          <p:cNvPr id="140" name="TextBox 139">
            <a:extLst>
              <a:ext uri="{FF2B5EF4-FFF2-40B4-BE49-F238E27FC236}">
                <a16:creationId xmlns:a16="http://schemas.microsoft.com/office/drawing/2014/main" id="{5EAABB9C-83F3-469F-8CBF-CADFE7D69C19}"/>
              </a:ext>
            </a:extLst>
          </p:cNvPr>
          <p:cNvSpPr txBox="1"/>
          <p:nvPr/>
        </p:nvSpPr>
        <p:spPr>
          <a:xfrm>
            <a:off x="8035401" y="2482927"/>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321175D7-8E57-4D1A-9B50-C4B37FE7A447}"/>
              </a:ext>
            </a:extLst>
          </p:cNvPr>
          <p:cNvSpPr txBox="1"/>
          <p:nvPr/>
        </p:nvSpPr>
        <p:spPr>
          <a:xfrm>
            <a:off x="8012516" y="3479682"/>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cxnSp>
        <p:nvCxnSpPr>
          <p:cNvPr id="44" name="Connector: Elbow 43">
            <a:extLst>
              <a:ext uri="{FF2B5EF4-FFF2-40B4-BE49-F238E27FC236}">
                <a16:creationId xmlns:a16="http://schemas.microsoft.com/office/drawing/2014/main" id="{7C9AF332-9020-4F88-8B7E-17624632F6AD}"/>
              </a:ext>
              <a:ext uri="{C183D7F6-B498-43B3-948B-1728B52AA6E4}">
                <adec:decorative xmlns:adec="http://schemas.microsoft.com/office/drawing/2017/decorative" val="1"/>
              </a:ext>
            </a:extLst>
          </p:cNvPr>
          <p:cNvCxnSpPr>
            <a:cxnSpLocks/>
            <a:stCxn id="13" idx="1"/>
          </p:cNvCxnSpPr>
          <p:nvPr/>
        </p:nvCxnSpPr>
        <p:spPr>
          <a:xfrm rot="10800000">
            <a:off x="7205515" y="3794259"/>
            <a:ext cx="781637" cy="533119"/>
          </a:xfrm>
          <a:prstGeom prst="bentConnector3">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A6CB6EF2-71E4-4D76-8F2A-ECD69AC84D10}"/>
              </a:ext>
            </a:extLst>
          </p:cNvPr>
          <p:cNvSpPr txBox="1"/>
          <p:nvPr/>
        </p:nvSpPr>
        <p:spPr>
          <a:xfrm>
            <a:off x="8005292" y="4953212"/>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TextBox 47">
            <a:extLst>
              <a:ext uri="{FF2B5EF4-FFF2-40B4-BE49-F238E27FC236}">
                <a16:creationId xmlns:a16="http://schemas.microsoft.com/office/drawing/2014/main" id="{638EC44B-2193-4B2F-8B40-E0593030011C}"/>
              </a:ext>
            </a:extLst>
          </p:cNvPr>
          <p:cNvSpPr txBox="1"/>
          <p:nvPr/>
        </p:nvSpPr>
        <p:spPr>
          <a:xfrm>
            <a:off x="8052046" y="6115962"/>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pic>
        <p:nvPicPr>
          <p:cNvPr id="53" name="Picture 52">
            <a:extLst>
              <a:ext uri="{FF2B5EF4-FFF2-40B4-BE49-F238E27FC236}">
                <a16:creationId xmlns:a16="http://schemas.microsoft.com/office/drawing/2014/main" id="{25BDB48A-18B3-4C3C-B7F7-9CF057A3ED79}"/>
              </a:ext>
              <a:ext uri="{C183D7F6-B498-43B3-948B-1728B52AA6E4}">
                <adec:decorative xmlns:adec="http://schemas.microsoft.com/office/drawing/2017/decorative" val="1"/>
              </a:ext>
            </a:extLst>
          </p:cNvPr>
          <p:cNvPicPr>
            <a:picLocks noChangeAspect="1"/>
          </p:cNvPicPr>
          <p:nvPr/>
        </p:nvPicPr>
        <p:blipFill rotWithShape="1">
          <a:blip r:embed="rId14">
            <a:extLst>
              <a:ext uri="{BEBA8EAE-BF5A-486C-A8C5-ECC9F3942E4B}">
                <a14:imgProps xmlns:a14="http://schemas.microsoft.com/office/drawing/2010/main">
                  <a14:imgLayer r:embed="rId15">
                    <a14:imgEffect>
                      <a14:backgroundRemoval t="25103" b="37973" l="58811" r="64127"/>
                    </a14:imgEffect>
                  </a14:imgLayer>
                </a14:imgProps>
              </a:ext>
            </a:extLst>
          </a:blip>
          <a:srcRect l="58147" t="23494" r="35208" b="60418"/>
          <a:stretch/>
        </p:blipFill>
        <p:spPr>
          <a:xfrm>
            <a:off x="8270820" y="5923456"/>
            <a:ext cx="613657" cy="728325"/>
          </a:xfrm>
          <a:prstGeom prst="rect">
            <a:avLst/>
          </a:prstGeom>
        </p:spPr>
      </p:pic>
      <p:grpSp>
        <p:nvGrpSpPr>
          <p:cNvPr id="161" name="Group 160" descr="Search icon in a cloud.">
            <a:extLst>
              <a:ext uri="{FF2B5EF4-FFF2-40B4-BE49-F238E27FC236}">
                <a16:creationId xmlns:a16="http://schemas.microsoft.com/office/drawing/2014/main" id="{6F9E75AF-CD4C-4DAD-B3B7-34CC90184279}"/>
              </a:ext>
            </a:extLst>
          </p:cNvPr>
          <p:cNvGrpSpPr/>
          <p:nvPr/>
        </p:nvGrpSpPr>
        <p:grpSpPr>
          <a:xfrm>
            <a:off x="6845365" y="3390578"/>
            <a:ext cx="701211" cy="461665"/>
            <a:chOff x="8943432" y="3276958"/>
            <a:chExt cx="1399516" cy="828272"/>
          </a:xfrm>
        </p:grpSpPr>
        <p:sp>
          <p:nvSpPr>
            <p:cNvPr id="162" name="Freeform: Shape 161">
              <a:extLst>
                <a:ext uri="{FF2B5EF4-FFF2-40B4-BE49-F238E27FC236}">
                  <a16:creationId xmlns:a16="http://schemas.microsoft.com/office/drawing/2014/main" id="{DCBA2ACF-32DF-4BC3-A7E3-482F4BA6B1C9}"/>
                </a:ext>
                <a:ext uri="{C183D7F6-B498-43B3-948B-1728B52AA6E4}">
                  <adec:decorative xmlns:adec="http://schemas.microsoft.com/office/drawing/2017/decorative" val="1"/>
                </a:ext>
              </a:extLst>
            </p:cNvPr>
            <p:cNvSpPr>
              <a:spLocks noChangeArrowheads="1"/>
            </p:cNvSpPr>
            <p:nvPr/>
          </p:nvSpPr>
          <p:spPr bwMode="auto">
            <a:xfrm>
              <a:off x="8943432" y="3276958"/>
              <a:ext cx="1399516" cy="828272"/>
            </a:xfrm>
            <a:custGeom>
              <a:avLst/>
              <a:gdLst>
                <a:gd name="connsiteX0" fmla="*/ 564093 w 1399516"/>
                <a:gd name="connsiteY0" fmla="*/ 0 h 828272"/>
                <a:gd name="connsiteX1" fmla="*/ 861986 w 1399516"/>
                <a:gd name="connsiteY1" fmla="*/ 121298 h 828272"/>
                <a:gd name="connsiteX2" fmla="*/ 892246 w 1399516"/>
                <a:gd name="connsiteY2" fmla="*/ 157351 h 828272"/>
                <a:gd name="connsiteX3" fmla="*/ 922109 w 1399516"/>
                <a:gd name="connsiteY3" fmla="*/ 148319 h 828272"/>
                <a:gd name="connsiteX4" fmla="*/ 978232 w 1399516"/>
                <a:gd name="connsiteY4" fmla="*/ 142806 h 828272"/>
                <a:gd name="connsiteX5" fmla="*/ 1256710 w 1399516"/>
                <a:gd name="connsiteY5" fmla="*/ 414137 h 828272"/>
                <a:gd name="connsiteX6" fmla="*/ 1235997 w 1399516"/>
                <a:gd name="connsiteY6" fmla="*/ 514100 h 828272"/>
                <a:gd name="connsiteX7" fmla="*/ 1238055 w 1399516"/>
                <a:gd name="connsiteY7" fmla="*/ 514100 h 828272"/>
                <a:gd name="connsiteX8" fmla="*/ 1242193 w 1399516"/>
                <a:gd name="connsiteY8" fmla="*/ 514100 h 828272"/>
                <a:gd name="connsiteX9" fmla="*/ 1399516 w 1399516"/>
                <a:gd name="connsiteY9" fmla="*/ 671186 h 828272"/>
                <a:gd name="connsiteX10" fmla="*/ 1242193 w 1399516"/>
                <a:gd name="connsiteY10" fmla="*/ 828272 h 828272"/>
                <a:gd name="connsiteX11" fmla="*/ 615003 w 1399516"/>
                <a:gd name="connsiteY11" fmla="*/ 828272 h 828272"/>
                <a:gd name="connsiteX12" fmla="*/ 564093 w 1399516"/>
                <a:gd name="connsiteY12" fmla="*/ 828272 h 828272"/>
                <a:gd name="connsiteX13" fmla="*/ 509853 w 1399516"/>
                <a:gd name="connsiteY13" fmla="*/ 828272 h 828272"/>
                <a:gd name="connsiteX14" fmla="*/ 157323 w 1399516"/>
                <a:gd name="connsiteY14" fmla="*/ 828272 h 828272"/>
                <a:gd name="connsiteX15" fmla="*/ 0 w 1399516"/>
                <a:gd name="connsiteY15" fmla="*/ 671186 h 828272"/>
                <a:gd name="connsiteX16" fmla="*/ 96790 w 1399516"/>
                <a:gd name="connsiteY16" fmla="*/ 526219 h 828272"/>
                <a:gd name="connsiteX17" fmla="*/ 156622 w 1399516"/>
                <a:gd name="connsiteY17" fmla="*/ 514240 h 828272"/>
                <a:gd name="connsiteX18" fmla="*/ 151367 w 1399516"/>
                <a:gd name="connsiteY18" fmla="*/ 497599 h 828272"/>
                <a:gd name="connsiteX19" fmla="*/ 142808 w 1399516"/>
                <a:gd name="connsiteY19" fmla="*/ 414136 h 828272"/>
                <a:gd name="connsiteX20" fmla="*/ 564093 w 1399516"/>
                <a:gd name="connsiteY20" fmla="*/ 0 h 82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516" h="828272">
                  <a:moveTo>
                    <a:pt x="564093" y="0"/>
                  </a:moveTo>
                  <a:cubicBezTo>
                    <a:pt x="680428" y="0"/>
                    <a:pt x="785749" y="46354"/>
                    <a:pt x="861986" y="121298"/>
                  </a:cubicBezTo>
                  <a:lnTo>
                    <a:pt x="892246" y="157351"/>
                  </a:lnTo>
                  <a:lnTo>
                    <a:pt x="922109" y="148319"/>
                  </a:lnTo>
                  <a:cubicBezTo>
                    <a:pt x="940237" y="144704"/>
                    <a:pt x="959007" y="142806"/>
                    <a:pt x="978232" y="142806"/>
                  </a:cubicBezTo>
                  <a:cubicBezTo>
                    <a:pt x="1132031" y="142806"/>
                    <a:pt x="1256710" y="264285"/>
                    <a:pt x="1256710" y="414137"/>
                  </a:cubicBezTo>
                  <a:lnTo>
                    <a:pt x="1235997" y="514100"/>
                  </a:lnTo>
                  <a:lnTo>
                    <a:pt x="1238055" y="514100"/>
                  </a:lnTo>
                  <a:cubicBezTo>
                    <a:pt x="1242193" y="514100"/>
                    <a:pt x="1242193" y="514100"/>
                    <a:pt x="1242193" y="514100"/>
                  </a:cubicBezTo>
                  <a:cubicBezTo>
                    <a:pt x="1330687" y="514100"/>
                    <a:pt x="1399516" y="582825"/>
                    <a:pt x="1399516" y="671186"/>
                  </a:cubicBezTo>
                  <a:cubicBezTo>
                    <a:pt x="1399516" y="759547"/>
                    <a:pt x="1330687" y="828272"/>
                    <a:pt x="1242193" y="828272"/>
                  </a:cubicBezTo>
                  <a:cubicBezTo>
                    <a:pt x="970976" y="828272"/>
                    <a:pt x="767562" y="828272"/>
                    <a:pt x="615003" y="828272"/>
                  </a:cubicBezTo>
                  <a:lnTo>
                    <a:pt x="564093" y="828272"/>
                  </a:lnTo>
                  <a:lnTo>
                    <a:pt x="509853" y="828272"/>
                  </a:lnTo>
                  <a:cubicBezTo>
                    <a:pt x="157323" y="828272"/>
                    <a:pt x="157323" y="828272"/>
                    <a:pt x="157323" y="828272"/>
                  </a:cubicBezTo>
                  <a:cubicBezTo>
                    <a:pt x="72106" y="828272"/>
                    <a:pt x="0" y="759547"/>
                    <a:pt x="0" y="671186"/>
                  </a:cubicBezTo>
                  <a:cubicBezTo>
                    <a:pt x="0" y="604915"/>
                    <a:pt x="40560" y="549690"/>
                    <a:pt x="96790" y="526219"/>
                  </a:cubicBezTo>
                  <a:lnTo>
                    <a:pt x="156622" y="514240"/>
                  </a:lnTo>
                  <a:lnTo>
                    <a:pt x="151367" y="497599"/>
                  </a:lnTo>
                  <a:cubicBezTo>
                    <a:pt x="145755" y="470640"/>
                    <a:pt x="142808" y="442726"/>
                    <a:pt x="142808" y="414136"/>
                  </a:cubicBezTo>
                  <a:cubicBezTo>
                    <a:pt x="142808" y="185415"/>
                    <a:pt x="331424" y="0"/>
                    <a:pt x="56409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63" name="Group 162">
              <a:extLst>
                <a:ext uri="{FF2B5EF4-FFF2-40B4-BE49-F238E27FC236}">
                  <a16:creationId xmlns:a16="http://schemas.microsoft.com/office/drawing/2014/main" id="{A7C8E31F-18F4-44A0-81A6-6902EC7F82F7}"/>
                </a:ext>
              </a:extLst>
            </p:cNvPr>
            <p:cNvGrpSpPr/>
            <p:nvPr/>
          </p:nvGrpSpPr>
          <p:grpSpPr>
            <a:xfrm>
              <a:off x="9410860" y="3495436"/>
              <a:ext cx="454814" cy="452708"/>
              <a:chOff x="5522913" y="1631951"/>
              <a:chExt cx="342900" cy="341312"/>
            </a:xfrm>
            <a:solidFill>
              <a:schemeClr val="accent2"/>
            </a:solidFill>
          </p:grpSpPr>
          <p:sp>
            <p:nvSpPr>
              <p:cNvPr id="164" name="Freeform 88">
                <a:extLst>
                  <a:ext uri="{FF2B5EF4-FFF2-40B4-BE49-F238E27FC236}">
                    <a16:creationId xmlns:a16="http://schemas.microsoft.com/office/drawing/2014/main" id="{2B10C4D4-D5E8-45CA-8C94-C8D53754DFA4}"/>
                  </a:ext>
                  <a:ext uri="{C183D7F6-B498-43B3-948B-1728B52AA6E4}">
                    <adec:decorative xmlns:adec="http://schemas.microsoft.com/office/drawing/2017/decorative" val="1"/>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89">
                <a:extLst>
                  <a:ext uri="{FF2B5EF4-FFF2-40B4-BE49-F238E27FC236}">
                    <a16:creationId xmlns:a16="http://schemas.microsoft.com/office/drawing/2014/main" id="{46C7B55B-0B13-4DE6-AE24-2ACAFB0753BE}"/>
                  </a:ext>
                  <a:ext uri="{C183D7F6-B498-43B3-948B-1728B52AA6E4}">
                    <adec:decorative xmlns:adec="http://schemas.microsoft.com/office/drawing/2017/decorative" val="1"/>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4" name="TextBox 3">
            <a:extLst>
              <a:ext uri="{FF2B5EF4-FFF2-40B4-BE49-F238E27FC236}">
                <a16:creationId xmlns:a16="http://schemas.microsoft.com/office/drawing/2014/main" id="{E7DB1ADC-70E9-4201-9BE1-519337680F26}"/>
              </a:ext>
            </a:extLst>
          </p:cNvPr>
          <p:cNvSpPr txBox="1"/>
          <p:nvPr/>
        </p:nvSpPr>
        <p:spPr>
          <a:xfrm>
            <a:off x="8791384" y="4120093"/>
            <a:ext cx="3261886" cy="83099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Azure AI Video Analyz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Analyze and search video content (e.g., CCTV footage, focus group recording, in-store behavior, media clips, etc.)</a:t>
            </a:r>
            <a:endParaRPr kumimoji="0" lang="en-US" sz="1200" b="0" i="0" u="none" strike="noStrike" kern="1200" cap="none" spc="0" normalizeH="0" baseline="0" noProof="0" dirty="0">
              <a:ln>
                <a:noFill/>
              </a:ln>
              <a:solidFill>
                <a:prstClr val="black"/>
              </a:solidFill>
              <a:effectLst/>
              <a:uLnTx/>
              <a:uFillTx/>
              <a:latin typeface="Segoe UI Semibold"/>
              <a:ea typeface="+mn-ea"/>
              <a:cs typeface="Segoe UI Semibold"/>
            </a:endParaRPr>
          </a:p>
        </p:txBody>
      </p:sp>
      <p:sp>
        <p:nvSpPr>
          <p:cNvPr id="13" name="TextBox 12">
            <a:extLst>
              <a:ext uri="{FF2B5EF4-FFF2-40B4-BE49-F238E27FC236}">
                <a16:creationId xmlns:a16="http://schemas.microsoft.com/office/drawing/2014/main" id="{B7741F63-980B-4C49-A413-BD74CB2D5C7E}"/>
              </a:ext>
            </a:extLst>
          </p:cNvPr>
          <p:cNvSpPr txBox="1"/>
          <p:nvPr/>
        </p:nvSpPr>
        <p:spPr>
          <a:xfrm>
            <a:off x="7987151" y="4096544"/>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cxnSp>
        <p:nvCxnSpPr>
          <p:cNvPr id="15" name="Connector: Elbow 14">
            <a:extLst>
              <a:ext uri="{FF2B5EF4-FFF2-40B4-BE49-F238E27FC236}">
                <a16:creationId xmlns:a16="http://schemas.microsoft.com/office/drawing/2014/main" id="{E4C5D4C3-3B65-4BDC-9C09-8A6E047F76D3}"/>
              </a:ext>
              <a:ext uri="{C183D7F6-B498-43B3-948B-1728B52AA6E4}">
                <adec:decorative xmlns:adec="http://schemas.microsoft.com/office/drawing/2017/decorative" val="1"/>
              </a:ext>
            </a:extLst>
          </p:cNvPr>
          <p:cNvCxnSpPr>
            <a:cxnSpLocks/>
          </p:cNvCxnSpPr>
          <p:nvPr/>
        </p:nvCxnSpPr>
        <p:spPr>
          <a:xfrm rot="16200000" flipV="1">
            <a:off x="6975478" y="4224131"/>
            <a:ext cx="1305552" cy="508472"/>
          </a:xfrm>
          <a:prstGeom prst="bentConnector3">
            <a:avLst>
              <a:gd name="adj1" fmla="val -341"/>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BC402CF6-C101-4B9A-99E1-DC6C0F5118E4}"/>
              </a:ext>
              <a:ext uri="{C183D7F6-B498-43B3-948B-1728B52AA6E4}">
                <adec:decorative xmlns:adec="http://schemas.microsoft.com/office/drawing/2017/decorative" val="1"/>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foregroundMark x1="89394" y1="67890" x2="89394" y2="67890"/>
                      </a14:backgroundRemoval>
                    </a14:imgEffect>
                  </a14:imgLayer>
                </a14:imgProps>
              </a:ext>
            </a:extLst>
          </a:blip>
          <a:stretch>
            <a:fillRect/>
          </a:stretch>
        </p:blipFill>
        <p:spPr>
          <a:xfrm>
            <a:off x="8152841" y="4032034"/>
            <a:ext cx="628655" cy="519116"/>
          </a:xfrm>
          <a:prstGeom prst="rect">
            <a:avLst/>
          </a:prstGeom>
        </p:spPr>
      </p:pic>
      <p:cxnSp>
        <p:nvCxnSpPr>
          <p:cNvPr id="12" name="Connector: Elbow 11">
            <a:extLst>
              <a:ext uri="{FF2B5EF4-FFF2-40B4-BE49-F238E27FC236}">
                <a16:creationId xmlns:a16="http://schemas.microsoft.com/office/drawing/2014/main" id="{77F1AE77-9FCB-133E-AA13-084B3580E0C4}"/>
              </a:ext>
              <a:ext uri="{C183D7F6-B498-43B3-948B-1728B52AA6E4}">
                <adec:decorative xmlns:adec="http://schemas.microsoft.com/office/drawing/2017/decorative" val="1"/>
              </a:ext>
            </a:extLst>
          </p:cNvPr>
          <p:cNvCxnSpPr>
            <a:cxnSpLocks/>
          </p:cNvCxnSpPr>
          <p:nvPr/>
        </p:nvCxnSpPr>
        <p:spPr>
          <a:xfrm rot="5400000" flipH="1" flipV="1">
            <a:off x="7008801" y="2296932"/>
            <a:ext cx="1362402" cy="745821"/>
          </a:xfrm>
          <a:prstGeom prst="bentConnector3">
            <a:avLst>
              <a:gd name="adj1" fmla="val 99995"/>
            </a:avLst>
          </a:prstGeom>
          <a:ln>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C3325FA-8932-038A-6842-05C0F90D286F}"/>
              </a:ext>
            </a:extLst>
          </p:cNvPr>
          <p:cNvSpPr txBox="1"/>
          <p:nvPr/>
        </p:nvSpPr>
        <p:spPr>
          <a:xfrm>
            <a:off x="8038508" y="1739584"/>
            <a:ext cx="28628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550C406A-2624-EAFB-F28D-550D2CDCFC1A}"/>
              </a:ext>
            </a:extLst>
          </p:cNvPr>
          <p:cNvSpPr txBox="1"/>
          <p:nvPr/>
        </p:nvSpPr>
        <p:spPr>
          <a:xfrm>
            <a:off x="8768694" y="1736031"/>
            <a:ext cx="333246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 Azure Open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Semibold"/>
                <a:ea typeface="+mn-ea"/>
                <a:cs typeface="+mn-cs"/>
              </a:rPr>
              <a:t>Create vector embedd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Semibold"/>
              <a:ea typeface="+mn-ea"/>
              <a:cs typeface="+mn-cs"/>
            </a:endParaRPr>
          </a:p>
        </p:txBody>
      </p:sp>
      <p:pic>
        <p:nvPicPr>
          <p:cNvPr id="28" name="Picture 27" descr="A logo with a white background&#10;&#10;Description automatically generated">
            <a:extLst>
              <a:ext uri="{FF2B5EF4-FFF2-40B4-BE49-F238E27FC236}">
                <a16:creationId xmlns:a16="http://schemas.microsoft.com/office/drawing/2014/main" id="{981301A3-7365-230B-6C59-015EB3899068}"/>
              </a:ext>
            </a:extLst>
          </p:cNvPr>
          <p:cNvPicPr>
            <a:picLocks noChangeAspect="1"/>
          </p:cNvPicPr>
          <p:nvPr/>
        </p:nvPicPr>
        <p:blipFill>
          <a:blip r:embed="rId18"/>
          <a:stretch>
            <a:fillRect/>
          </a:stretch>
        </p:blipFill>
        <p:spPr>
          <a:xfrm>
            <a:off x="8244933" y="1679496"/>
            <a:ext cx="525520" cy="505953"/>
          </a:xfrm>
          <a:prstGeom prst="rect">
            <a:avLst/>
          </a:prstGeom>
        </p:spPr>
      </p:pic>
    </p:spTree>
    <p:extLst>
      <p:ext uri="{BB962C8B-B14F-4D97-AF65-F5344CB8AC3E}">
        <p14:creationId xmlns:p14="http://schemas.microsoft.com/office/powerpoint/2010/main" val="127260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B8B6EF2-B53B-7F41-445A-7CC3CEC03E49}"/>
              </a:ext>
            </a:extLst>
          </p:cNvPr>
          <p:cNvSpPr>
            <a:spLocks noGrp="1"/>
          </p:cNvSpPr>
          <p:nvPr>
            <p:ph type="title"/>
          </p:nvPr>
        </p:nvSpPr>
        <p:spPr/>
        <p:txBody>
          <a:bodyPr/>
          <a:lstStyle/>
          <a:p>
            <a:r>
              <a:rPr lang="en-US" dirty="0"/>
              <a:t>Adding built-in skills</a:t>
            </a:r>
          </a:p>
        </p:txBody>
      </p:sp>
      <p:sp>
        <p:nvSpPr>
          <p:cNvPr id="17" name="Text Placeholder 3">
            <a:extLst>
              <a:ext uri="{FF2B5EF4-FFF2-40B4-BE49-F238E27FC236}">
                <a16:creationId xmlns:a16="http://schemas.microsoft.com/office/drawing/2014/main" id="{4669F0D8-4E86-4460-94C4-C10685BDB418}"/>
              </a:ext>
            </a:extLst>
          </p:cNvPr>
          <p:cNvSpPr txBox="1">
            <a:spLocks/>
          </p:cNvSpPr>
          <p:nvPr/>
        </p:nvSpPr>
        <p:spPr>
          <a:xfrm>
            <a:off x="1890590" y="1533038"/>
            <a:ext cx="2843213" cy="35500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b="1" dirty="0"/>
              <a:t>Enable in the Portal</a:t>
            </a:r>
          </a:p>
        </p:txBody>
      </p:sp>
      <p:pic>
        <p:nvPicPr>
          <p:cNvPr id="18" name="Picture 17" descr="Screenshot of Azure portal displaying the Import data workflow experience with various fields.">
            <a:extLst>
              <a:ext uri="{FF2B5EF4-FFF2-40B4-BE49-F238E27FC236}">
                <a16:creationId xmlns:a16="http://schemas.microsoft.com/office/drawing/2014/main" id="{5AB327EA-E898-9BEC-43A1-A035781158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499" y="2017713"/>
            <a:ext cx="5999695" cy="3996907"/>
          </a:xfrm>
          <a:prstGeom prst="rect">
            <a:avLst/>
          </a:prstGeom>
        </p:spPr>
      </p:pic>
      <p:sp>
        <p:nvSpPr>
          <p:cNvPr id="19" name="Text Placeholder 5">
            <a:extLst>
              <a:ext uri="{FF2B5EF4-FFF2-40B4-BE49-F238E27FC236}">
                <a16:creationId xmlns:a16="http://schemas.microsoft.com/office/drawing/2014/main" id="{7C01013E-1B91-8ACE-3212-988030C0347E}"/>
              </a:ext>
            </a:extLst>
          </p:cNvPr>
          <p:cNvSpPr txBox="1">
            <a:spLocks/>
          </p:cNvSpPr>
          <p:nvPr/>
        </p:nvSpPr>
        <p:spPr>
          <a:xfrm>
            <a:off x="8190501" y="1527177"/>
            <a:ext cx="2624137" cy="36765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b="1" dirty="0"/>
              <a:t>Add Programmatically</a:t>
            </a:r>
          </a:p>
        </p:txBody>
      </p:sp>
      <p:pic>
        <p:nvPicPr>
          <p:cNvPr id="20" name="Picture 19" descr="Snippet showing code for built-in skill &quot;EntityRecognitionSkill&quot;.">
            <a:extLst>
              <a:ext uri="{FF2B5EF4-FFF2-40B4-BE49-F238E27FC236}">
                <a16:creationId xmlns:a16="http://schemas.microsoft.com/office/drawing/2014/main" id="{C91BBF20-1215-7F81-BD57-331467671BE0}"/>
              </a:ext>
            </a:extLst>
          </p:cNvPr>
          <p:cNvPicPr>
            <a:picLocks noChangeAspect="1"/>
          </p:cNvPicPr>
          <p:nvPr/>
        </p:nvPicPr>
        <p:blipFill>
          <a:blip r:embed="rId3"/>
          <a:stretch>
            <a:fillRect/>
          </a:stretch>
        </p:blipFill>
        <p:spPr>
          <a:xfrm>
            <a:off x="6857194" y="1908233"/>
            <a:ext cx="5128479" cy="4822354"/>
          </a:xfrm>
          <a:prstGeom prst="rect">
            <a:avLst/>
          </a:prstGeom>
          <a:solidFill>
            <a:schemeClr val="bg1">
              <a:lumMod val="65000"/>
            </a:schemeClr>
          </a:solidFill>
        </p:spPr>
      </p:pic>
    </p:spTree>
    <p:extLst>
      <p:ext uri="{BB962C8B-B14F-4D97-AF65-F5344CB8AC3E}">
        <p14:creationId xmlns:p14="http://schemas.microsoft.com/office/powerpoint/2010/main" val="206904734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46624-4854-F964-1110-CC9DC7194035}"/>
              </a:ext>
            </a:extLst>
          </p:cNvPr>
          <p:cNvSpPr>
            <a:spLocks noGrp="1"/>
          </p:cNvSpPr>
          <p:nvPr>
            <p:ph type="title"/>
          </p:nvPr>
        </p:nvSpPr>
        <p:spPr/>
        <p:txBody>
          <a:bodyPr/>
          <a:lstStyle/>
          <a:p>
            <a:r>
              <a:rPr lang="en-US" dirty="0"/>
              <a:t>Skillset Definition</a:t>
            </a:r>
          </a:p>
        </p:txBody>
      </p:sp>
      <p:pic>
        <p:nvPicPr>
          <p:cNvPr id="2050" name="Picture 2" descr="Diagram showing which properties of skillsets establish the data path.">
            <a:extLst>
              <a:ext uri="{FF2B5EF4-FFF2-40B4-BE49-F238E27FC236}">
                <a16:creationId xmlns:a16="http://schemas.microsoft.com/office/drawing/2014/main" id="{183062A9-8373-1770-82EE-ACBDE5CC64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6832" y="1011198"/>
            <a:ext cx="8771669" cy="5672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34824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BF14696-629E-45EA-AD8E-BF934D856E62}"/>
              </a:ext>
            </a:extLst>
          </p:cNvPr>
          <p:cNvGrpSpPr/>
          <p:nvPr/>
        </p:nvGrpSpPr>
        <p:grpSpPr>
          <a:xfrm>
            <a:off x="-558800" y="1651413"/>
            <a:ext cx="12750800" cy="5418996"/>
            <a:chOff x="-4021344" y="1651413"/>
            <a:chExt cx="16213344" cy="5418996"/>
          </a:xfrm>
        </p:grpSpPr>
        <p:sp>
          <p:nvSpPr>
            <p:cNvPr id="25" name="Arrow: Pentagon 24">
              <a:extLst>
                <a:ext uri="{FF2B5EF4-FFF2-40B4-BE49-F238E27FC236}">
                  <a16:creationId xmlns:a16="http://schemas.microsoft.com/office/drawing/2014/main" id="{44F0526B-B9BD-4735-A0A0-8AD6FE36036D}"/>
                </a:ext>
              </a:extLst>
            </p:cNvPr>
            <p:cNvSpPr/>
            <p:nvPr/>
          </p:nvSpPr>
          <p:spPr bwMode="auto">
            <a:xfrm>
              <a:off x="-4021344" y="1651414"/>
              <a:ext cx="16213344" cy="5418995"/>
            </a:xfrm>
            <a:prstGeom prst="homePlate">
              <a:avLst>
                <a:gd name="adj" fmla="val 35235"/>
              </a:avLst>
            </a:prstGeom>
            <a:solidFill>
              <a:srgbClr val="00205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6" name="Arrow: Pentagon 25">
              <a:extLst>
                <a:ext uri="{FF2B5EF4-FFF2-40B4-BE49-F238E27FC236}">
                  <a16:creationId xmlns:a16="http://schemas.microsoft.com/office/drawing/2014/main" id="{4852B97A-85B6-4861-BC48-5DE31EB506DD}"/>
                </a:ext>
              </a:extLst>
            </p:cNvPr>
            <p:cNvSpPr/>
            <p:nvPr/>
          </p:nvSpPr>
          <p:spPr bwMode="auto">
            <a:xfrm>
              <a:off x="-4021344" y="1651413"/>
              <a:ext cx="2680692" cy="5418995"/>
            </a:xfrm>
            <a:prstGeom prst="homePlate">
              <a:avLst>
                <a:gd name="adj" fmla="val 53504"/>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 Basic Example</a:t>
            </a:r>
          </a:p>
        </p:txBody>
      </p:sp>
      <p:sp>
        <p:nvSpPr>
          <p:cNvPr id="19" name="Rectangle: Rounded Corners 18">
            <a:extLst>
              <a:ext uri="{FF2B5EF4-FFF2-40B4-BE49-F238E27FC236}">
                <a16:creationId xmlns:a16="http://schemas.microsoft.com/office/drawing/2014/main" id="{CB94E8B0-F0F1-4D56-946C-D7C9D96C21C2}"/>
              </a:ext>
            </a:extLst>
          </p:cNvPr>
          <p:cNvSpPr/>
          <p:nvPr/>
        </p:nvSpPr>
        <p:spPr bwMode="auto">
          <a:xfrm>
            <a:off x="3028154" y="2158381"/>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 Key Phrases</a:t>
            </a:r>
          </a:p>
        </p:txBody>
      </p:sp>
      <p:sp>
        <p:nvSpPr>
          <p:cNvPr id="22" name="Rectangle: Rounded Corners 21">
            <a:extLst>
              <a:ext uri="{FF2B5EF4-FFF2-40B4-BE49-F238E27FC236}">
                <a16:creationId xmlns:a16="http://schemas.microsoft.com/office/drawing/2014/main" id="{756D9868-E3A8-4E8C-A185-322D2E256878}"/>
              </a:ext>
            </a:extLst>
          </p:cNvPr>
          <p:cNvSpPr/>
          <p:nvPr/>
        </p:nvSpPr>
        <p:spPr bwMode="auto">
          <a:xfrm>
            <a:off x="2993422" y="3743131"/>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rganizations</a:t>
            </a:r>
          </a:p>
        </p:txBody>
      </p:sp>
      <p:cxnSp>
        <p:nvCxnSpPr>
          <p:cNvPr id="6" name="Straight Connector 5">
            <a:extLst>
              <a:ext uri="{FF2B5EF4-FFF2-40B4-BE49-F238E27FC236}">
                <a16:creationId xmlns:a16="http://schemas.microsoft.com/office/drawing/2014/main" id="{76849D72-3AAD-49CA-89BF-462933BA4436}"/>
              </a:ext>
            </a:extLst>
          </p:cNvPr>
          <p:cNvCxnSpPr>
            <a:cxnSpLocks/>
            <a:endCxn id="22" idx="1"/>
          </p:cNvCxnSpPr>
          <p:nvPr/>
        </p:nvCxnSpPr>
        <p:spPr>
          <a:xfrm flipV="1">
            <a:off x="-747012" y="4279591"/>
            <a:ext cx="3740434"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3698530-614C-4837-AC51-6DF9AE15E6BF}"/>
              </a:ext>
            </a:extLst>
          </p:cNvPr>
          <p:cNvCxnSpPr>
            <a:cxnSpLocks/>
          </p:cNvCxnSpPr>
          <p:nvPr/>
        </p:nvCxnSpPr>
        <p:spPr>
          <a:xfrm>
            <a:off x="2122619" y="4310110"/>
            <a:ext cx="870803" cy="1594723"/>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83C1374-24A6-4B4F-A00D-E7EA35E94B19}"/>
              </a:ext>
            </a:extLst>
          </p:cNvPr>
          <p:cNvSpPr/>
          <p:nvPr/>
        </p:nvSpPr>
        <p:spPr>
          <a:xfrm>
            <a:off x="391881" y="3848445"/>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 name="Rectangle: Rounded Corners 51">
            <a:extLst>
              <a:ext uri="{FF2B5EF4-FFF2-40B4-BE49-F238E27FC236}">
                <a16:creationId xmlns:a16="http://schemas.microsoft.com/office/drawing/2014/main" id="{A5998AB0-9595-4147-B0F1-D1AE0D435ADB}"/>
              </a:ext>
            </a:extLst>
          </p:cNvPr>
          <p:cNvSpPr/>
          <p:nvPr/>
        </p:nvSpPr>
        <p:spPr bwMode="auto">
          <a:xfrm>
            <a:off x="2993422" y="5327881"/>
            <a:ext cx="2499918" cy="1072919"/>
          </a:xfrm>
          <a:prstGeom prst="roundRect">
            <a:avLst/>
          </a:prstGeom>
          <a:solidFill>
            <a:srgbClr val="E3008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lassify</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ocument</a:t>
            </a:r>
          </a:p>
        </p:txBody>
      </p:sp>
      <p:cxnSp>
        <p:nvCxnSpPr>
          <p:cNvPr id="76" name="Straight Connector 75">
            <a:extLst>
              <a:ext uri="{FF2B5EF4-FFF2-40B4-BE49-F238E27FC236}">
                <a16:creationId xmlns:a16="http://schemas.microsoft.com/office/drawing/2014/main" id="{52E7E942-B000-4C44-B2EF-6E72ECBA3FF3}"/>
              </a:ext>
            </a:extLst>
          </p:cNvPr>
          <p:cNvCxnSpPr>
            <a:cxnSpLocks/>
            <a:stCxn id="22" idx="3"/>
          </p:cNvCxnSpPr>
          <p:nvPr/>
        </p:nvCxnSpPr>
        <p:spPr>
          <a:xfrm>
            <a:off x="5493340" y="4279591"/>
            <a:ext cx="6609760"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688B752-5FD6-4BCD-8E9F-2C46075FDC61}"/>
              </a:ext>
            </a:extLst>
          </p:cNvPr>
          <p:cNvCxnSpPr>
            <a:cxnSpLocks/>
          </p:cNvCxnSpPr>
          <p:nvPr/>
        </p:nvCxnSpPr>
        <p:spPr>
          <a:xfrm>
            <a:off x="5528072" y="2645449"/>
            <a:ext cx="6575028"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C87CD41-CFBA-4B8A-BBD7-3DDD9E4ABDDC}"/>
              </a:ext>
            </a:extLst>
          </p:cNvPr>
          <p:cNvCxnSpPr>
            <a:cxnSpLocks/>
            <a:endCxn id="19" idx="1"/>
          </p:cNvCxnSpPr>
          <p:nvPr/>
        </p:nvCxnSpPr>
        <p:spPr>
          <a:xfrm flipV="1">
            <a:off x="2122619" y="2694841"/>
            <a:ext cx="905535" cy="1625242"/>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88409ED-4EC8-4355-BB18-9ED370D0FDE7}"/>
              </a:ext>
            </a:extLst>
          </p:cNvPr>
          <p:cNvCxnSpPr>
            <a:cxnSpLocks/>
          </p:cNvCxnSpPr>
          <p:nvPr/>
        </p:nvCxnSpPr>
        <p:spPr>
          <a:xfrm>
            <a:off x="5493340" y="5864340"/>
            <a:ext cx="6609760"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8EC8165A-1A1E-4720-9F96-C18EA0FA9110}"/>
              </a:ext>
            </a:extLst>
          </p:cNvPr>
          <p:cNvSpPr/>
          <p:nvPr/>
        </p:nvSpPr>
        <p:spPr>
          <a:xfrm>
            <a:off x="5741284" y="2171083"/>
            <a:ext cx="1729961"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keyPhrase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2BDD645F-2EBC-4407-A57D-A7C0CC75F604}"/>
              </a:ext>
            </a:extLst>
          </p:cNvPr>
          <p:cNvSpPr/>
          <p:nvPr/>
        </p:nvSpPr>
        <p:spPr>
          <a:xfrm>
            <a:off x="5741284" y="3800075"/>
            <a:ext cx="207941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organization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ABE620A4-FF4E-4691-AE91-76C0BCA6FEF7}"/>
              </a:ext>
            </a:extLst>
          </p:cNvPr>
          <p:cNvSpPr/>
          <p:nvPr/>
        </p:nvSpPr>
        <p:spPr>
          <a:xfrm>
            <a:off x="5741284" y="5402674"/>
            <a:ext cx="139653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solidFill>
                  <a:srgbClr val="1A1A1A"/>
                </a:solidFill>
                <a:effectLst/>
                <a:uLnTx/>
                <a:uFillTx/>
                <a:latin typeface="Segoe UI Semibold"/>
                <a:ea typeface="Segoe UI" pitchFamily="34" charset="0"/>
                <a:cs typeface="Segoe UI" pitchFamily="34" charset="0"/>
              </a:rPr>
              <a:t>docClas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8804607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BF14696-629E-45EA-AD8E-BF934D856E62}"/>
              </a:ext>
            </a:extLst>
          </p:cNvPr>
          <p:cNvGrpSpPr/>
          <p:nvPr/>
        </p:nvGrpSpPr>
        <p:grpSpPr>
          <a:xfrm>
            <a:off x="-11982678" y="1651413"/>
            <a:ext cx="24174678" cy="5418996"/>
            <a:chOff x="-11982678" y="1651413"/>
            <a:chExt cx="24174678" cy="5418996"/>
          </a:xfrm>
        </p:grpSpPr>
        <p:sp>
          <p:nvSpPr>
            <p:cNvPr id="25" name="Arrow: Pentagon 24">
              <a:extLst>
                <a:ext uri="{FF2B5EF4-FFF2-40B4-BE49-F238E27FC236}">
                  <a16:creationId xmlns:a16="http://schemas.microsoft.com/office/drawing/2014/main" id="{44F0526B-B9BD-4735-A0A0-8AD6FE36036D}"/>
                </a:ext>
              </a:extLst>
            </p:cNvPr>
            <p:cNvSpPr/>
            <p:nvPr/>
          </p:nvSpPr>
          <p:spPr bwMode="auto">
            <a:xfrm>
              <a:off x="-494371" y="1651414"/>
              <a:ext cx="12686371" cy="5418995"/>
            </a:xfrm>
            <a:prstGeom prst="homePlate">
              <a:avLst>
                <a:gd name="adj" fmla="val 35235"/>
              </a:avLst>
            </a:prstGeom>
            <a:solidFill>
              <a:srgbClr val="00205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6" name="Arrow: Pentagon 25">
              <a:extLst>
                <a:ext uri="{FF2B5EF4-FFF2-40B4-BE49-F238E27FC236}">
                  <a16:creationId xmlns:a16="http://schemas.microsoft.com/office/drawing/2014/main" id="{4852B97A-85B6-4861-BC48-5DE31EB506DD}"/>
                </a:ext>
              </a:extLst>
            </p:cNvPr>
            <p:cNvSpPr/>
            <p:nvPr/>
          </p:nvSpPr>
          <p:spPr bwMode="auto">
            <a:xfrm>
              <a:off x="-11982678" y="1651413"/>
              <a:ext cx="13180741" cy="5418995"/>
            </a:xfrm>
            <a:prstGeom prst="homePlate">
              <a:avLst>
                <a:gd name="adj" fmla="val 23986"/>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3" name="Content Placeholder 2">
            <a:extLst>
              <a:ext uri="{FF2B5EF4-FFF2-40B4-BE49-F238E27FC236}">
                <a16:creationId xmlns:a16="http://schemas.microsoft.com/office/drawing/2014/main" id="{D055FBBD-8F5E-4C4D-9733-AD9AD3C75F77}"/>
              </a:ext>
            </a:extLst>
          </p:cNvPr>
          <p:cNvSpPr>
            <a:spLocks noGrp="1"/>
          </p:cNvSpPr>
          <p:nvPr>
            <p:ph sz="quarter" idx="10"/>
          </p:nvPr>
        </p:nvSpPr>
        <p:spPr>
          <a:xfrm>
            <a:off x="584200" y="1101143"/>
            <a:ext cx="11018838" cy="1612749"/>
          </a:xfrm>
        </p:spPr>
        <p:txBody>
          <a:bodyPr/>
          <a:lstStyle/>
          <a:p>
            <a:r>
              <a:rPr lang="en-US"/>
              <a:t>You can create enrichment chains</a:t>
            </a:r>
          </a:p>
        </p:txBody>
      </p:sp>
      <p:sp>
        <p:nvSpPr>
          <p:cNvPr id="18" name="Arrow: Pentagon 17">
            <a:extLst>
              <a:ext uri="{FF2B5EF4-FFF2-40B4-BE49-F238E27FC236}">
                <a16:creationId xmlns:a16="http://schemas.microsoft.com/office/drawing/2014/main" id="{CEA98299-AA43-43CC-9C03-74336E792273}"/>
              </a:ext>
            </a:extLst>
          </p:cNvPr>
          <p:cNvSpPr/>
          <p:nvPr/>
        </p:nvSpPr>
        <p:spPr bwMode="auto">
          <a:xfrm>
            <a:off x="6850031" y="250800"/>
            <a:ext cx="2284844" cy="1120531"/>
          </a:xfrm>
          <a:prstGeom prst="homePlat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CB94E8B0-F0F1-4D56-946C-D7C9D96C21C2}"/>
              </a:ext>
            </a:extLst>
          </p:cNvPr>
          <p:cNvSpPr/>
          <p:nvPr/>
        </p:nvSpPr>
        <p:spPr bwMode="auto">
          <a:xfrm>
            <a:off x="5175964" y="1890600"/>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 KeyPhrases</a:t>
            </a:r>
          </a:p>
        </p:txBody>
      </p:sp>
      <p:sp>
        <p:nvSpPr>
          <p:cNvPr id="20" name="Rectangle: Rounded Corners 19">
            <a:extLst>
              <a:ext uri="{FF2B5EF4-FFF2-40B4-BE49-F238E27FC236}">
                <a16:creationId xmlns:a16="http://schemas.microsoft.com/office/drawing/2014/main" id="{55DF6162-6BE3-449B-8DE6-B6C4413226EF}"/>
              </a:ext>
            </a:extLst>
          </p:cNvPr>
          <p:cNvSpPr/>
          <p:nvPr/>
        </p:nvSpPr>
        <p:spPr bwMode="auto">
          <a:xfrm>
            <a:off x="5175964" y="4437826"/>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rganization</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ion</a:t>
            </a:r>
          </a:p>
        </p:txBody>
      </p:sp>
      <p:sp>
        <p:nvSpPr>
          <p:cNvPr id="22" name="Rectangle: Rounded Corners 21">
            <a:extLst>
              <a:ext uri="{FF2B5EF4-FFF2-40B4-BE49-F238E27FC236}">
                <a16:creationId xmlns:a16="http://schemas.microsoft.com/office/drawing/2014/main" id="{756D9868-E3A8-4E8C-A185-322D2E256878}"/>
              </a:ext>
            </a:extLst>
          </p:cNvPr>
          <p:cNvSpPr/>
          <p:nvPr/>
        </p:nvSpPr>
        <p:spPr bwMode="auto">
          <a:xfrm>
            <a:off x="2053622" y="3098800"/>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tec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Language</a:t>
            </a:r>
          </a:p>
        </p:txBody>
      </p:sp>
      <p:sp>
        <p:nvSpPr>
          <p:cNvPr id="27" name="Rectangle: Rounded Corners 26">
            <a:extLst>
              <a:ext uri="{FF2B5EF4-FFF2-40B4-BE49-F238E27FC236}">
                <a16:creationId xmlns:a16="http://schemas.microsoft.com/office/drawing/2014/main" id="{3F7BDC3E-116F-4B04-834B-04EC60F549DB}"/>
              </a:ext>
            </a:extLst>
          </p:cNvPr>
          <p:cNvSpPr/>
          <p:nvPr/>
        </p:nvSpPr>
        <p:spPr bwMode="auto">
          <a:xfrm>
            <a:off x="2050739" y="5715976"/>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t Tags</a:t>
            </a:r>
          </a:p>
        </p:txBody>
      </p:sp>
      <p:cxnSp>
        <p:nvCxnSpPr>
          <p:cNvPr id="6" name="Straight Connector 5">
            <a:extLst>
              <a:ext uri="{FF2B5EF4-FFF2-40B4-BE49-F238E27FC236}">
                <a16:creationId xmlns:a16="http://schemas.microsoft.com/office/drawing/2014/main" id="{76849D72-3AAD-49CA-89BF-462933BA4436}"/>
              </a:ext>
            </a:extLst>
          </p:cNvPr>
          <p:cNvCxnSpPr>
            <a:cxnSpLocks/>
            <a:endCxn id="22" idx="1"/>
          </p:cNvCxnSpPr>
          <p:nvPr/>
        </p:nvCxnSpPr>
        <p:spPr>
          <a:xfrm>
            <a:off x="-390293" y="3635260"/>
            <a:ext cx="2443915"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3698530-614C-4837-AC51-6DF9AE15E6BF}"/>
              </a:ext>
            </a:extLst>
          </p:cNvPr>
          <p:cNvCxnSpPr>
            <a:cxnSpLocks/>
          </p:cNvCxnSpPr>
          <p:nvPr/>
        </p:nvCxnSpPr>
        <p:spPr>
          <a:xfrm>
            <a:off x="6030549" y="3631392"/>
            <a:ext cx="415014" cy="806434"/>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795FFC-4602-4FEF-A5A1-B981D3791E53}"/>
              </a:ext>
            </a:extLst>
          </p:cNvPr>
          <p:cNvCxnSpPr>
            <a:cxnSpLocks/>
          </p:cNvCxnSpPr>
          <p:nvPr/>
        </p:nvCxnSpPr>
        <p:spPr>
          <a:xfrm>
            <a:off x="1832862" y="2245848"/>
            <a:ext cx="3343102"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37CF31-92AE-49F0-81DA-CE1FD5875452}"/>
              </a:ext>
            </a:extLst>
          </p:cNvPr>
          <p:cNvCxnSpPr>
            <a:cxnSpLocks/>
          </p:cNvCxnSpPr>
          <p:nvPr/>
        </p:nvCxnSpPr>
        <p:spPr>
          <a:xfrm flipV="1">
            <a:off x="1832863" y="5105699"/>
            <a:ext cx="3343101" cy="0"/>
          </a:xfrm>
          <a:prstGeom prst="line">
            <a:avLst/>
          </a:prstGeom>
          <a:ln w="44450" cap="rnd">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10B7AD-BC15-4D5F-B18C-205A426EE2E5}"/>
              </a:ext>
            </a:extLst>
          </p:cNvPr>
          <p:cNvCxnSpPr>
            <a:cxnSpLocks/>
          </p:cNvCxnSpPr>
          <p:nvPr/>
        </p:nvCxnSpPr>
        <p:spPr>
          <a:xfrm flipV="1">
            <a:off x="1832863" y="2245848"/>
            <a:ext cx="0" cy="1374005"/>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FF3E47B-4E4F-45AC-AFE5-663C210B833F}"/>
              </a:ext>
            </a:extLst>
          </p:cNvPr>
          <p:cNvCxnSpPr>
            <a:cxnSpLocks/>
          </p:cNvCxnSpPr>
          <p:nvPr/>
        </p:nvCxnSpPr>
        <p:spPr>
          <a:xfrm flipV="1">
            <a:off x="1832863" y="3635260"/>
            <a:ext cx="0" cy="1493577"/>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744DB4-20CC-447C-A73B-8EED145F9509}"/>
              </a:ext>
            </a:extLst>
          </p:cNvPr>
          <p:cNvCxnSpPr>
            <a:cxnSpLocks/>
          </p:cNvCxnSpPr>
          <p:nvPr/>
        </p:nvCxnSpPr>
        <p:spPr>
          <a:xfrm flipV="1">
            <a:off x="-167268" y="6252436"/>
            <a:ext cx="2220890" cy="1"/>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83C1374-24A6-4B4F-A00D-E7EA35E94B19}"/>
              </a:ext>
            </a:extLst>
          </p:cNvPr>
          <p:cNvSpPr/>
          <p:nvPr/>
        </p:nvSpPr>
        <p:spPr>
          <a:xfrm>
            <a:off x="543906" y="3158187"/>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6167E522-C46C-4FC1-B7EF-B37AB1F558FF}"/>
              </a:ext>
            </a:extLst>
          </p:cNvPr>
          <p:cNvSpPr/>
          <p:nvPr/>
        </p:nvSpPr>
        <p:spPr>
          <a:xfrm>
            <a:off x="85269" y="5394066"/>
            <a:ext cx="1747594" cy="830997"/>
          </a:xfrm>
          <a:prstGeom prst="rect">
            <a:avLst/>
          </a:prstGeom>
        </p:spPr>
        <p:txBody>
          <a:bodyPr wrap="non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normalized</a:t>
            </a:r>
            <a:b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image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59E5C92B-CAF6-4CC4-821E-ECD4DBF62DA1}"/>
              </a:ext>
            </a:extLst>
          </p:cNvPr>
          <p:cNvCxnSpPr>
            <a:cxnSpLocks/>
          </p:cNvCxnSpPr>
          <p:nvPr/>
        </p:nvCxnSpPr>
        <p:spPr>
          <a:xfrm>
            <a:off x="7675882" y="4974284"/>
            <a:ext cx="1458993" cy="16129"/>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A5998AB0-9595-4147-B0F1-D1AE0D435ADB}"/>
              </a:ext>
            </a:extLst>
          </p:cNvPr>
          <p:cNvSpPr/>
          <p:nvPr/>
        </p:nvSpPr>
        <p:spPr bwMode="auto">
          <a:xfrm>
            <a:off x="9134875" y="4475223"/>
            <a:ext cx="2499918" cy="1072919"/>
          </a:xfrm>
          <a:prstGeom prst="roundRect">
            <a:avLst/>
          </a:prstGeom>
          <a:solidFill>
            <a:srgbClr val="E3008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t Internal</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rganization ID</a:t>
            </a:r>
          </a:p>
        </p:txBody>
      </p:sp>
      <p:sp>
        <p:nvSpPr>
          <p:cNvPr id="53" name="Rectangle 52">
            <a:extLst>
              <a:ext uri="{FF2B5EF4-FFF2-40B4-BE49-F238E27FC236}">
                <a16:creationId xmlns:a16="http://schemas.microsoft.com/office/drawing/2014/main" id="{F4145C26-AA07-4117-8D66-2711AAC08868}"/>
              </a:ext>
            </a:extLst>
          </p:cNvPr>
          <p:cNvSpPr/>
          <p:nvPr/>
        </p:nvSpPr>
        <p:spPr>
          <a:xfrm>
            <a:off x="4550657" y="3158187"/>
            <a:ext cx="1479892"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language</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63" name="Straight Connector 62">
            <a:extLst>
              <a:ext uri="{FF2B5EF4-FFF2-40B4-BE49-F238E27FC236}">
                <a16:creationId xmlns:a16="http://schemas.microsoft.com/office/drawing/2014/main" id="{0F1B758A-43F4-4995-8F0C-19CD6C4D9A8C}"/>
              </a:ext>
            </a:extLst>
          </p:cNvPr>
          <p:cNvCxnSpPr>
            <a:cxnSpLocks/>
          </p:cNvCxnSpPr>
          <p:nvPr/>
        </p:nvCxnSpPr>
        <p:spPr>
          <a:xfrm flipV="1">
            <a:off x="6030549" y="2934860"/>
            <a:ext cx="415014" cy="696532"/>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3CF0D4F-10C8-40A3-9BDE-6F5ACAF75794}"/>
              </a:ext>
            </a:extLst>
          </p:cNvPr>
          <p:cNvSpPr/>
          <p:nvPr/>
        </p:nvSpPr>
        <p:spPr>
          <a:xfrm>
            <a:off x="4550657" y="5749246"/>
            <a:ext cx="774571"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tags</a:t>
            </a: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428FB68D-7552-4EFF-A40D-FC36CAC23B75}"/>
              </a:ext>
            </a:extLst>
          </p:cNvPr>
          <p:cNvSpPr/>
          <p:nvPr/>
        </p:nvSpPr>
        <p:spPr>
          <a:xfrm>
            <a:off x="7690153" y="4475223"/>
            <a:ext cx="80182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org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52E7E942-B000-4C44-B2EF-6E72ECBA3FF3}"/>
              </a:ext>
            </a:extLst>
          </p:cNvPr>
          <p:cNvCxnSpPr>
            <a:cxnSpLocks/>
          </p:cNvCxnSpPr>
          <p:nvPr/>
        </p:nvCxnSpPr>
        <p:spPr>
          <a:xfrm>
            <a:off x="11634793" y="5003617"/>
            <a:ext cx="557207"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688B752-5FD6-4BCD-8E9F-2C46075FDC61}"/>
              </a:ext>
            </a:extLst>
          </p:cNvPr>
          <p:cNvCxnSpPr>
            <a:cxnSpLocks/>
          </p:cNvCxnSpPr>
          <p:nvPr/>
        </p:nvCxnSpPr>
        <p:spPr>
          <a:xfrm>
            <a:off x="7675881" y="2235633"/>
            <a:ext cx="4548001" cy="10215"/>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D9E0BDE-CBA5-4415-976F-9741EF62FA0A}"/>
              </a:ext>
            </a:extLst>
          </p:cNvPr>
          <p:cNvCxnSpPr>
            <a:cxnSpLocks/>
            <a:stCxn id="22" idx="3"/>
          </p:cNvCxnSpPr>
          <p:nvPr/>
        </p:nvCxnSpPr>
        <p:spPr>
          <a:xfrm flipV="1">
            <a:off x="4553540" y="3619852"/>
            <a:ext cx="7638460" cy="15408"/>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A0A056A1-2D2F-4BCF-AC59-EC73A989D061}"/>
              </a:ext>
            </a:extLst>
          </p:cNvPr>
          <p:cNvSpPr/>
          <p:nvPr/>
        </p:nvSpPr>
        <p:spPr>
          <a:xfrm>
            <a:off x="3376496" y="4667172"/>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2B34DBB6-84CD-40A8-B62D-A5AC42E61079}"/>
              </a:ext>
            </a:extLst>
          </p:cNvPr>
          <p:cNvSpPr/>
          <p:nvPr/>
        </p:nvSpPr>
        <p:spPr>
          <a:xfrm>
            <a:off x="3376496" y="1797173"/>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15" name="Ink 14">
                <a:extLst>
                  <a:ext uri="{FF2B5EF4-FFF2-40B4-BE49-F238E27FC236}">
                    <a16:creationId xmlns:a16="http://schemas.microsoft.com/office/drawing/2014/main" id="{39E6524B-BCD7-40F0-A629-FFE7C48B1902}"/>
                  </a:ext>
                </a:extLst>
              </p14:cNvPr>
              <p14:cNvContentPartPr/>
              <p14:nvPr/>
            </p14:nvContentPartPr>
            <p14:xfrm>
              <a:off x="2144783" y="2652135"/>
              <a:ext cx="5696280" cy="2841840"/>
            </p14:xfrm>
          </p:contentPart>
        </mc:Choice>
        <mc:Fallback xmlns="">
          <p:pic>
            <p:nvPicPr>
              <p:cNvPr id="15" name="Ink 14">
                <a:extLst>
                  <a:ext uri="{FF2B5EF4-FFF2-40B4-BE49-F238E27FC236}">
                    <a16:creationId xmlns:a16="http://schemas.microsoft.com/office/drawing/2014/main" id="{39E6524B-BCD7-40F0-A629-FFE7C48B1902}"/>
                  </a:ext>
                </a:extLst>
              </p:cNvPr>
              <p:cNvPicPr/>
              <p:nvPr/>
            </p:nvPicPr>
            <p:blipFill>
              <a:blip r:embed="rId6"/>
              <a:stretch>
                <a:fillRect/>
              </a:stretch>
            </p:blipFill>
            <p:spPr>
              <a:xfrm>
                <a:off x="2108785" y="2616135"/>
                <a:ext cx="5767915" cy="2913480"/>
              </a:xfrm>
              <a:prstGeom prst="rect">
                <a:avLst/>
              </a:prstGeom>
            </p:spPr>
          </p:pic>
        </mc:Fallback>
      </mc:AlternateContent>
      <p:cxnSp>
        <p:nvCxnSpPr>
          <p:cNvPr id="36" name="Straight Connector 35">
            <a:extLst>
              <a:ext uri="{FF2B5EF4-FFF2-40B4-BE49-F238E27FC236}">
                <a16:creationId xmlns:a16="http://schemas.microsoft.com/office/drawing/2014/main" id="{F247D459-7C3E-4ABA-A55B-37306F7BB1CC}"/>
              </a:ext>
            </a:extLst>
          </p:cNvPr>
          <p:cNvCxnSpPr>
            <a:cxnSpLocks/>
          </p:cNvCxnSpPr>
          <p:nvPr/>
        </p:nvCxnSpPr>
        <p:spPr>
          <a:xfrm flipV="1">
            <a:off x="4550657" y="6225063"/>
            <a:ext cx="7641343" cy="1661"/>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8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2B98AE-FCB3-4B8B-BBE2-EDD10EE9861F}"/>
              </a:ext>
            </a:extLst>
          </p:cNvPr>
          <p:cNvSpPr/>
          <p:nvPr/>
        </p:nvSpPr>
        <p:spPr bwMode="auto">
          <a:xfrm>
            <a:off x="6579220" y="4427033"/>
            <a:ext cx="2698595" cy="412595"/>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9" name="Text Placeholder 8">
            <a:extLst>
              <a:ext uri="{FF2B5EF4-FFF2-40B4-BE49-F238E27FC236}">
                <a16:creationId xmlns:a16="http://schemas.microsoft.com/office/drawing/2014/main" id="{2C645FF4-C235-4DBF-8E9B-23E85EFDEE6C}"/>
              </a:ext>
            </a:extLst>
          </p:cNvPr>
          <p:cNvSpPr>
            <a:spLocks noGrp="1"/>
          </p:cNvSpPr>
          <p:nvPr>
            <p:ph type="body" sz="quarter" idx="10"/>
          </p:nvPr>
        </p:nvSpPr>
        <p:spPr/>
        <p:txBody>
          <a:bodyPr/>
          <a:lstStyle/>
          <a:p>
            <a:r>
              <a:rPr lang="en-US" sz="1800" dirty="0">
                <a:solidFill>
                  <a:srgbClr val="0451A5"/>
                </a:solidFill>
              </a:rPr>
              <a:t>"skills"</a:t>
            </a:r>
            <a:r>
              <a:rPr lang="en-US" sz="1800" dirty="0">
                <a:solidFill>
                  <a:srgbClr val="000000"/>
                </a:solidFill>
              </a:rPr>
              <a:t>: [</a:t>
            </a:r>
          </a:p>
          <a:p>
            <a:endParaRPr lang="en-US" sz="1800" dirty="0">
              <a:solidFill>
                <a:srgbClr val="000000"/>
              </a:solidFill>
            </a:endParaRPr>
          </a:p>
          <a:p>
            <a:pPr lvl="1"/>
            <a:r>
              <a:rPr lang="en-US" sz="1800" dirty="0">
                <a:solidFill>
                  <a:srgbClr val="000000"/>
                </a:solidFill>
              </a:rPr>
              <a:t>{</a:t>
            </a:r>
          </a:p>
          <a:p>
            <a:pPr lvl="2"/>
            <a:r>
              <a:rPr lang="en-US" sz="1800" dirty="0">
                <a:solidFill>
                  <a:srgbClr val="0451A5"/>
                </a:solidFill>
              </a:rPr>
              <a:t>"@</a:t>
            </a:r>
            <a:r>
              <a:rPr lang="en-US" sz="1800" dirty="0" err="1">
                <a:solidFill>
                  <a:srgbClr val="0451A5"/>
                </a:solidFill>
              </a:rPr>
              <a:t>odata.type</a:t>
            </a:r>
            <a:r>
              <a:rPr lang="en-US" sz="1800" dirty="0">
                <a:solidFill>
                  <a:srgbClr val="0451A5"/>
                </a:solidFill>
              </a:rPr>
              <a:t>"</a:t>
            </a:r>
            <a:r>
              <a:rPr lang="en-US" sz="1800" dirty="0">
                <a:solidFill>
                  <a:srgbClr val="000000"/>
                </a:solidFill>
              </a:rPr>
              <a:t>: </a:t>
            </a:r>
            <a:r>
              <a:rPr lang="en-US" sz="1800" dirty="0">
                <a:solidFill>
                  <a:srgbClr val="A31515"/>
                </a:solidFill>
              </a:rPr>
              <a:t>"#</a:t>
            </a:r>
            <a:r>
              <a:rPr lang="en-US" sz="1800" dirty="0" err="1">
                <a:solidFill>
                  <a:srgbClr val="A31515"/>
                </a:solidFill>
              </a:rPr>
              <a:t>Microsoft.Skills.Text.LanguageDetectionSkill</a:t>
            </a:r>
            <a:r>
              <a:rPr lang="en-US" sz="1800" dirty="0">
                <a:solidFill>
                  <a:srgbClr val="A31515"/>
                </a:solidFill>
              </a:rPr>
              <a:t>"</a:t>
            </a:r>
            <a:r>
              <a:rPr lang="en-US" sz="1800" dirty="0">
                <a:solidFill>
                  <a:srgbClr val="000000"/>
                </a:solidFill>
              </a:rPr>
              <a:t>,</a:t>
            </a:r>
          </a:p>
          <a:p>
            <a:pPr lvl="2"/>
            <a:r>
              <a:rPr lang="en-US" sz="1800" dirty="0">
                <a:solidFill>
                  <a:srgbClr val="0451A5"/>
                </a:solidFill>
              </a:rPr>
              <a:t>"inputs"</a:t>
            </a:r>
            <a:r>
              <a:rPr lang="en-US" sz="1800" dirty="0">
                <a:solidFill>
                  <a:srgbClr val="000000"/>
                </a:solidFill>
              </a:rPr>
              <a:t>: </a:t>
            </a:r>
            <a:br>
              <a:rPr lang="en-US" sz="1800" dirty="0">
                <a:solidFill>
                  <a:srgbClr val="000000"/>
                </a:solidFill>
              </a:rPr>
            </a:br>
            <a:r>
              <a:rPr lang="en-US" sz="1800" dirty="0">
                <a:solidFill>
                  <a:srgbClr val="000000"/>
                </a:solidFill>
              </a:rPr>
              <a:t>[</a:t>
            </a:r>
          </a:p>
          <a:p>
            <a:r>
              <a:rPr lang="en-US" sz="1800" dirty="0">
                <a:solidFill>
                  <a:srgbClr val="000000"/>
                </a:solidFill>
              </a:rPr>
              <a:t>	{</a:t>
            </a:r>
            <a:r>
              <a:rPr lang="en-US" sz="1800" dirty="0">
                <a:solidFill>
                  <a:srgbClr val="0451A5"/>
                </a:solidFill>
              </a:rPr>
              <a:t>  "name"</a:t>
            </a:r>
            <a:r>
              <a:rPr lang="en-US" sz="1800" dirty="0">
                <a:solidFill>
                  <a:srgbClr val="000000"/>
                </a:solidFill>
              </a:rPr>
              <a:t>: </a:t>
            </a:r>
            <a:r>
              <a:rPr lang="en-US" sz="1800" dirty="0">
                <a:solidFill>
                  <a:srgbClr val="A31515"/>
                </a:solidFill>
              </a:rPr>
              <a:t>"text"</a:t>
            </a:r>
            <a:r>
              <a:rPr lang="en-US" sz="1800" dirty="0">
                <a:solidFill>
                  <a:srgbClr val="000000"/>
                </a:solidFill>
              </a:rPr>
              <a:t>, </a:t>
            </a:r>
            <a:r>
              <a:rPr lang="en-US" sz="1800" dirty="0">
                <a:solidFill>
                  <a:srgbClr val="0451A5"/>
                </a:solidFill>
              </a:rPr>
              <a:t>"source"</a:t>
            </a:r>
            <a:r>
              <a:rPr lang="en-US" sz="1800" dirty="0">
                <a:solidFill>
                  <a:srgbClr val="000000"/>
                </a:solidFill>
              </a:rPr>
              <a:t>: </a:t>
            </a:r>
            <a:r>
              <a:rPr lang="en-US" sz="1800" dirty="0">
                <a:solidFill>
                  <a:srgbClr val="A31515"/>
                </a:solidFill>
              </a:rPr>
              <a:t>"/document/content" </a:t>
            </a:r>
            <a:r>
              <a:rPr lang="en-US" sz="1800" dirty="0">
                <a:solidFill>
                  <a:srgbClr val="000000"/>
                </a:solidFill>
              </a:rPr>
              <a:t>}</a:t>
            </a:r>
            <a:endParaRPr lang="en-US" dirty="0">
              <a:solidFill>
                <a:srgbClr val="000000"/>
              </a:solidFill>
            </a:endParaRPr>
          </a:p>
          <a:p>
            <a:pPr lvl="2"/>
            <a:r>
              <a:rPr lang="en-US" sz="1800" dirty="0">
                <a:solidFill>
                  <a:srgbClr val="000000"/>
                </a:solidFill>
              </a:rPr>
              <a:t>],</a:t>
            </a:r>
            <a:br>
              <a:rPr lang="en-US" sz="1800" dirty="0">
                <a:solidFill>
                  <a:srgbClr val="000000"/>
                </a:solidFill>
              </a:rPr>
            </a:br>
            <a:r>
              <a:rPr lang="en-US" sz="1800" dirty="0">
                <a:solidFill>
                  <a:srgbClr val="0451A5"/>
                </a:solidFill>
              </a:rPr>
              <a:t>"outputs"</a:t>
            </a:r>
            <a:r>
              <a:rPr lang="en-US" sz="1800" dirty="0">
                <a:solidFill>
                  <a:srgbClr val="000000"/>
                </a:solidFill>
              </a:rPr>
              <a:t>:</a:t>
            </a:r>
            <a:br>
              <a:rPr lang="en-US" sz="1800" dirty="0">
                <a:solidFill>
                  <a:srgbClr val="000000"/>
                </a:solidFill>
              </a:rPr>
            </a:br>
            <a:r>
              <a:rPr lang="en-US" sz="1800" dirty="0">
                <a:solidFill>
                  <a:srgbClr val="000000"/>
                </a:solidFill>
              </a:rPr>
              <a:t>[</a:t>
            </a:r>
            <a:br>
              <a:rPr lang="en-US" dirty="0">
                <a:solidFill>
                  <a:srgbClr val="000000"/>
                </a:solidFill>
              </a:rPr>
            </a:br>
            <a:r>
              <a:rPr lang="en-US" sz="1800" dirty="0">
                <a:solidFill>
                  <a:srgbClr val="000000"/>
                </a:solidFill>
              </a:rPr>
              <a:t>	{  </a:t>
            </a:r>
            <a:r>
              <a:rPr lang="en-US" sz="1800" dirty="0">
                <a:solidFill>
                  <a:srgbClr val="0451A5"/>
                </a:solidFill>
              </a:rPr>
              <a:t>"name"</a:t>
            </a:r>
            <a:r>
              <a:rPr lang="en-US" sz="1800" dirty="0">
                <a:solidFill>
                  <a:srgbClr val="000000"/>
                </a:solidFill>
              </a:rPr>
              <a:t>: </a:t>
            </a:r>
            <a:r>
              <a:rPr lang="en-US" sz="1800" dirty="0">
                <a:solidFill>
                  <a:srgbClr val="A31515"/>
                </a:solidFill>
              </a:rPr>
              <a:t>"</a:t>
            </a:r>
            <a:r>
              <a:rPr lang="en-US" sz="1800" dirty="0" err="1">
                <a:solidFill>
                  <a:srgbClr val="A31515"/>
                </a:solidFill>
              </a:rPr>
              <a:t>languageCode</a:t>
            </a:r>
            <a:r>
              <a:rPr lang="en-US" sz="1800" dirty="0">
                <a:solidFill>
                  <a:srgbClr val="A31515"/>
                </a:solidFill>
              </a:rPr>
              <a:t>"</a:t>
            </a:r>
            <a:r>
              <a:rPr lang="en-US" sz="1800" dirty="0">
                <a:solidFill>
                  <a:srgbClr val="000000"/>
                </a:solidFill>
              </a:rPr>
              <a:t>, </a:t>
            </a:r>
            <a:r>
              <a:rPr lang="en-US" sz="1800" dirty="0">
                <a:solidFill>
                  <a:srgbClr val="0451A5"/>
                </a:solidFill>
              </a:rPr>
              <a:t>"</a:t>
            </a:r>
            <a:r>
              <a:rPr lang="en-US" sz="1800" dirty="0" err="1">
                <a:solidFill>
                  <a:srgbClr val="0451A5"/>
                </a:solidFill>
              </a:rPr>
              <a:t>targetName</a:t>
            </a:r>
            <a:r>
              <a:rPr lang="en-US" sz="1800" dirty="0">
                <a:solidFill>
                  <a:srgbClr val="0451A5"/>
                </a:solidFill>
              </a:rPr>
              <a:t>"</a:t>
            </a:r>
            <a:r>
              <a:rPr lang="en-US" sz="1800" dirty="0">
                <a:solidFill>
                  <a:srgbClr val="000000"/>
                </a:solidFill>
              </a:rPr>
              <a:t>: </a:t>
            </a:r>
            <a:r>
              <a:rPr lang="en-US" sz="1800" dirty="0">
                <a:solidFill>
                  <a:srgbClr val="A31515"/>
                </a:solidFill>
              </a:rPr>
              <a:t>"</a:t>
            </a:r>
            <a:r>
              <a:rPr lang="en-US" sz="1800" dirty="0" err="1">
                <a:solidFill>
                  <a:srgbClr val="A31515"/>
                </a:solidFill>
              </a:rPr>
              <a:t>myLanguageCode</a:t>
            </a:r>
            <a:r>
              <a:rPr lang="en-US" sz="1800" dirty="0">
                <a:solidFill>
                  <a:srgbClr val="A31515"/>
                </a:solidFill>
              </a:rPr>
              <a:t>" </a:t>
            </a:r>
            <a:r>
              <a:rPr lang="en-US" sz="1800" dirty="0">
                <a:solidFill>
                  <a:srgbClr val="000000"/>
                </a:solidFill>
              </a:rPr>
              <a:t>},</a:t>
            </a:r>
          </a:p>
          <a:p>
            <a:pPr lvl="2" defTabSz="914367">
              <a:spcBef>
                <a:spcPts val="0"/>
              </a:spcBef>
              <a:buSzTx/>
            </a:pPr>
            <a:r>
              <a:rPr lang="en-US" sz="1800" dirty="0">
                <a:solidFill>
                  <a:srgbClr val="000000"/>
                </a:solidFill>
                <a:cs typeface="+mn-cs"/>
              </a:rPr>
              <a:t>	{  </a:t>
            </a:r>
            <a:r>
              <a:rPr lang="en-US" sz="1800" dirty="0">
                <a:solidFill>
                  <a:srgbClr val="0451A5"/>
                </a:solidFill>
                <a:cs typeface="+mn-cs"/>
              </a:rPr>
              <a:t>"name"</a:t>
            </a:r>
            <a:r>
              <a:rPr lang="en-US" sz="1800" dirty="0">
                <a:solidFill>
                  <a:srgbClr val="000000"/>
                </a:solidFill>
                <a:cs typeface="+mn-cs"/>
              </a:rPr>
              <a:t>: </a:t>
            </a:r>
            <a:r>
              <a:rPr lang="en-US" sz="1800" dirty="0">
                <a:solidFill>
                  <a:srgbClr val="A31515"/>
                </a:solidFill>
                <a:cs typeface="+mn-cs"/>
              </a:rPr>
              <a:t>"</a:t>
            </a:r>
            <a:r>
              <a:rPr lang="en-US" sz="1800" dirty="0" err="1">
                <a:solidFill>
                  <a:srgbClr val="A31515"/>
                </a:solidFill>
                <a:cs typeface="+mn-cs"/>
              </a:rPr>
              <a:t>languageName</a:t>
            </a:r>
            <a:r>
              <a:rPr lang="en-US" sz="1800" dirty="0">
                <a:solidFill>
                  <a:srgbClr val="A31515"/>
                </a:solidFill>
                <a:cs typeface="+mn-cs"/>
              </a:rPr>
              <a:t>"</a:t>
            </a:r>
            <a:r>
              <a:rPr lang="en-US" sz="1800" dirty="0">
                <a:solidFill>
                  <a:srgbClr val="000000"/>
                </a:solidFill>
                <a:cs typeface="+mn-cs"/>
              </a:rPr>
              <a:t>, </a:t>
            </a:r>
            <a:r>
              <a:rPr lang="en-US" sz="1800" dirty="0">
                <a:solidFill>
                  <a:srgbClr val="0451A5"/>
                </a:solidFill>
                <a:cs typeface="+mn-cs"/>
              </a:rPr>
              <a:t>"</a:t>
            </a:r>
            <a:r>
              <a:rPr lang="en-US" sz="1800" dirty="0" err="1">
                <a:solidFill>
                  <a:srgbClr val="0451A5"/>
                </a:solidFill>
                <a:cs typeface="+mn-cs"/>
              </a:rPr>
              <a:t>targetName</a:t>
            </a:r>
            <a:r>
              <a:rPr lang="en-US" sz="1800" dirty="0">
                <a:solidFill>
                  <a:srgbClr val="0451A5"/>
                </a:solidFill>
                <a:cs typeface="+mn-cs"/>
              </a:rPr>
              <a:t>"</a:t>
            </a:r>
            <a:r>
              <a:rPr lang="en-US" sz="1800" dirty="0">
                <a:solidFill>
                  <a:srgbClr val="000000"/>
                </a:solidFill>
                <a:cs typeface="+mn-cs"/>
              </a:rPr>
              <a:t>: </a:t>
            </a:r>
            <a:r>
              <a:rPr lang="en-US" sz="1800" dirty="0">
                <a:solidFill>
                  <a:srgbClr val="A31515"/>
                </a:solidFill>
                <a:cs typeface="+mn-cs"/>
              </a:rPr>
              <a:t>"</a:t>
            </a:r>
            <a:r>
              <a:rPr lang="en-US" sz="1800" dirty="0" err="1">
                <a:solidFill>
                  <a:srgbClr val="A31515"/>
                </a:solidFill>
                <a:cs typeface="+mn-cs"/>
              </a:rPr>
              <a:t>myLanguageName</a:t>
            </a:r>
            <a:r>
              <a:rPr lang="en-US" sz="1800" dirty="0">
                <a:solidFill>
                  <a:srgbClr val="A31515"/>
                </a:solidFill>
              </a:rPr>
              <a:t>"</a:t>
            </a:r>
            <a:r>
              <a:rPr lang="en-US" sz="1800" dirty="0">
                <a:solidFill>
                  <a:srgbClr val="A31515"/>
                </a:solidFill>
                <a:cs typeface="+mn-cs"/>
              </a:rPr>
              <a:t> </a:t>
            </a:r>
            <a:r>
              <a:rPr lang="en-US" sz="1800" dirty="0">
                <a:solidFill>
                  <a:srgbClr val="000000"/>
                </a:solidFill>
                <a:cs typeface="+mn-cs"/>
              </a:rPr>
              <a:t>}</a:t>
            </a:r>
            <a:endParaRPr lang="en-US" dirty="0">
              <a:solidFill>
                <a:srgbClr val="000000"/>
              </a:solidFill>
            </a:endParaRPr>
          </a:p>
          <a:p>
            <a:pPr lvl="2"/>
            <a:r>
              <a:rPr lang="en-US" sz="1800" dirty="0">
                <a:solidFill>
                  <a:srgbClr val="000000"/>
                </a:solidFill>
              </a:rPr>
              <a:t>]</a:t>
            </a:r>
          </a:p>
          <a:p>
            <a:pPr lvl="1"/>
            <a:r>
              <a:rPr lang="en-US" sz="1800" dirty="0">
                <a:solidFill>
                  <a:srgbClr val="000000"/>
                </a:solidFill>
              </a:rPr>
              <a:t>},</a:t>
            </a:r>
          </a:p>
          <a:p>
            <a:endParaRPr lang="en-US" dirty="0"/>
          </a:p>
        </p:txBody>
      </p:sp>
      <mc:AlternateContent xmlns:mc="http://schemas.openxmlformats.org/markup-compatibility/2006" xmlns:p14="http://schemas.microsoft.com/office/powerpoint/2010/main">
        <mc:Choice Requires="p14">
          <p:contentPart p14:bwMode="auto" r:id="rId2">
            <p14:nvContentPartPr>
              <p14:cNvPr id="52" name="Ink 51">
                <a:extLst>
                  <a:ext uri="{FF2B5EF4-FFF2-40B4-BE49-F238E27FC236}">
                    <a16:creationId xmlns:a16="http://schemas.microsoft.com/office/drawing/2014/main" id="{5D7EDF04-158A-471D-BD76-27E76D35EB83}"/>
                  </a:ext>
                </a:extLst>
              </p14:cNvPr>
              <p14:cNvContentPartPr/>
              <p14:nvPr/>
            </p14:nvContentPartPr>
            <p14:xfrm>
              <a:off x="9422968" y="2570432"/>
              <a:ext cx="2478600" cy="2405160"/>
            </p14:xfrm>
          </p:contentPart>
        </mc:Choice>
        <mc:Fallback xmlns="">
          <p:pic>
            <p:nvPicPr>
              <p:cNvPr id="52" name="Ink 51">
                <a:extLst>
                  <a:ext uri="{FF2B5EF4-FFF2-40B4-BE49-F238E27FC236}">
                    <a16:creationId xmlns:a16="http://schemas.microsoft.com/office/drawing/2014/main" id="{5D7EDF04-158A-471D-BD76-27E76D35EB83}"/>
                  </a:ext>
                </a:extLst>
              </p:cNvPr>
              <p:cNvPicPr/>
              <p:nvPr/>
            </p:nvPicPr>
            <p:blipFill>
              <a:blip r:embed="rId3"/>
              <a:stretch>
                <a:fillRect/>
              </a:stretch>
            </p:blipFill>
            <p:spPr>
              <a:xfrm>
                <a:off x="9413968" y="2561432"/>
                <a:ext cx="2496240" cy="2422800"/>
              </a:xfrm>
              <a:prstGeom prst="rect">
                <a:avLst/>
              </a:prstGeom>
            </p:spPr>
          </p:pic>
        </mc:Fallback>
      </mc:AlternateContent>
    </p:spTree>
    <p:extLst>
      <p:ext uri="{BB962C8B-B14F-4D97-AF65-F5344CB8AC3E}">
        <p14:creationId xmlns:p14="http://schemas.microsoft.com/office/powerpoint/2010/main" val="2434891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370866-442B-0535-B3C7-CA4800700ABF}"/>
              </a:ext>
            </a:extLst>
          </p:cNvPr>
          <p:cNvSpPr/>
          <p:nvPr/>
        </p:nvSpPr>
        <p:spPr bwMode="auto">
          <a:xfrm>
            <a:off x="6125312" y="3959520"/>
            <a:ext cx="3183693" cy="412595"/>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9" name="Text Placeholder 8">
            <a:extLst>
              <a:ext uri="{FF2B5EF4-FFF2-40B4-BE49-F238E27FC236}">
                <a16:creationId xmlns:a16="http://schemas.microsoft.com/office/drawing/2014/main" id="{2C645FF4-C235-4DBF-8E9B-23E85EFDEE6C}"/>
              </a:ext>
            </a:extLst>
          </p:cNvPr>
          <p:cNvSpPr>
            <a:spLocks noGrp="1"/>
          </p:cNvSpPr>
          <p:nvPr>
            <p:ph type="body" sz="quarter" idx="10"/>
          </p:nvPr>
        </p:nvSpPr>
        <p:spPr/>
        <p:txBody>
          <a:bodyPr/>
          <a:lstStyle/>
          <a:p>
            <a:r>
              <a:rPr lang="en-US" sz="1800">
                <a:solidFill>
                  <a:srgbClr val="0451A5"/>
                </a:solidFill>
              </a:rPr>
              <a:t>…,</a:t>
            </a:r>
            <a:endParaRPr lang="en-US" sz="1800">
              <a:solidFill>
                <a:srgbClr val="000000"/>
              </a:solidFill>
            </a:endParaRPr>
          </a:p>
          <a:p>
            <a:pPr lvl="1"/>
            <a:r>
              <a:rPr lang="en-US" sz="1800">
                <a:solidFill>
                  <a:srgbClr val="000000"/>
                </a:solidFill>
              </a:rPr>
              <a:t>{</a:t>
            </a:r>
          </a:p>
          <a:p>
            <a:pPr lvl="2"/>
            <a:r>
              <a:rPr lang="en-US" sz="1800">
                <a:solidFill>
                  <a:srgbClr val="0451A5"/>
                </a:solidFill>
              </a:rPr>
              <a:t>"@</a:t>
            </a:r>
            <a:r>
              <a:rPr lang="en-US" sz="1800" err="1">
                <a:solidFill>
                  <a:srgbClr val="0451A5"/>
                </a:solidFill>
              </a:rPr>
              <a:t>odata.type</a:t>
            </a:r>
            <a:r>
              <a:rPr lang="en-US" sz="1800">
                <a:solidFill>
                  <a:srgbClr val="0451A5"/>
                </a:solidFill>
              </a:rPr>
              <a:t>"</a:t>
            </a:r>
            <a:r>
              <a:rPr lang="en-US" sz="1800">
                <a:solidFill>
                  <a:srgbClr val="000000"/>
                </a:solidFill>
              </a:rPr>
              <a:t>: </a:t>
            </a:r>
            <a:r>
              <a:rPr lang="en-US" sz="1800">
                <a:solidFill>
                  <a:srgbClr val="A31515"/>
                </a:solidFill>
              </a:rPr>
              <a:t>"#</a:t>
            </a:r>
            <a:r>
              <a:rPr lang="en-US" sz="1800" err="1">
                <a:solidFill>
                  <a:srgbClr val="A31515"/>
                </a:solidFill>
              </a:rPr>
              <a:t>Microsoft.Skills.Text.NamedEntityRecognitionSkill</a:t>
            </a:r>
            <a:r>
              <a:rPr lang="en-US" sz="1800">
                <a:solidFill>
                  <a:srgbClr val="A31515"/>
                </a:solidFill>
              </a:rPr>
              <a:t>"</a:t>
            </a:r>
            <a:r>
              <a:rPr lang="en-US" sz="1800">
                <a:solidFill>
                  <a:srgbClr val="000000"/>
                </a:solidFill>
              </a:rPr>
              <a:t>,</a:t>
            </a:r>
          </a:p>
          <a:p>
            <a:pPr lvl="2"/>
            <a:r>
              <a:rPr lang="en-US" sz="1800">
                <a:solidFill>
                  <a:srgbClr val="0451A5"/>
                </a:solidFill>
              </a:rPr>
              <a:t>"categories"</a:t>
            </a:r>
            <a:r>
              <a:rPr lang="en-US" sz="1800">
                <a:solidFill>
                  <a:srgbClr val="000000"/>
                </a:solidFill>
              </a:rPr>
              <a:t>: [ </a:t>
            </a:r>
            <a:r>
              <a:rPr lang="en-US" sz="1800">
                <a:solidFill>
                  <a:srgbClr val="A31515"/>
                </a:solidFill>
              </a:rPr>
              <a:t>"Organization"</a:t>
            </a:r>
            <a:r>
              <a:rPr lang="en-US" sz="1800">
                <a:solidFill>
                  <a:srgbClr val="000000"/>
                </a:solidFill>
              </a:rPr>
              <a:t> ],</a:t>
            </a:r>
          </a:p>
          <a:p>
            <a:pPr lvl="2"/>
            <a:r>
              <a:rPr lang="en-US" sz="1800">
                <a:solidFill>
                  <a:srgbClr val="0451A5"/>
                </a:solidFill>
              </a:rPr>
              <a:t>"</a:t>
            </a:r>
            <a:r>
              <a:rPr lang="en-US" sz="1800" err="1">
                <a:solidFill>
                  <a:srgbClr val="0451A5"/>
                </a:solidFill>
              </a:rPr>
              <a:t>defaultLanguageCode</a:t>
            </a:r>
            <a:r>
              <a:rPr lang="en-US" sz="1800">
                <a:solidFill>
                  <a:srgbClr val="0451A5"/>
                </a:solidFill>
              </a:rPr>
              <a:t>"</a:t>
            </a:r>
            <a:r>
              <a:rPr lang="en-US" sz="1800">
                <a:solidFill>
                  <a:srgbClr val="000000"/>
                </a:solidFill>
              </a:rPr>
              <a:t>: </a:t>
            </a:r>
            <a:r>
              <a:rPr lang="en-US" sz="1800">
                <a:solidFill>
                  <a:srgbClr val="A31515"/>
                </a:solidFill>
              </a:rPr>
              <a:t>"</a:t>
            </a:r>
            <a:r>
              <a:rPr lang="en-US" sz="1800" err="1">
                <a:solidFill>
                  <a:srgbClr val="A31515"/>
                </a:solidFill>
              </a:rPr>
              <a:t>en</a:t>
            </a:r>
            <a:r>
              <a:rPr lang="en-US" sz="1800">
                <a:solidFill>
                  <a:srgbClr val="A31515"/>
                </a:solidFill>
              </a:rPr>
              <a:t>"</a:t>
            </a:r>
            <a:r>
              <a:rPr lang="en-US" sz="1800">
                <a:solidFill>
                  <a:srgbClr val="000000"/>
                </a:solidFill>
              </a:rPr>
              <a:t>,</a:t>
            </a:r>
          </a:p>
          <a:p>
            <a:pPr lvl="2"/>
            <a:r>
              <a:rPr lang="en-US" sz="1800">
                <a:solidFill>
                  <a:srgbClr val="0451A5"/>
                </a:solidFill>
              </a:rPr>
              <a:t>"inputs"</a:t>
            </a:r>
            <a:r>
              <a:rPr lang="en-US" sz="1800">
                <a:solidFill>
                  <a:srgbClr val="000000"/>
                </a:solidFill>
              </a:rPr>
              <a:t>: </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text"</a:t>
            </a:r>
            <a:r>
              <a:rPr lang="en-US">
                <a:solidFill>
                  <a:srgbClr val="000000"/>
                </a:solidFill>
              </a:rPr>
              <a:t>, </a:t>
            </a:r>
            <a:r>
              <a:rPr lang="en-US">
                <a:solidFill>
                  <a:srgbClr val="0451A5"/>
                </a:solidFill>
              </a:rPr>
              <a:t>"source"</a:t>
            </a:r>
            <a:r>
              <a:rPr lang="en-US">
                <a:solidFill>
                  <a:srgbClr val="000000"/>
                </a:solidFill>
              </a:rPr>
              <a:t>: </a:t>
            </a:r>
            <a:r>
              <a:rPr lang="en-US">
                <a:solidFill>
                  <a:srgbClr val="A31515"/>
                </a:solidFill>
              </a:rPr>
              <a:t>"/document/content" </a:t>
            </a:r>
            <a:r>
              <a:rPr lang="en-US">
                <a:solidFill>
                  <a:srgbClr val="000000"/>
                </a:solidFill>
              </a:rPr>
              <a:t>},</a:t>
            </a:r>
            <a:br>
              <a:rPr lang="en-US">
                <a:solidFill>
                  <a:srgbClr val="000000"/>
                </a:solidFill>
              </a:rPr>
            </a:br>
            <a:r>
              <a:rPr lang="fr-FR"/>
              <a:t>{  </a:t>
            </a:r>
            <a:r>
              <a:rPr lang="fr-FR">
                <a:solidFill>
                  <a:srgbClr val="0451A5"/>
                </a:solidFill>
              </a:rPr>
              <a:t>"</a:t>
            </a:r>
            <a:r>
              <a:rPr lang="fr-FR" err="1">
                <a:solidFill>
                  <a:srgbClr val="0451A5"/>
                </a:solidFill>
              </a:rPr>
              <a:t>name</a:t>
            </a:r>
            <a:r>
              <a:rPr lang="fr-FR">
                <a:solidFill>
                  <a:srgbClr val="0451A5"/>
                </a:solidFill>
              </a:rPr>
              <a:t>"</a:t>
            </a:r>
            <a:r>
              <a:rPr lang="fr-FR"/>
              <a:t>: </a:t>
            </a:r>
            <a:r>
              <a:rPr lang="fr-FR">
                <a:solidFill>
                  <a:srgbClr val="A31515"/>
                </a:solidFill>
              </a:rPr>
              <a:t>"</a:t>
            </a:r>
            <a:r>
              <a:rPr lang="fr-FR" err="1">
                <a:solidFill>
                  <a:srgbClr val="A31515"/>
                </a:solidFill>
              </a:rPr>
              <a:t>languageCode</a:t>
            </a:r>
            <a:r>
              <a:rPr lang="fr-FR">
                <a:solidFill>
                  <a:srgbClr val="A31515"/>
                </a:solidFill>
              </a:rPr>
              <a:t>"</a:t>
            </a:r>
            <a:r>
              <a:rPr lang="fr-FR"/>
              <a:t>, </a:t>
            </a:r>
            <a:r>
              <a:rPr lang="fr-FR">
                <a:solidFill>
                  <a:srgbClr val="0451A5"/>
                </a:solidFill>
              </a:rPr>
              <a:t>"source"</a:t>
            </a:r>
            <a:r>
              <a:rPr lang="fr-FR"/>
              <a:t>: </a:t>
            </a:r>
            <a:r>
              <a:rPr lang="fr-FR">
                <a:solidFill>
                  <a:srgbClr val="A31515"/>
                </a:solidFill>
              </a:rPr>
              <a:t>"/document/</a:t>
            </a:r>
            <a:r>
              <a:rPr lang="fr-FR" err="1">
                <a:solidFill>
                  <a:srgbClr val="A31515"/>
                </a:solidFill>
              </a:rPr>
              <a:t>myLanguageCode</a:t>
            </a:r>
            <a:r>
              <a:rPr lang="fr-FR">
                <a:solidFill>
                  <a:srgbClr val="A31515"/>
                </a:solidFill>
              </a:rPr>
              <a:t>"</a:t>
            </a:r>
            <a:r>
              <a:rPr lang="fr-FR"/>
              <a:t> }</a:t>
            </a:r>
            <a:endParaRPr lang="en-US">
              <a:solidFill>
                <a:srgbClr val="000000"/>
              </a:solidFill>
            </a:endParaRPr>
          </a:p>
          <a:p>
            <a:pPr lvl="2"/>
            <a:r>
              <a:rPr lang="en-US" sz="1800">
                <a:solidFill>
                  <a:srgbClr val="000000"/>
                </a:solidFill>
              </a:rPr>
              <a:t>],</a:t>
            </a:r>
            <a:br>
              <a:rPr lang="en-US" sz="1800">
                <a:solidFill>
                  <a:srgbClr val="000000"/>
                </a:solidFill>
              </a:rPr>
            </a:br>
            <a:r>
              <a:rPr lang="en-US" sz="1800">
                <a:solidFill>
                  <a:srgbClr val="0451A5"/>
                </a:solidFill>
              </a:rPr>
              <a:t>"outputs"</a:t>
            </a:r>
            <a:r>
              <a:rPr lang="en-US" sz="1800">
                <a:solidFill>
                  <a:srgbClr val="000000"/>
                </a:solidFill>
              </a:rPr>
              <a:t>:</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organizations"</a:t>
            </a:r>
            <a:r>
              <a:rPr lang="en-US">
                <a:solidFill>
                  <a:srgbClr val="000000"/>
                </a:solidFill>
              </a:rPr>
              <a:t>, </a:t>
            </a:r>
            <a:r>
              <a:rPr lang="en-US">
                <a:solidFill>
                  <a:srgbClr val="0451A5"/>
                </a:solidFill>
              </a:rPr>
              <a:t>"</a:t>
            </a:r>
            <a:r>
              <a:rPr lang="en-US" err="1">
                <a:solidFill>
                  <a:srgbClr val="0451A5"/>
                </a:solidFill>
              </a:rPr>
              <a:t>targetName</a:t>
            </a:r>
            <a:r>
              <a:rPr lang="en-US">
                <a:solidFill>
                  <a:srgbClr val="0451A5"/>
                </a:solidFill>
              </a:rPr>
              <a:t>"</a:t>
            </a:r>
            <a:r>
              <a:rPr lang="en-US">
                <a:solidFill>
                  <a:srgbClr val="000000"/>
                </a:solidFill>
              </a:rPr>
              <a:t>: </a:t>
            </a:r>
            <a:r>
              <a:rPr lang="en-US">
                <a:solidFill>
                  <a:srgbClr val="A31515"/>
                </a:solidFill>
              </a:rPr>
              <a:t>"organizations"</a:t>
            </a:r>
            <a:r>
              <a:rPr lang="en-US">
                <a:solidFill>
                  <a:srgbClr val="000000"/>
                </a:solidFill>
              </a:rPr>
              <a:t> }</a:t>
            </a:r>
          </a:p>
          <a:p>
            <a:pPr lvl="2"/>
            <a:r>
              <a:rPr lang="en-US" sz="1800">
                <a:solidFill>
                  <a:srgbClr val="000000"/>
                </a:solidFill>
              </a:rPr>
              <a:t>]</a:t>
            </a:r>
          </a:p>
          <a:p>
            <a:pPr lvl="1"/>
            <a:r>
              <a:rPr lang="en-US" sz="1800">
                <a:solidFill>
                  <a:srgbClr val="000000"/>
                </a:solidFill>
              </a:rPr>
              <a:t>},</a:t>
            </a:r>
          </a:p>
          <a:p>
            <a:endParaRPr lang="en-US"/>
          </a:p>
        </p:txBody>
      </p:sp>
      <mc:AlternateContent xmlns:mc="http://schemas.openxmlformats.org/markup-compatibility/2006" xmlns:p14="http://schemas.microsoft.com/office/powerpoint/2010/main">
        <mc:Choice Requires="p14">
          <p:contentPart p14:bwMode="auto" r:id="rId2">
            <p14:nvContentPartPr>
              <p14:cNvPr id="63" name="Ink 62">
                <a:extLst>
                  <a:ext uri="{FF2B5EF4-FFF2-40B4-BE49-F238E27FC236}">
                    <a16:creationId xmlns:a16="http://schemas.microsoft.com/office/drawing/2014/main" id="{DA893992-BEB9-4320-B567-A7D4EA56EE57}"/>
                  </a:ext>
                </a:extLst>
              </p14:cNvPr>
              <p14:cNvContentPartPr/>
              <p14:nvPr/>
            </p14:nvContentPartPr>
            <p14:xfrm>
              <a:off x="8293288" y="1697432"/>
              <a:ext cx="3403800" cy="2334600"/>
            </p14:xfrm>
          </p:contentPart>
        </mc:Choice>
        <mc:Fallback xmlns="">
          <p:pic>
            <p:nvPicPr>
              <p:cNvPr id="63" name="Ink 62">
                <a:extLst>
                  <a:ext uri="{FF2B5EF4-FFF2-40B4-BE49-F238E27FC236}">
                    <a16:creationId xmlns:a16="http://schemas.microsoft.com/office/drawing/2014/main" id="{DA893992-BEB9-4320-B567-A7D4EA56EE57}"/>
                  </a:ext>
                </a:extLst>
              </p:cNvPr>
              <p:cNvPicPr/>
              <p:nvPr/>
            </p:nvPicPr>
            <p:blipFill>
              <a:blip r:embed="rId3"/>
              <a:stretch>
                <a:fillRect/>
              </a:stretch>
            </p:blipFill>
            <p:spPr>
              <a:xfrm>
                <a:off x="8284288" y="1688432"/>
                <a:ext cx="3421440" cy="2352240"/>
              </a:xfrm>
              <a:prstGeom prst="rect">
                <a:avLst/>
              </a:prstGeom>
            </p:spPr>
          </p:pic>
        </mc:Fallback>
      </mc:AlternateContent>
    </p:spTree>
    <p:extLst>
      <p:ext uri="{BB962C8B-B14F-4D97-AF65-F5344CB8AC3E}">
        <p14:creationId xmlns:p14="http://schemas.microsoft.com/office/powerpoint/2010/main" val="2274101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BF14696-629E-45EA-AD8E-BF934D856E62}"/>
              </a:ext>
            </a:extLst>
          </p:cNvPr>
          <p:cNvGrpSpPr/>
          <p:nvPr/>
        </p:nvGrpSpPr>
        <p:grpSpPr>
          <a:xfrm>
            <a:off x="-11982678" y="1651413"/>
            <a:ext cx="24174678" cy="5418996"/>
            <a:chOff x="-11982678" y="1651413"/>
            <a:chExt cx="24174678" cy="5418996"/>
          </a:xfrm>
        </p:grpSpPr>
        <p:sp>
          <p:nvSpPr>
            <p:cNvPr id="25" name="Arrow: Pentagon 24">
              <a:extLst>
                <a:ext uri="{FF2B5EF4-FFF2-40B4-BE49-F238E27FC236}">
                  <a16:creationId xmlns:a16="http://schemas.microsoft.com/office/drawing/2014/main" id="{44F0526B-B9BD-4735-A0A0-8AD6FE36036D}"/>
                </a:ext>
              </a:extLst>
            </p:cNvPr>
            <p:cNvSpPr/>
            <p:nvPr/>
          </p:nvSpPr>
          <p:spPr bwMode="auto">
            <a:xfrm>
              <a:off x="-494371" y="1651414"/>
              <a:ext cx="12686371" cy="5418995"/>
            </a:xfrm>
            <a:prstGeom prst="homePlate">
              <a:avLst>
                <a:gd name="adj" fmla="val 35235"/>
              </a:avLst>
            </a:prstGeom>
            <a:solidFill>
              <a:srgbClr val="00205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6" name="Arrow: Pentagon 25">
              <a:extLst>
                <a:ext uri="{FF2B5EF4-FFF2-40B4-BE49-F238E27FC236}">
                  <a16:creationId xmlns:a16="http://schemas.microsoft.com/office/drawing/2014/main" id="{4852B97A-85B6-4861-BC48-5DE31EB506DD}"/>
                </a:ext>
              </a:extLst>
            </p:cNvPr>
            <p:cNvSpPr/>
            <p:nvPr/>
          </p:nvSpPr>
          <p:spPr bwMode="auto">
            <a:xfrm>
              <a:off x="-11982678" y="1651413"/>
              <a:ext cx="13180741" cy="5418995"/>
            </a:xfrm>
            <a:prstGeom prst="homePlate">
              <a:avLst>
                <a:gd name="adj" fmla="val 23986"/>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3" name="Content Placeholder 2">
            <a:extLst>
              <a:ext uri="{FF2B5EF4-FFF2-40B4-BE49-F238E27FC236}">
                <a16:creationId xmlns:a16="http://schemas.microsoft.com/office/drawing/2014/main" id="{D055FBBD-8F5E-4C4D-9733-AD9AD3C75F77}"/>
              </a:ext>
            </a:extLst>
          </p:cNvPr>
          <p:cNvSpPr>
            <a:spLocks noGrp="1"/>
          </p:cNvSpPr>
          <p:nvPr>
            <p:ph sz="quarter" idx="10"/>
          </p:nvPr>
        </p:nvSpPr>
        <p:spPr>
          <a:xfrm>
            <a:off x="584200" y="1187593"/>
            <a:ext cx="11018838" cy="1612749"/>
          </a:xfrm>
        </p:spPr>
        <p:txBody>
          <a:bodyPr/>
          <a:lstStyle/>
          <a:p>
            <a:r>
              <a:rPr lang="en-US" dirty="0"/>
              <a:t>You can create enrichment chains</a:t>
            </a:r>
          </a:p>
        </p:txBody>
      </p:sp>
      <p:sp>
        <p:nvSpPr>
          <p:cNvPr id="18" name="Arrow: Pentagon 17">
            <a:extLst>
              <a:ext uri="{FF2B5EF4-FFF2-40B4-BE49-F238E27FC236}">
                <a16:creationId xmlns:a16="http://schemas.microsoft.com/office/drawing/2014/main" id="{CEA98299-AA43-43CC-9C03-74336E792273}"/>
              </a:ext>
            </a:extLst>
          </p:cNvPr>
          <p:cNvSpPr/>
          <p:nvPr/>
        </p:nvSpPr>
        <p:spPr bwMode="auto">
          <a:xfrm>
            <a:off x="6850031" y="250800"/>
            <a:ext cx="2284844" cy="1120531"/>
          </a:xfrm>
          <a:prstGeom prst="homePlat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CB94E8B0-F0F1-4D56-946C-D7C9D96C21C2}"/>
              </a:ext>
            </a:extLst>
          </p:cNvPr>
          <p:cNvSpPr/>
          <p:nvPr/>
        </p:nvSpPr>
        <p:spPr bwMode="auto">
          <a:xfrm>
            <a:off x="5175964" y="1890600"/>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 KeyPhrases</a:t>
            </a:r>
          </a:p>
        </p:txBody>
      </p:sp>
      <p:sp>
        <p:nvSpPr>
          <p:cNvPr id="20" name="Rectangle: Rounded Corners 19">
            <a:extLst>
              <a:ext uri="{FF2B5EF4-FFF2-40B4-BE49-F238E27FC236}">
                <a16:creationId xmlns:a16="http://schemas.microsoft.com/office/drawing/2014/main" id="{55DF6162-6BE3-449B-8DE6-B6C4413226EF}"/>
              </a:ext>
            </a:extLst>
          </p:cNvPr>
          <p:cNvSpPr/>
          <p:nvPr/>
        </p:nvSpPr>
        <p:spPr bwMode="auto">
          <a:xfrm>
            <a:off x="5175964" y="4437826"/>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rganization</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xtraction</a:t>
            </a:r>
          </a:p>
        </p:txBody>
      </p:sp>
      <p:sp>
        <p:nvSpPr>
          <p:cNvPr id="22" name="Rectangle: Rounded Corners 21">
            <a:extLst>
              <a:ext uri="{FF2B5EF4-FFF2-40B4-BE49-F238E27FC236}">
                <a16:creationId xmlns:a16="http://schemas.microsoft.com/office/drawing/2014/main" id="{756D9868-E3A8-4E8C-A185-322D2E256878}"/>
              </a:ext>
            </a:extLst>
          </p:cNvPr>
          <p:cNvSpPr/>
          <p:nvPr/>
        </p:nvSpPr>
        <p:spPr bwMode="auto">
          <a:xfrm>
            <a:off x="2053622" y="3098800"/>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tect</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Language</a:t>
            </a:r>
          </a:p>
        </p:txBody>
      </p:sp>
      <p:sp>
        <p:nvSpPr>
          <p:cNvPr id="27" name="Rectangle: Rounded Corners 26">
            <a:extLst>
              <a:ext uri="{FF2B5EF4-FFF2-40B4-BE49-F238E27FC236}">
                <a16:creationId xmlns:a16="http://schemas.microsoft.com/office/drawing/2014/main" id="{3F7BDC3E-116F-4B04-834B-04EC60F549DB}"/>
              </a:ext>
            </a:extLst>
          </p:cNvPr>
          <p:cNvSpPr/>
          <p:nvPr/>
        </p:nvSpPr>
        <p:spPr bwMode="auto">
          <a:xfrm>
            <a:off x="2053622" y="5715977"/>
            <a:ext cx="2499918" cy="1072919"/>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t Tags</a:t>
            </a:r>
          </a:p>
        </p:txBody>
      </p:sp>
      <p:cxnSp>
        <p:nvCxnSpPr>
          <p:cNvPr id="6" name="Straight Connector 5">
            <a:extLst>
              <a:ext uri="{FF2B5EF4-FFF2-40B4-BE49-F238E27FC236}">
                <a16:creationId xmlns:a16="http://schemas.microsoft.com/office/drawing/2014/main" id="{76849D72-3AAD-49CA-89BF-462933BA4436}"/>
              </a:ext>
            </a:extLst>
          </p:cNvPr>
          <p:cNvCxnSpPr>
            <a:cxnSpLocks/>
            <a:endCxn id="22" idx="1"/>
          </p:cNvCxnSpPr>
          <p:nvPr/>
        </p:nvCxnSpPr>
        <p:spPr>
          <a:xfrm>
            <a:off x="-390293" y="3635260"/>
            <a:ext cx="2443915"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3698530-614C-4837-AC51-6DF9AE15E6BF}"/>
              </a:ext>
            </a:extLst>
          </p:cNvPr>
          <p:cNvCxnSpPr>
            <a:cxnSpLocks/>
          </p:cNvCxnSpPr>
          <p:nvPr/>
        </p:nvCxnSpPr>
        <p:spPr>
          <a:xfrm>
            <a:off x="6030549" y="3631392"/>
            <a:ext cx="415014" cy="806434"/>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795FFC-4602-4FEF-A5A1-B981D3791E53}"/>
              </a:ext>
            </a:extLst>
          </p:cNvPr>
          <p:cNvCxnSpPr>
            <a:cxnSpLocks/>
          </p:cNvCxnSpPr>
          <p:nvPr/>
        </p:nvCxnSpPr>
        <p:spPr>
          <a:xfrm>
            <a:off x="1832862" y="2245848"/>
            <a:ext cx="3343102"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37CF31-92AE-49F0-81DA-CE1FD5875452}"/>
              </a:ext>
            </a:extLst>
          </p:cNvPr>
          <p:cNvCxnSpPr>
            <a:cxnSpLocks/>
          </p:cNvCxnSpPr>
          <p:nvPr/>
        </p:nvCxnSpPr>
        <p:spPr>
          <a:xfrm flipV="1">
            <a:off x="1832863" y="5105699"/>
            <a:ext cx="3343101" cy="0"/>
          </a:xfrm>
          <a:prstGeom prst="line">
            <a:avLst/>
          </a:prstGeom>
          <a:ln w="44450" cap="rnd">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10B7AD-BC15-4D5F-B18C-205A426EE2E5}"/>
              </a:ext>
            </a:extLst>
          </p:cNvPr>
          <p:cNvCxnSpPr>
            <a:cxnSpLocks/>
          </p:cNvCxnSpPr>
          <p:nvPr/>
        </p:nvCxnSpPr>
        <p:spPr>
          <a:xfrm flipV="1">
            <a:off x="1832863" y="2245848"/>
            <a:ext cx="0" cy="1374005"/>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FF3E47B-4E4F-45AC-AFE5-663C210B833F}"/>
              </a:ext>
            </a:extLst>
          </p:cNvPr>
          <p:cNvCxnSpPr>
            <a:cxnSpLocks/>
          </p:cNvCxnSpPr>
          <p:nvPr/>
        </p:nvCxnSpPr>
        <p:spPr>
          <a:xfrm flipV="1">
            <a:off x="1832863" y="3635260"/>
            <a:ext cx="0" cy="1493577"/>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744DB4-20CC-447C-A73B-8EED145F9509}"/>
              </a:ext>
            </a:extLst>
          </p:cNvPr>
          <p:cNvCxnSpPr>
            <a:cxnSpLocks/>
          </p:cNvCxnSpPr>
          <p:nvPr/>
        </p:nvCxnSpPr>
        <p:spPr>
          <a:xfrm flipV="1">
            <a:off x="-167268" y="6252436"/>
            <a:ext cx="2220890" cy="1"/>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83C1374-24A6-4B4F-A00D-E7EA35E94B19}"/>
              </a:ext>
            </a:extLst>
          </p:cNvPr>
          <p:cNvSpPr/>
          <p:nvPr/>
        </p:nvSpPr>
        <p:spPr>
          <a:xfrm>
            <a:off x="543906" y="3158187"/>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6167E522-C46C-4FC1-B7EF-B37AB1F558FF}"/>
              </a:ext>
            </a:extLst>
          </p:cNvPr>
          <p:cNvSpPr/>
          <p:nvPr/>
        </p:nvSpPr>
        <p:spPr>
          <a:xfrm>
            <a:off x="85269" y="5394066"/>
            <a:ext cx="1747594" cy="830997"/>
          </a:xfrm>
          <a:prstGeom prst="rect">
            <a:avLst/>
          </a:prstGeom>
        </p:spPr>
        <p:txBody>
          <a:bodyPr wrap="non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normalized</a:t>
            </a:r>
            <a:b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image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59E5C92B-CAF6-4CC4-821E-ECD4DBF62DA1}"/>
              </a:ext>
            </a:extLst>
          </p:cNvPr>
          <p:cNvCxnSpPr>
            <a:cxnSpLocks/>
          </p:cNvCxnSpPr>
          <p:nvPr/>
        </p:nvCxnSpPr>
        <p:spPr>
          <a:xfrm>
            <a:off x="7675882" y="4974284"/>
            <a:ext cx="1458993" cy="16129"/>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A5998AB0-9595-4147-B0F1-D1AE0D435ADB}"/>
              </a:ext>
            </a:extLst>
          </p:cNvPr>
          <p:cNvSpPr/>
          <p:nvPr/>
        </p:nvSpPr>
        <p:spPr bwMode="auto">
          <a:xfrm>
            <a:off x="9134875" y="4475223"/>
            <a:ext cx="2499918" cy="1072919"/>
          </a:xfrm>
          <a:prstGeom prst="round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Get Internal</a:t>
            </a:r>
            <a:b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rganization ID</a:t>
            </a:r>
          </a:p>
        </p:txBody>
      </p:sp>
      <p:sp>
        <p:nvSpPr>
          <p:cNvPr id="53" name="Rectangle 52">
            <a:extLst>
              <a:ext uri="{FF2B5EF4-FFF2-40B4-BE49-F238E27FC236}">
                <a16:creationId xmlns:a16="http://schemas.microsoft.com/office/drawing/2014/main" id="{F4145C26-AA07-4117-8D66-2711AAC08868}"/>
              </a:ext>
            </a:extLst>
          </p:cNvPr>
          <p:cNvSpPr/>
          <p:nvPr/>
        </p:nvSpPr>
        <p:spPr>
          <a:xfrm>
            <a:off x="4550657" y="3158187"/>
            <a:ext cx="1479892"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language</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63" name="Straight Connector 62">
            <a:extLst>
              <a:ext uri="{FF2B5EF4-FFF2-40B4-BE49-F238E27FC236}">
                <a16:creationId xmlns:a16="http://schemas.microsoft.com/office/drawing/2014/main" id="{0F1B758A-43F4-4995-8F0C-19CD6C4D9A8C}"/>
              </a:ext>
            </a:extLst>
          </p:cNvPr>
          <p:cNvCxnSpPr>
            <a:cxnSpLocks/>
          </p:cNvCxnSpPr>
          <p:nvPr/>
        </p:nvCxnSpPr>
        <p:spPr>
          <a:xfrm flipV="1">
            <a:off x="6030549" y="2934860"/>
            <a:ext cx="415014" cy="696532"/>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54E05C4-3401-4C24-A3C5-DFB0F6ABEC67}"/>
              </a:ext>
            </a:extLst>
          </p:cNvPr>
          <p:cNvCxnSpPr>
            <a:cxnSpLocks/>
            <a:stCxn id="27" idx="3"/>
          </p:cNvCxnSpPr>
          <p:nvPr/>
        </p:nvCxnSpPr>
        <p:spPr>
          <a:xfrm flipV="1">
            <a:off x="4553540" y="6244180"/>
            <a:ext cx="7859219" cy="8257"/>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3CF0D4F-10C8-40A3-9BDE-6F5ACAF75794}"/>
              </a:ext>
            </a:extLst>
          </p:cNvPr>
          <p:cNvSpPr/>
          <p:nvPr/>
        </p:nvSpPr>
        <p:spPr>
          <a:xfrm>
            <a:off x="4550657" y="5749246"/>
            <a:ext cx="774571"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tags</a:t>
            </a:r>
            <a:endParaRPr kumimoji="0" lang="en-US" sz="24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428FB68D-7552-4EFF-A40D-FC36CAC23B75}"/>
              </a:ext>
            </a:extLst>
          </p:cNvPr>
          <p:cNvSpPr/>
          <p:nvPr/>
        </p:nvSpPr>
        <p:spPr>
          <a:xfrm>
            <a:off x="7690153" y="4475223"/>
            <a:ext cx="80182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orgs</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52E7E942-B000-4C44-B2EF-6E72ECBA3FF3}"/>
              </a:ext>
            </a:extLst>
          </p:cNvPr>
          <p:cNvCxnSpPr>
            <a:cxnSpLocks/>
          </p:cNvCxnSpPr>
          <p:nvPr/>
        </p:nvCxnSpPr>
        <p:spPr>
          <a:xfrm>
            <a:off x="11634793" y="5003617"/>
            <a:ext cx="1458993" cy="16129"/>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688B752-5FD6-4BCD-8E9F-2C46075FDC61}"/>
              </a:ext>
            </a:extLst>
          </p:cNvPr>
          <p:cNvCxnSpPr>
            <a:cxnSpLocks/>
          </p:cNvCxnSpPr>
          <p:nvPr/>
        </p:nvCxnSpPr>
        <p:spPr>
          <a:xfrm>
            <a:off x="7675881" y="2235633"/>
            <a:ext cx="5646419" cy="49391"/>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D9E0BDE-CBA5-4415-976F-9741EF62FA0A}"/>
              </a:ext>
            </a:extLst>
          </p:cNvPr>
          <p:cNvCxnSpPr>
            <a:cxnSpLocks/>
            <a:stCxn id="22" idx="3"/>
          </p:cNvCxnSpPr>
          <p:nvPr/>
        </p:nvCxnSpPr>
        <p:spPr>
          <a:xfrm>
            <a:off x="4553540" y="3635260"/>
            <a:ext cx="7810749" cy="0"/>
          </a:xfrm>
          <a:prstGeom prst="line">
            <a:avLst/>
          </a:prstGeom>
          <a:ln w="44450">
            <a:solidFill>
              <a:schemeClr val="tx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A0A056A1-2D2F-4BCF-AC59-EC73A989D061}"/>
              </a:ext>
            </a:extLst>
          </p:cNvPr>
          <p:cNvSpPr/>
          <p:nvPr/>
        </p:nvSpPr>
        <p:spPr>
          <a:xfrm>
            <a:off x="3376496" y="4667172"/>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2B34DBB6-84CD-40A8-B62D-A5AC42E61079}"/>
              </a:ext>
            </a:extLst>
          </p:cNvPr>
          <p:cNvSpPr/>
          <p:nvPr/>
        </p:nvSpPr>
        <p:spPr>
          <a:xfrm>
            <a:off x="3376496" y="1797173"/>
            <a:ext cx="1257075"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A1A1A"/>
                </a:solidFill>
                <a:effectLst/>
                <a:uLnTx/>
                <a:uFillTx/>
                <a:latin typeface="Segoe UI Semibold"/>
                <a:ea typeface="Segoe UI" pitchFamily="34" charset="0"/>
                <a:cs typeface="Segoe UI" pitchFamily="34" charset="0"/>
              </a:rPr>
              <a:t>content</a:t>
            </a: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E9D2041A-4150-4BBA-90B9-97810D9408F6}"/>
                  </a:ext>
                </a:extLst>
              </p14:cNvPr>
              <p14:cNvContentPartPr/>
              <p14:nvPr/>
            </p14:nvContentPartPr>
            <p14:xfrm>
              <a:off x="8877875" y="4217372"/>
              <a:ext cx="2760840" cy="1427400"/>
            </p14:xfrm>
          </p:contentPart>
        </mc:Choice>
        <mc:Fallback xmlns="">
          <p:pic>
            <p:nvPicPr>
              <p:cNvPr id="9" name="Ink 8">
                <a:extLst>
                  <a:ext uri="{FF2B5EF4-FFF2-40B4-BE49-F238E27FC236}">
                    <a16:creationId xmlns:a16="http://schemas.microsoft.com/office/drawing/2014/main" id="{E9D2041A-4150-4BBA-90B9-97810D9408F6}"/>
                  </a:ext>
                </a:extLst>
              </p:cNvPr>
              <p:cNvPicPr/>
              <p:nvPr/>
            </p:nvPicPr>
            <p:blipFill>
              <a:blip r:embed="rId4"/>
              <a:stretch>
                <a:fillRect/>
              </a:stretch>
            </p:blipFill>
            <p:spPr>
              <a:xfrm>
                <a:off x="8841875" y="4181381"/>
                <a:ext cx="2832480" cy="1499022"/>
              </a:xfrm>
              <a:prstGeom prst="rect">
                <a:avLst/>
              </a:prstGeom>
            </p:spPr>
          </p:pic>
        </mc:Fallback>
      </mc:AlternateContent>
    </p:spTree>
    <p:extLst>
      <p:ext uri="{BB962C8B-B14F-4D97-AF65-F5344CB8AC3E}">
        <p14:creationId xmlns:p14="http://schemas.microsoft.com/office/powerpoint/2010/main" val="983265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9" name="Text Placeholder 8">
            <a:extLst>
              <a:ext uri="{FF2B5EF4-FFF2-40B4-BE49-F238E27FC236}">
                <a16:creationId xmlns:a16="http://schemas.microsoft.com/office/drawing/2014/main" id="{2C645FF4-C235-4DBF-8E9B-23E85EFDEE6C}"/>
              </a:ext>
            </a:extLst>
          </p:cNvPr>
          <p:cNvSpPr>
            <a:spLocks noGrp="1"/>
          </p:cNvSpPr>
          <p:nvPr>
            <p:ph type="body" sz="quarter" idx="10"/>
          </p:nvPr>
        </p:nvSpPr>
        <p:spPr/>
        <p:txBody>
          <a:bodyPr/>
          <a:lstStyle/>
          <a:p>
            <a:r>
              <a:rPr lang="en-US" sz="1800">
                <a:solidFill>
                  <a:srgbClr val="0451A5"/>
                </a:solidFill>
              </a:rPr>
              <a:t>…,</a:t>
            </a:r>
            <a:endParaRPr lang="en-US" sz="1800">
              <a:solidFill>
                <a:srgbClr val="000000"/>
              </a:solidFill>
            </a:endParaRPr>
          </a:p>
          <a:p>
            <a:pPr lvl="1"/>
            <a:r>
              <a:rPr lang="en-US" sz="1800">
                <a:solidFill>
                  <a:srgbClr val="000000"/>
                </a:solidFill>
              </a:rPr>
              <a:t>{</a:t>
            </a:r>
          </a:p>
          <a:p>
            <a:pPr lvl="2"/>
            <a:r>
              <a:rPr lang="en-US" sz="1800">
                <a:solidFill>
                  <a:srgbClr val="0451A5"/>
                </a:solidFill>
              </a:rPr>
              <a:t>"@</a:t>
            </a:r>
            <a:r>
              <a:rPr lang="en-US" sz="1800" err="1">
                <a:solidFill>
                  <a:srgbClr val="0451A5"/>
                </a:solidFill>
              </a:rPr>
              <a:t>odata.type</a:t>
            </a:r>
            <a:r>
              <a:rPr lang="en-US" sz="1800">
                <a:solidFill>
                  <a:srgbClr val="0451A5"/>
                </a:solidFill>
              </a:rPr>
              <a:t>"</a:t>
            </a:r>
            <a:r>
              <a:rPr lang="en-US" sz="1800">
                <a:solidFill>
                  <a:srgbClr val="000000"/>
                </a:solidFill>
              </a:rPr>
              <a:t>: </a:t>
            </a:r>
            <a:r>
              <a:rPr lang="en-US" sz="1800">
                <a:solidFill>
                  <a:srgbClr val="A31515"/>
                </a:solidFill>
              </a:rPr>
              <a:t>"#</a:t>
            </a:r>
            <a:r>
              <a:rPr lang="en-US" sz="1800" err="1">
                <a:solidFill>
                  <a:srgbClr val="A31515"/>
                </a:solidFill>
              </a:rPr>
              <a:t>Microsoft.Skills.Text.NamedEntityRecognitionSkill</a:t>
            </a:r>
            <a:r>
              <a:rPr lang="en-US" sz="1800">
                <a:solidFill>
                  <a:srgbClr val="A31515"/>
                </a:solidFill>
              </a:rPr>
              <a:t>"</a:t>
            </a:r>
            <a:r>
              <a:rPr lang="en-US" sz="1800">
                <a:solidFill>
                  <a:srgbClr val="000000"/>
                </a:solidFill>
              </a:rPr>
              <a:t>,</a:t>
            </a:r>
          </a:p>
          <a:p>
            <a:pPr lvl="2"/>
            <a:r>
              <a:rPr lang="en-US" sz="1800">
                <a:solidFill>
                  <a:srgbClr val="0451A5"/>
                </a:solidFill>
              </a:rPr>
              <a:t>"categories"</a:t>
            </a:r>
            <a:r>
              <a:rPr lang="en-US" sz="1800">
                <a:solidFill>
                  <a:srgbClr val="000000"/>
                </a:solidFill>
              </a:rPr>
              <a:t>: [ </a:t>
            </a:r>
            <a:r>
              <a:rPr lang="en-US" sz="1800">
                <a:solidFill>
                  <a:srgbClr val="A31515"/>
                </a:solidFill>
              </a:rPr>
              <a:t>"Organization"</a:t>
            </a:r>
            <a:r>
              <a:rPr lang="en-US" sz="1800">
                <a:solidFill>
                  <a:srgbClr val="000000"/>
                </a:solidFill>
              </a:rPr>
              <a:t> ],</a:t>
            </a:r>
          </a:p>
          <a:p>
            <a:pPr lvl="2"/>
            <a:r>
              <a:rPr lang="en-US" sz="1800">
                <a:solidFill>
                  <a:srgbClr val="0451A5"/>
                </a:solidFill>
              </a:rPr>
              <a:t>"</a:t>
            </a:r>
            <a:r>
              <a:rPr lang="en-US" sz="1800" err="1">
                <a:solidFill>
                  <a:srgbClr val="0451A5"/>
                </a:solidFill>
              </a:rPr>
              <a:t>defaultLanguageCode</a:t>
            </a:r>
            <a:r>
              <a:rPr lang="en-US" sz="1800">
                <a:solidFill>
                  <a:srgbClr val="0451A5"/>
                </a:solidFill>
              </a:rPr>
              <a:t>"</a:t>
            </a:r>
            <a:r>
              <a:rPr lang="en-US" sz="1800">
                <a:solidFill>
                  <a:srgbClr val="000000"/>
                </a:solidFill>
              </a:rPr>
              <a:t>: </a:t>
            </a:r>
            <a:r>
              <a:rPr lang="en-US" sz="1800">
                <a:solidFill>
                  <a:srgbClr val="A31515"/>
                </a:solidFill>
              </a:rPr>
              <a:t>"</a:t>
            </a:r>
            <a:r>
              <a:rPr lang="en-US" sz="1800" err="1">
                <a:solidFill>
                  <a:srgbClr val="A31515"/>
                </a:solidFill>
              </a:rPr>
              <a:t>en</a:t>
            </a:r>
            <a:r>
              <a:rPr lang="en-US" sz="1800">
                <a:solidFill>
                  <a:srgbClr val="A31515"/>
                </a:solidFill>
              </a:rPr>
              <a:t>"</a:t>
            </a:r>
            <a:r>
              <a:rPr lang="en-US" sz="1800">
                <a:solidFill>
                  <a:srgbClr val="000000"/>
                </a:solidFill>
              </a:rPr>
              <a:t>,</a:t>
            </a:r>
          </a:p>
          <a:p>
            <a:pPr lvl="2"/>
            <a:r>
              <a:rPr lang="en-US" sz="1800">
                <a:solidFill>
                  <a:srgbClr val="0451A5"/>
                </a:solidFill>
              </a:rPr>
              <a:t>"inputs"</a:t>
            </a:r>
            <a:r>
              <a:rPr lang="en-US" sz="1800">
                <a:solidFill>
                  <a:srgbClr val="000000"/>
                </a:solidFill>
              </a:rPr>
              <a:t>: </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text"</a:t>
            </a:r>
            <a:r>
              <a:rPr lang="en-US">
                <a:solidFill>
                  <a:srgbClr val="000000"/>
                </a:solidFill>
              </a:rPr>
              <a:t>, </a:t>
            </a:r>
            <a:r>
              <a:rPr lang="en-US">
                <a:solidFill>
                  <a:srgbClr val="0451A5"/>
                </a:solidFill>
              </a:rPr>
              <a:t>"source"</a:t>
            </a:r>
            <a:r>
              <a:rPr lang="en-US">
                <a:solidFill>
                  <a:srgbClr val="000000"/>
                </a:solidFill>
              </a:rPr>
              <a:t>: </a:t>
            </a:r>
            <a:r>
              <a:rPr lang="en-US">
                <a:solidFill>
                  <a:srgbClr val="A31515"/>
                </a:solidFill>
              </a:rPr>
              <a:t>"/document/content" </a:t>
            </a:r>
            <a:r>
              <a:rPr lang="en-US">
                <a:solidFill>
                  <a:srgbClr val="000000"/>
                </a:solidFill>
              </a:rPr>
              <a:t>},</a:t>
            </a:r>
            <a:br>
              <a:rPr lang="en-US">
                <a:solidFill>
                  <a:srgbClr val="000000"/>
                </a:solidFill>
              </a:rPr>
            </a:br>
            <a:r>
              <a:rPr lang="fr-FR"/>
              <a:t>{  </a:t>
            </a:r>
            <a:r>
              <a:rPr lang="fr-FR">
                <a:solidFill>
                  <a:srgbClr val="0451A5"/>
                </a:solidFill>
              </a:rPr>
              <a:t>"</a:t>
            </a:r>
            <a:r>
              <a:rPr lang="fr-FR" err="1">
                <a:solidFill>
                  <a:srgbClr val="0451A5"/>
                </a:solidFill>
              </a:rPr>
              <a:t>name</a:t>
            </a:r>
            <a:r>
              <a:rPr lang="fr-FR">
                <a:solidFill>
                  <a:srgbClr val="0451A5"/>
                </a:solidFill>
              </a:rPr>
              <a:t>"</a:t>
            </a:r>
            <a:r>
              <a:rPr lang="fr-FR"/>
              <a:t>: </a:t>
            </a:r>
            <a:r>
              <a:rPr lang="fr-FR">
                <a:solidFill>
                  <a:srgbClr val="A31515"/>
                </a:solidFill>
              </a:rPr>
              <a:t>"</a:t>
            </a:r>
            <a:r>
              <a:rPr lang="fr-FR" err="1">
                <a:solidFill>
                  <a:srgbClr val="A31515"/>
                </a:solidFill>
              </a:rPr>
              <a:t>languageCode</a:t>
            </a:r>
            <a:r>
              <a:rPr lang="fr-FR">
                <a:solidFill>
                  <a:srgbClr val="A31515"/>
                </a:solidFill>
              </a:rPr>
              <a:t>"</a:t>
            </a:r>
            <a:r>
              <a:rPr lang="fr-FR"/>
              <a:t>, </a:t>
            </a:r>
            <a:r>
              <a:rPr lang="fr-FR">
                <a:solidFill>
                  <a:srgbClr val="0451A5"/>
                </a:solidFill>
              </a:rPr>
              <a:t>"source"</a:t>
            </a:r>
            <a:r>
              <a:rPr lang="fr-FR"/>
              <a:t>: </a:t>
            </a:r>
            <a:r>
              <a:rPr lang="fr-FR">
                <a:solidFill>
                  <a:srgbClr val="A31515"/>
                </a:solidFill>
              </a:rPr>
              <a:t>"/document/</a:t>
            </a:r>
            <a:r>
              <a:rPr lang="fr-FR" err="1">
                <a:solidFill>
                  <a:srgbClr val="A31515"/>
                </a:solidFill>
              </a:rPr>
              <a:t>myLanguagecode</a:t>
            </a:r>
            <a:r>
              <a:rPr lang="fr-FR">
                <a:solidFill>
                  <a:srgbClr val="A31515"/>
                </a:solidFill>
              </a:rPr>
              <a:t>"</a:t>
            </a:r>
            <a:r>
              <a:rPr lang="fr-FR"/>
              <a:t> }</a:t>
            </a:r>
            <a:endParaRPr lang="en-US">
              <a:solidFill>
                <a:srgbClr val="000000"/>
              </a:solidFill>
            </a:endParaRPr>
          </a:p>
          <a:p>
            <a:pPr lvl="2"/>
            <a:r>
              <a:rPr lang="en-US" sz="1800">
                <a:solidFill>
                  <a:srgbClr val="000000"/>
                </a:solidFill>
              </a:rPr>
              <a:t>],</a:t>
            </a:r>
            <a:br>
              <a:rPr lang="en-US" sz="1800">
                <a:solidFill>
                  <a:srgbClr val="000000"/>
                </a:solidFill>
              </a:rPr>
            </a:br>
            <a:r>
              <a:rPr lang="en-US" sz="1800">
                <a:solidFill>
                  <a:srgbClr val="0451A5"/>
                </a:solidFill>
              </a:rPr>
              <a:t>"outputs"</a:t>
            </a:r>
            <a:r>
              <a:rPr lang="en-US" sz="1800">
                <a:solidFill>
                  <a:srgbClr val="000000"/>
                </a:solidFill>
              </a:rPr>
              <a:t>:</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organizations"</a:t>
            </a:r>
            <a:r>
              <a:rPr lang="en-US">
                <a:solidFill>
                  <a:srgbClr val="000000"/>
                </a:solidFill>
              </a:rPr>
              <a:t>, </a:t>
            </a:r>
            <a:r>
              <a:rPr lang="en-US">
                <a:solidFill>
                  <a:srgbClr val="0451A5"/>
                </a:solidFill>
              </a:rPr>
              <a:t>"</a:t>
            </a:r>
            <a:r>
              <a:rPr lang="en-US" err="1">
                <a:solidFill>
                  <a:srgbClr val="0451A5"/>
                </a:solidFill>
              </a:rPr>
              <a:t>targetName</a:t>
            </a:r>
            <a:r>
              <a:rPr lang="en-US">
                <a:solidFill>
                  <a:srgbClr val="0451A5"/>
                </a:solidFill>
              </a:rPr>
              <a:t>"</a:t>
            </a:r>
            <a:r>
              <a:rPr lang="en-US">
                <a:solidFill>
                  <a:srgbClr val="000000"/>
                </a:solidFill>
              </a:rPr>
              <a:t>: </a:t>
            </a:r>
            <a:r>
              <a:rPr lang="en-US">
                <a:solidFill>
                  <a:srgbClr val="A31515"/>
                </a:solidFill>
              </a:rPr>
              <a:t>"organizations"</a:t>
            </a:r>
            <a:r>
              <a:rPr lang="en-US">
                <a:solidFill>
                  <a:srgbClr val="000000"/>
                </a:solidFill>
              </a:rPr>
              <a:t> }</a:t>
            </a:r>
          </a:p>
          <a:p>
            <a:pPr lvl="2"/>
            <a:r>
              <a:rPr lang="en-US" sz="1800">
                <a:solidFill>
                  <a:srgbClr val="000000"/>
                </a:solidFill>
              </a:rPr>
              <a:t>]</a:t>
            </a:r>
          </a:p>
          <a:p>
            <a:pPr lvl="1"/>
            <a:r>
              <a:rPr lang="en-US" sz="1800">
                <a:solidFill>
                  <a:srgbClr val="000000"/>
                </a:solidFill>
              </a:rPr>
              <a:t>},</a:t>
            </a:r>
          </a:p>
          <a:p>
            <a:endParaRPr lang="en-US"/>
          </a:p>
        </p:txBody>
      </p:sp>
      <mc:AlternateContent xmlns:mc="http://schemas.openxmlformats.org/markup-compatibility/2006" xmlns:p14="http://schemas.microsoft.com/office/powerpoint/2010/main">
        <mc:Choice Requires="p14">
          <p:contentPart p14:bwMode="auto" r:id="rId2">
            <p14:nvContentPartPr>
              <p14:cNvPr id="28" name="Ink 27">
                <a:extLst>
                  <a:ext uri="{FF2B5EF4-FFF2-40B4-BE49-F238E27FC236}">
                    <a16:creationId xmlns:a16="http://schemas.microsoft.com/office/drawing/2014/main" id="{A9921934-C906-42E2-BD83-A26424D8283E}"/>
                  </a:ext>
                </a:extLst>
              </p14:cNvPr>
              <p14:cNvContentPartPr/>
              <p14:nvPr/>
            </p14:nvContentPartPr>
            <p14:xfrm>
              <a:off x="9638170" y="4506376"/>
              <a:ext cx="185760" cy="252720"/>
            </p14:xfrm>
          </p:contentPart>
        </mc:Choice>
        <mc:Fallback xmlns="">
          <p:pic>
            <p:nvPicPr>
              <p:cNvPr id="28" name="Ink 27">
                <a:extLst>
                  <a:ext uri="{FF2B5EF4-FFF2-40B4-BE49-F238E27FC236}">
                    <a16:creationId xmlns:a16="http://schemas.microsoft.com/office/drawing/2014/main" id="{A9921934-C906-42E2-BD83-A26424D8283E}"/>
                  </a:ext>
                </a:extLst>
              </p:cNvPr>
              <p:cNvPicPr/>
              <p:nvPr/>
            </p:nvPicPr>
            <p:blipFill>
              <a:blip r:embed="rId3"/>
              <a:stretch>
                <a:fillRect/>
              </a:stretch>
            </p:blipFill>
            <p:spPr>
              <a:xfrm>
                <a:off x="9629153" y="4497376"/>
                <a:ext cx="203434" cy="27036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29" name="Ink 28">
                <a:extLst>
                  <a:ext uri="{FF2B5EF4-FFF2-40B4-BE49-F238E27FC236}">
                    <a16:creationId xmlns:a16="http://schemas.microsoft.com/office/drawing/2014/main" id="{9E81D25C-7AA9-4243-88B5-647BD37D51A3}"/>
                  </a:ext>
                </a:extLst>
              </p14:cNvPr>
              <p14:cNvContentPartPr/>
              <p14:nvPr/>
            </p14:nvContentPartPr>
            <p14:xfrm>
              <a:off x="8122930" y="4619056"/>
              <a:ext cx="1189440" cy="526320"/>
            </p14:xfrm>
          </p:contentPart>
        </mc:Choice>
        <mc:Fallback xmlns="">
          <p:pic>
            <p:nvPicPr>
              <p:cNvPr id="29" name="Ink 28">
                <a:extLst>
                  <a:ext uri="{FF2B5EF4-FFF2-40B4-BE49-F238E27FC236}">
                    <a16:creationId xmlns:a16="http://schemas.microsoft.com/office/drawing/2014/main" id="{9E81D25C-7AA9-4243-88B5-647BD37D51A3}"/>
                  </a:ext>
                </a:extLst>
              </p:cNvPr>
              <p:cNvPicPr/>
              <p:nvPr/>
            </p:nvPicPr>
            <p:blipFill>
              <a:blip r:embed="rId5"/>
              <a:stretch>
                <a:fillRect/>
              </a:stretch>
            </p:blipFill>
            <p:spPr>
              <a:xfrm>
                <a:off x="8113930" y="4610062"/>
                <a:ext cx="1207080" cy="543948"/>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0" name="Ink 29">
                <a:extLst>
                  <a:ext uri="{FF2B5EF4-FFF2-40B4-BE49-F238E27FC236}">
                    <a16:creationId xmlns:a16="http://schemas.microsoft.com/office/drawing/2014/main" id="{A1B471E7-588D-4DE5-AA3A-9055999F1B05}"/>
                  </a:ext>
                </a:extLst>
              </p14:cNvPr>
              <p14:cNvContentPartPr/>
              <p14:nvPr/>
            </p14:nvContentPartPr>
            <p14:xfrm>
              <a:off x="9798730" y="5013976"/>
              <a:ext cx="102240" cy="138240"/>
            </p14:xfrm>
          </p:contentPart>
        </mc:Choice>
        <mc:Fallback xmlns="">
          <p:pic>
            <p:nvPicPr>
              <p:cNvPr id="30" name="Ink 29">
                <a:extLst>
                  <a:ext uri="{FF2B5EF4-FFF2-40B4-BE49-F238E27FC236}">
                    <a16:creationId xmlns:a16="http://schemas.microsoft.com/office/drawing/2014/main" id="{A1B471E7-588D-4DE5-AA3A-9055999F1B05}"/>
                  </a:ext>
                </a:extLst>
              </p:cNvPr>
              <p:cNvPicPr/>
              <p:nvPr/>
            </p:nvPicPr>
            <p:blipFill>
              <a:blip r:embed="rId7"/>
              <a:stretch>
                <a:fillRect/>
              </a:stretch>
            </p:blipFill>
            <p:spPr>
              <a:xfrm>
                <a:off x="9789698" y="5004953"/>
                <a:ext cx="119942" cy="155926"/>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2" name="Ink 41">
                <a:extLst>
                  <a:ext uri="{FF2B5EF4-FFF2-40B4-BE49-F238E27FC236}">
                    <a16:creationId xmlns:a16="http://schemas.microsoft.com/office/drawing/2014/main" id="{F716B867-B2B6-4E9B-85A4-26C3D0E42E84}"/>
                  </a:ext>
                </a:extLst>
              </p14:cNvPr>
              <p14:cNvContentPartPr/>
              <p14:nvPr/>
            </p14:nvContentPartPr>
            <p14:xfrm>
              <a:off x="9989170" y="4346536"/>
              <a:ext cx="1570320" cy="936360"/>
            </p14:xfrm>
          </p:contentPart>
        </mc:Choice>
        <mc:Fallback xmlns="">
          <p:pic>
            <p:nvPicPr>
              <p:cNvPr id="42" name="Ink 41">
                <a:extLst>
                  <a:ext uri="{FF2B5EF4-FFF2-40B4-BE49-F238E27FC236}">
                    <a16:creationId xmlns:a16="http://schemas.microsoft.com/office/drawing/2014/main" id="{F716B867-B2B6-4E9B-85A4-26C3D0E42E84}"/>
                  </a:ext>
                </a:extLst>
              </p:cNvPr>
              <p:cNvPicPr/>
              <p:nvPr/>
            </p:nvPicPr>
            <p:blipFill>
              <a:blip r:embed="rId9"/>
              <a:stretch>
                <a:fillRect/>
              </a:stretch>
            </p:blipFill>
            <p:spPr>
              <a:xfrm>
                <a:off x="9980172" y="4337533"/>
                <a:ext cx="1587956" cy="954007"/>
              </a:xfrm>
              <a:prstGeom prst="rect">
                <a:avLst/>
              </a:prstGeom>
            </p:spPr>
          </p:pic>
        </mc:Fallback>
      </mc:AlternateContent>
    </p:spTree>
    <p:extLst>
      <p:ext uri="{BB962C8B-B14F-4D97-AF65-F5344CB8AC3E}">
        <p14:creationId xmlns:p14="http://schemas.microsoft.com/office/powerpoint/2010/main" val="51182344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a:t>Skillset</a:t>
            </a:r>
          </a:p>
        </p:txBody>
      </p:sp>
      <p:sp>
        <p:nvSpPr>
          <p:cNvPr id="9" name="Text Placeholder 8">
            <a:extLst>
              <a:ext uri="{FF2B5EF4-FFF2-40B4-BE49-F238E27FC236}">
                <a16:creationId xmlns:a16="http://schemas.microsoft.com/office/drawing/2014/main" id="{2C645FF4-C235-4DBF-8E9B-23E85EFDEE6C}"/>
              </a:ext>
            </a:extLst>
          </p:cNvPr>
          <p:cNvSpPr>
            <a:spLocks noGrp="1"/>
          </p:cNvSpPr>
          <p:nvPr>
            <p:ph type="body" sz="quarter" idx="10"/>
          </p:nvPr>
        </p:nvSpPr>
        <p:spPr/>
        <p:txBody>
          <a:bodyPr/>
          <a:lstStyle/>
          <a:p>
            <a:r>
              <a:rPr lang="en-US" sz="1800">
                <a:solidFill>
                  <a:srgbClr val="0451A5"/>
                </a:solidFill>
              </a:rPr>
              <a:t>…,</a:t>
            </a:r>
            <a:endParaRPr lang="en-US" sz="1800">
              <a:solidFill>
                <a:srgbClr val="000000"/>
              </a:solidFill>
            </a:endParaRPr>
          </a:p>
          <a:p>
            <a:pPr lvl="1"/>
            <a:r>
              <a:rPr lang="en-US" sz="1800">
                <a:solidFill>
                  <a:srgbClr val="000000"/>
                </a:solidFill>
              </a:rPr>
              <a:t>{</a:t>
            </a:r>
          </a:p>
          <a:p>
            <a:pPr lvl="2"/>
            <a:r>
              <a:rPr lang="en-US" sz="1800">
                <a:solidFill>
                  <a:srgbClr val="0451A5"/>
                </a:solidFill>
              </a:rPr>
              <a:t>"@</a:t>
            </a:r>
            <a:r>
              <a:rPr lang="en-US" sz="1800" err="1">
                <a:solidFill>
                  <a:srgbClr val="0451A5"/>
                </a:solidFill>
              </a:rPr>
              <a:t>odata.type</a:t>
            </a:r>
            <a:r>
              <a:rPr lang="en-US" sz="1800">
                <a:solidFill>
                  <a:srgbClr val="0451A5"/>
                </a:solidFill>
              </a:rPr>
              <a:t>"</a:t>
            </a:r>
            <a:r>
              <a:rPr lang="en-US" sz="1800">
                <a:solidFill>
                  <a:srgbClr val="000000"/>
                </a:solidFill>
              </a:rPr>
              <a:t>: </a:t>
            </a:r>
            <a:r>
              <a:rPr lang="en-US" sz="1800">
                <a:solidFill>
                  <a:srgbClr val="A31515"/>
                </a:solidFill>
              </a:rPr>
              <a:t>"#</a:t>
            </a:r>
            <a:r>
              <a:rPr lang="en-US" sz="1800" err="1">
                <a:solidFill>
                  <a:srgbClr val="A31515"/>
                </a:solidFill>
              </a:rPr>
              <a:t>Microsoft.Skills.Custom.WebApiSkill</a:t>
            </a:r>
            <a:r>
              <a:rPr lang="en-US" sz="1800">
                <a:solidFill>
                  <a:srgbClr val="A31515"/>
                </a:solidFill>
              </a:rPr>
              <a:t>"</a:t>
            </a:r>
            <a:r>
              <a:rPr lang="en-US" sz="1800">
                <a:solidFill>
                  <a:srgbClr val="000000"/>
                </a:solidFill>
              </a:rPr>
              <a:t>,</a:t>
            </a:r>
            <a:br>
              <a:rPr lang="en-US" sz="1800">
                <a:solidFill>
                  <a:srgbClr val="000000"/>
                </a:solidFill>
              </a:rPr>
            </a:br>
            <a:r>
              <a:rPr lang="fi-FI" sz="1800">
                <a:solidFill>
                  <a:srgbClr val="0451A5"/>
                </a:solidFill>
              </a:rPr>
              <a:t>"uri"</a:t>
            </a:r>
            <a:r>
              <a:rPr lang="fi-FI"/>
              <a:t>: </a:t>
            </a:r>
            <a:r>
              <a:rPr lang="fi-FI" sz="1800">
                <a:solidFill>
                  <a:srgbClr val="A31515"/>
                </a:solidFill>
              </a:rPr>
              <a:t>"https://myskill.azurewebsites.net/api/OrgId"</a:t>
            </a:r>
            <a:endParaRPr lang="en-US" sz="1800">
              <a:solidFill>
                <a:srgbClr val="A31515"/>
              </a:solidFill>
            </a:endParaRPr>
          </a:p>
          <a:p>
            <a:pPr lvl="2"/>
            <a:r>
              <a:rPr lang="en-US" sz="1800">
                <a:solidFill>
                  <a:srgbClr val="0451A5"/>
                </a:solidFill>
              </a:rPr>
              <a:t>"context"</a:t>
            </a:r>
            <a:r>
              <a:rPr lang="en-US" sz="1800">
                <a:solidFill>
                  <a:srgbClr val="000000"/>
                </a:solidFill>
              </a:rPr>
              <a:t>: </a:t>
            </a:r>
            <a:r>
              <a:rPr lang="en-US" sz="1800">
                <a:solidFill>
                  <a:srgbClr val="A31515"/>
                </a:solidFill>
              </a:rPr>
              <a:t>"/document/organizations/*"</a:t>
            </a:r>
            <a:r>
              <a:rPr lang="en-US" sz="1800">
                <a:solidFill>
                  <a:srgbClr val="000000"/>
                </a:solidFill>
              </a:rPr>
              <a:t> ,</a:t>
            </a:r>
          </a:p>
          <a:p>
            <a:pPr lvl="2"/>
            <a:r>
              <a:rPr lang="en-US" sz="1800">
                <a:solidFill>
                  <a:srgbClr val="0451A5"/>
                </a:solidFill>
              </a:rPr>
              <a:t>"</a:t>
            </a:r>
            <a:r>
              <a:rPr lang="en-US" sz="1800" err="1">
                <a:solidFill>
                  <a:srgbClr val="0451A5"/>
                </a:solidFill>
              </a:rPr>
              <a:t>httpHeaders</a:t>
            </a:r>
            <a:r>
              <a:rPr lang="en-US" sz="1800">
                <a:solidFill>
                  <a:srgbClr val="0451A5"/>
                </a:solidFill>
              </a:rPr>
              <a:t>"</a:t>
            </a:r>
            <a:r>
              <a:rPr lang="en-US" sz="1800">
                <a:solidFill>
                  <a:srgbClr val="000000"/>
                </a:solidFill>
              </a:rPr>
              <a:t>: {</a:t>
            </a:r>
            <a:r>
              <a:rPr lang="en-US" sz="1800">
                <a:solidFill>
                  <a:srgbClr val="0451A5"/>
                </a:solidFill>
              </a:rPr>
              <a:t>"</a:t>
            </a:r>
            <a:r>
              <a:rPr lang="en-US" sz="1800" err="1">
                <a:solidFill>
                  <a:srgbClr val="0451A5"/>
                </a:solidFill>
              </a:rPr>
              <a:t>Api</a:t>
            </a:r>
            <a:r>
              <a:rPr lang="en-US" sz="1800">
                <a:solidFill>
                  <a:srgbClr val="0451A5"/>
                </a:solidFill>
              </a:rPr>
              <a:t>-Key"</a:t>
            </a:r>
            <a:r>
              <a:rPr lang="en-US" sz="1800">
                <a:solidFill>
                  <a:srgbClr val="000000"/>
                </a:solidFill>
              </a:rPr>
              <a:t>: </a:t>
            </a:r>
            <a:r>
              <a:rPr lang="en-US" sz="1800">
                <a:solidFill>
                  <a:srgbClr val="A31515"/>
                </a:solidFill>
              </a:rPr>
              <a:t>"</a:t>
            </a:r>
            <a:r>
              <a:rPr lang="en-US" sz="1800" err="1">
                <a:solidFill>
                  <a:srgbClr val="A31515"/>
                </a:solidFill>
              </a:rPr>
              <a:t>mySecret</a:t>
            </a:r>
            <a:r>
              <a:rPr lang="en-US" sz="1800">
                <a:solidFill>
                  <a:srgbClr val="A31515"/>
                </a:solidFill>
              </a:rPr>
              <a:t>" </a:t>
            </a:r>
            <a:r>
              <a:rPr lang="en-US" sz="1800">
                <a:solidFill>
                  <a:srgbClr val="000000"/>
                </a:solidFill>
              </a:rPr>
              <a:t>},</a:t>
            </a:r>
          </a:p>
          <a:p>
            <a:pPr lvl="2"/>
            <a:r>
              <a:rPr lang="en-US" sz="1800">
                <a:solidFill>
                  <a:srgbClr val="0451A5"/>
                </a:solidFill>
              </a:rPr>
              <a:t>"inputs"</a:t>
            </a:r>
            <a:r>
              <a:rPr lang="en-US" sz="1800">
                <a:solidFill>
                  <a:srgbClr val="000000"/>
                </a:solidFill>
              </a:rPr>
              <a:t>: </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a:t>
            </a:r>
            <a:r>
              <a:rPr lang="en-US" err="1">
                <a:solidFill>
                  <a:srgbClr val="A31515"/>
                </a:solidFill>
              </a:rPr>
              <a:t>organizationName</a:t>
            </a:r>
            <a:r>
              <a:rPr lang="en-US">
                <a:solidFill>
                  <a:srgbClr val="A31515"/>
                </a:solidFill>
              </a:rPr>
              <a:t>"</a:t>
            </a:r>
            <a:r>
              <a:rPr lang="en-US">
                <a:solidFill>
                  <a:srgbClr val="000000"/>
                </a:solidFill>
              </a:rPr>
              <a:t>, </a:t>
            </a:r>
            <a:r>
              <a:rPr lang="en-US">
                <a:solidFill>
                  <a:srgbClr val="0451A5"/>
                </a:solidFill>
              </a:rPr>
              <a:t>"source"</a:t>
            </a:r>
            <a:r>
              <a:rPr lang="en-US">
                <a:solidFill>
                  <a:srgbClr val="000000"/>
                </a:solidFill>
              </a:rPr>
              <a:t>: </a:t>
            </a:r>
            <a:r>
              <a:rPr lang="en-US">
                <a:solidFill>
                  <a:srgbClr val="A31515"/>
                </a:solidFill>
              </a:rPr>
              <a:t>"/document/organizations/*" </a:t>
            </a:r>
            <a:r>
              <a:rPr lang="en-US">
                <a:solidFill>
                  <a:srgbClr val="000000"/>
                </a:solidFill>
              </a:rPr>
              <a:t>},</a:t>
            </a:r>
          </a:p>
          <a:p>
            <a:pPr lvl="2"/>
            <a:r>
              <a:rPr lang="en-US" sz="1800">
                <a:solidFill>
                  <a:srgbClr val="000000"/>
                </a:solidFill>
              </a:rPr>
              <a:t>],</a:t>
            </a:r>
            <a:br>
              <a:rPr lang="en-US" sz="1800">
                <a:solidFill>
                  <a:srgbClr val="000000"/>
                </a:solidFill>
              </a:rPr>
            </a:br>
            <a:r>
              <a:rPr lang="en-US" sz="1800">
                <a:solidFill>
                  <a:srgbClr val="0451A5"/>
                </a:solidFill>
              </a:rPr>
              <a:t>"outputs"</a:t>
            </a:r>
            <a:r>
              <a:rPr lang="en-US" sz="1800">
                <a:solidFill>
                  <a:srgbClr val="000000"/>
                </a:solidFill>
              </a:rPr>
              <a:t>:</a:t>
            </a:r>
            <a:br>
              <a:rPr lang="en-US" sz="1800">
                <a:solidFill>
                  <a:srgbClr val="000000"/>
                </a:solidFill>
              </a:rPr>
            </a:br>
            <a:r>
              <a:rPr lang="en-US" sz="1800">
                <a:solidFill>
                  <a:srgbClr val="000000"/>
                </a:solidFill>
              </a:rPr>
              <a:t>[</a:t>
            </a:r>
          </a:p>
          <a:p>
            <a:pPr lvl="3"/>
            <a:r>
              <a:rPr lang="en-US">
                <a:solidFill>
                  <a:srgbClr val="000000"/>
                </a:solidFill>
              </a:rPr>
              <a:t>{</a:t>
            </a:r>
            <a:r>
              <a:rPr lang="en-US">
                <a:solidFill>
                  <a:srgbClr val="0451A5"/>
                </a:solidFill>
              </a:rPr>
              <a:t>  "name"</a:t>
            </a:r>
            <a:r>
              <a:rPr lang="en-US">
                <a:solidFill>
                  <a:srgbClr val="000000"/>
                </a:solidFill>
              </a:rPr>
              <a:t>: </a:t>
            </a:r>
            <a:r>
              <a:rPr lang="en-US">
                <a:solidFill>
                  <a:srgbClr val="A31515"/>
                </a:solidFill>
              </a:rPr>
              <a:t>"</a:t>
            </a:r>
            <a:r>
              <a:rPr lang="en-US" err="1">
                <a:solidFill>
                  <a:srgbClr val="A31515"/>
                </a:solidFill>
              </a:rPr>
              <a:t>organizationId</a:t>
            </a:r>
            <a:r>
              <a:rPr lang="en-US">
                <a:solidFill>
                  <a:srgbClr val="A31515"/>
                </a:solidFill>
              </a:rPr>
              <a:t>"</a:t>
            </a:r>
            <a:r>
              <a:rPr lang="en-US">
                <a:solidFill>
                  <a:srgbClr val="000000"/>
                </a:solidFill>
              </a:rPr>
              <a:t>, </a:t>
            </a:r>
            <a:r>
              <a:rPr lang="en-US">
                <a:solidFill>
                  <a:srgbClr val="0451A5"/>
                </a:solidFill>
              </a:rPr>
              <a:t>"</a:t>
            </a:r>
            <a:r>
              <a:rPr lang="en-US" err="1">
                <a:solidFill>
                  <a:srgbClr val="0451A5"/>
                </a:solidFill>
              </a:rPr>
              <a:t>targetName</a:t>
            </a:r>
            <a:r>
              <a:rPr lang="en-US">
                <a:solidFill>
                  <a:srgbClr val="0451A5"/>
                </a:solidFill>
              </a:rPr>
              <a:t>"</a:t>
            </a:r>
            <a:r>
              <a:rPr lang="en-US">
                <a:solidFill>
                  <a:srgbClr val="000000"/>
                </a:solidFill>
              </a:rPr>
              <a:t>: </a:t>
            </a:r>
            <a:r>
              <a:rPr lang="en-US">
                <a:solidFill>
                  <a:srgbClr val="A31515"/>
                </a:solidFill>
              </a:rPr>
              <a:t>"</a:t>
            </a:r>
            <a:r>
              <a:rPr lang="en-US" err="1">
                <a:solidFill>
                  <a:srgbClr val="A31515"/>
                </a:solidFill>
              </a:rPr>
              <a:t>organizationId</a:t>
            </a:r>
            <a:r>
              <a:rPr lang="en-US">
                <a:solidFill>
                  <a:srgbClr val="A31515"/>
                </a:solidFill>
              </a:rPr>
              <a:t>"</a:t>
            </a:r>
            <a:r>
              <a:rPr lang="en-US">
                <a:solidFill>
                  <a:srgbClr val="000000"/>
                </a:solidFill>
              </a:rPr>
              <a:t> }</a:t>
            </a:r>
          </a:p>
          <a:p>
            <a:pPr lvl="2"/>
            <a:r>
              <a:rPr lang="en-US" sz="1800">
                <a:solidFill>
                  <a:srgbClr val="000000"/>
                </a:solidFill>
              </a:rPr>
              <a:t>]</a:t>
            </a:r>
          </a:p>
          <a:p>
            <a:pPr lvl="1"/>
            <a:r>
              <a:rPr lang="en-US" sz="1800">
                <a:solidFill>
                  <a:srgbClr val="000000"/>
                </a:solidFill>
              </a:rPr>
              <a:t>},</a:t>
            </a:r>
          </a:p>
          <a:p>
            <a:endParaRPr lang="en-US"/>
          </a:p>
        </p:txBody>
      </p:sp>
      <mc:AlternateContent xmlns:mc="http://schemas.openxmlformats.org/markup-compatibility/2006" xmlns:p14="http://schemas.microsoft.com/office/powerpoint/2010/main">
        <mc:Choice Requires="p14">
          <p:contentPart p14:bwMode="auto" r:id="rId2">
            <p14:nvContentPartPr>
              <p14:cNvPr id="48" name="Ink 47">
                <a:extLst>
                  <a:ext uri="{FF2B5EF4-FFF2-40B4-BE49-F238E27FC236}">
                    <a16:creationId xmlns:a16="http://schemas.microsoft.com/office/drawing/2014/main" id="{9FABD8A4-8667-4C31-A957-9F8242B19F4F}"/>
                  </a:ext>
                </a:extLst>
              </p14:cNvPr>
              <p14:cNvContentPartPr/>
              <p14:nvPr/>
            </p14:nvContentPartPr>
            <p14:xfrm>
              <a:off x="6394930" y="2758936"/>
              <a:ext cx="1966680" cy="189000"/>
            </p14:xfrm>
          </p:contentPart>
        </mc:Choice>
        <mc:Fallback xmlns="">
          <p:pic>
            <p:nvPicPr>
              <p:cNvPr id="48" name="Ink 47">
                <a:extLst>
                  <a:ext uri="{FF2B5EF4-FFF2-40B4-BE49-F238E27FC236}">
                    <a16:creationId xmlns:a16="http://schemas.microsoft.com/office/drawing/2014/main" id="{9FABD8A4-8667-4C31-A957-9F8242B19F4F}"/>
                  </a:ext>
                </a:extLst>
              </p:cNvPr>
              <p:cNvPicPr/>
              <p:nvPr/>
            </p:nvPicPr>
            <p:blipFill>
              <a:blip r:embed="rId3"/>
              <a:stretch>
                <a:fillRect/>
              </a:stretch>
            </p:blipFill>
            <p:spPr>
              <a:xfrm>
                <a:off x="6385928" y="2749936"/>
                <a:ext cx="1984323" cy="20664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98" name="Ink 97">
                <a:extLst>
                  <a:ext uri="{FF2B5EF4-FFF2-40B4-BE49-F238E27FC236}">
                    <a16:creationId xmlns:a16="http://schemas.microsoft.com/office/drawing/2014/main" id="{9D54C30F-B1FD-48F9-8E63-9E5E29952BEA}"/>
                  </a:ext>
                </a:extLst>
              </p14:cNvPr>
              <p14:cNvContentPartPr/>
              <p14:nvPr/>
            </p14:nvContentPartPr>
            <p14:xfrm>
              <a:off x="11829490" y="2099416"/>
              <a:ext cx="7920" cy="7920"/>
            </p14:xfrm>
          </p:contentPart>
        </mc:Choice>
        <mc:Fallback xmlns="">
          <p:pic>
            <p:nvPicPr>
              <p:cNvPr id="98" name="Ink 97">
                <a:extLst>
                  <a:ext uri="{FF2B5EF4-FFF2-40B4-BE49-F238E27FC236}">
                    <a16:creationId xmlns:a16="http://schemas.microsoft.com/office/drawing/2014/main" id="{9D54C30F-B1FD-48F9-8E63-9E5E29952BEA}"/>
                  </a:ext>
                </a:extLst>
              </p:cNvPr>
              <p:cNvPicPr/>
              <p:nvPr/>
            </p:nvPicPr>
            <p:blipFill>
              <a:blip r:embed="rId5"/>
              <a:stretch>
                <a:fillRect/>
              </a:stretch>
            </p:blipFill>
            <p:spPr>
              <a:xfrm>
                <a:off x="11820490" y="2090416"/>
                <a:ext cx="255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99" name="Ink 98">
                <a:extLst>
                  <a:ext uri="{FF2B5EF4-FFF2-40B4-BE49-F238E27FC236}">
                    <a16:creationId xmlns:a16="http://schemas.microsoft.com/office/drawing/2014/main" id="{8BC5A4A8-CC94-4CA4-932D-76E1E3C3F890}"/>
                  </a:ext>
                </a:extLst>
              </p14:cNvPr>
              <p14:cNvContentPartPr/>
              <p14:nvPr/>
            </p14:nvContentPartPr>
            <p14:xfrm>
              <a:off x="8535850" y="1664176"/>
              <a:ext cx="3195000" cy="1798560"/>
            </p14:xfrm>
          </p:contentPart>
        </mc:Choice>
        <mc:Fallback xmlns="">
          <p:pic>
            <p:nvPicPr>
              <p:cNvPr id="99" name="Ink 98">
                <a:extLst>
                  <a:ext uri="{FF2B5EF4-FFF2-40B4-BE49-F238E27FC236}">
                    <a16:creationId xmlns:a16="http://schemas.microsoft.com/office/drawing/2014/main" id="{8BC5A4A8-CC94-4CA4-932D-76E1E3C3F890}"/>
                  </a:ext>
                </a:extLst>
              </p:cNvPr>
              <p:cNvPicPr/>
              <p:nvPr/>
            </p:nvPicPr>
            <p:blipFill>
              <a:blip r:embed="rId7"/>
              <a:stretch>
                <a:fillRect/>
              </a:stretch>
            </p:blipFill>
            <p:spPr>
              <a:xfrm>
                <a:off x="8526851" y="1655176"/>
                <a:ext cx="3212638" cy="1816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0" name="Ink 99">
                <a:extLst>
                  <a:ext uri="{FF2B5EF4-FFF2-40B4-BE49-F238E27FC236}">
                    <a16:creationId xmlns:a16="http://schemas.microsoft.com/office/drawing/2014/main" id="{E0C4DAB5-106F-4C91-9625-A00630D5F7C9}"/>
                  </a:ext>
                </a:extLst>
              </p14:cNvPr>
              <p14:cNvContentPartPr/>
              <p14:nvPr/>
            </p14:nvContentPartPr>
            <p14:xfrm>
              <a:off x="1045330" y="3038296"/>
              <a:ext cx="1383120" cy="55440"/>
            </p14:xfrm>
          </p:contentPart>
        </mc:Choice>
        <mc:Fallback xmlns="">
          <p:pic>
            <p:nvPicPr>
              <p:cNvPr id="100" name="Ink 99">
                <a:extLst>
                  <a:ext uri="{FF2B5EF4-FFF2-40B4-BE49-F238E27FC236}">
                    <a16:creationId xmlns:a16="http://schemas.microsoft.com/office/drawing/2014/main" id="{E0C4DAB5-106F-4C91-9625-A00630D5F7C9}"/>
                  </a:ext>
                </a:extLst>
              </p:cNvPr>
              <p:cNvPicPr/>
              <p:nvPr/>
            </p:nvPicPr>
            <p:blipFill>
              <a:blip r:embed="rId9"/>
              <a:stretch>
                <a:fillRect/>
              </a:stretch>
            </p:blipFill>
            <p:spPr>
              <a:xfrm>
                <a:off x="1036330" y="3029296"/>
                <a:ext cx="140076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12" name="Ink 111">
                <a:extLst>
                  <a:ext uri="{FF2B5EF4-FFF2-40B4-BE49-F238E27FC236}">
                    <a16:creationId xmlns:a16="http://schemas.microsoft.com/office/drawing/2014/main" id="{A8049A97-B31D-4CA3-872A-8F2A7E24470F}"/>
                  </a:ext>
                </a:extLst>
              </p14:cNvPr>
              <p14:cNvContentPartPr/>
              <p14:nvPr/>
            </p14:nvContentPartPr>
            <p14:xfrm>
              <a:off x="9629890" y="4689256"/>
              <a:ext cx="10800" cy="33120"/>
            </p14:xfrm>
          </p:contentPart>
        </mc:Choice>
        <mc:Fallback xmlns="">
          <p:pic>
            <p:nvPicPr>
              <p:cNvPr id="112" name="Ink 111">
                <a:extLst>
                  <a:ext uri="{FF2B5EF4-FFF2-40B4-BE49-F238E27FC236}">
                    <a16:creationId xmlns:a16="http://schemas.microsoft.com/office/drawing/2014/main" id="{A8049A97-B31D-4CA3-872A-8F2A7E24470F}"/>
                  </a:ext>
                </a:extLst>
              </p:cNvPr>
              <p:cNvPicPr/>
              <p:nvPr/>
            </p:nvPicPr>
            <p:blipFill>
              <a:blip r:embed="rId11"/>
              <a:stretch>
                <a:fillRect/>
              </a:stretch>
            </p:blipFill>
            <p:spPr>
              <a:xfrm>
                <a:off x="9620890" y="4680256"/>
                <a:ext cx="28440" cy="5076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95" name="Ink 294">
                <a:extLst>
                  <a:ext uri="{FF2B5EF4-FFF2-40B4-BE49-F238E27FC236}">
                    <a16:creationId xmlns:a16="http://schemas.microsoft.com/office/drawing/2014/main" id="{E73F9A09-8C13-4CBB-81A8-436B45B438B7}"/>
                  </a:ext>
                </a:extLst>
              </p14:cNvPr>
              <p14:cNvContentPartPr/>
              <p14:nvPr/>
            </p14:nvContentPartPr>
            <p14:xfrm>
              <a:off x="9356240" y="5764160"/>
              <a:ext cx="2218320" cy="882720"/>
            </p14:xfrm>
          </p:contentPart>
        </mc:Choice>
        <mc:Fallback xmlns="">
          <p:pic>
            <p:nvPicPr>
              <p:cNvPr id="295" name="Ink 294">
                <a:extLst>
                  <a:ext uri="{FF2B5EF4-FFF2-40B4-BE49-F238E27FC236}">
                    <a16:creationId xmlns:a16="http://schemas.microsoft.com/office/drawing/2014/main" id="{E73F9A09-8C13-4CBB-81A8-436B45B438B7}"/>
                  </a:ext>
                </a:extLst>
              </p:cNvPr>
              <p:cNvPicPr/>
              <p:nvPr/>
            </p:nvPicPr>
            <p:blipFill>
              <a:blip r:embed="rId13"/>
              <a:stretch>
                <a:fillRect/>
              </a:stretch>
            </p:blipFill>
            <p:spPr>
              <a:xfrm>
                <a:off x="9347241" y="5755160"/>
                <a:ext cx="2235957" cy="9003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96" name="Ink 295">
                <a:extLst>
                  <a:ext uri="{FF2B5EF4-FFF2-40B4-BE49-F238E27FC236}">
                    <a16:creationId xmlns:a16="http://schemas.microsoft.com/office/drawing/2014/main" id="{5D812D96-34EC-4505-8CB5-E5D85E24529C}"/>
                  </a:ext>
                </a:extLst>
              </p14:cNvPr>
              <p14:cNvContentPartPr/>
              <p14:nvPr/>
            </p14:nvContentPartPr>
            <p14:xfrm>
              <a:off x="8082920" y="6080960"/>
              <a:ext cx="956880" cy="411120"/>
            </p14:xfrm>
          </p:contentPart>
        </mc:Choice>
        <mc:Fallback xmlns="">
          <p:pic>
            <p:nvPicPr>
              <p:cNvPr id="296" name="Ink 295">
                <a:extLst>
                  <a:ext uri="{FF2B5EF4-FFF2-40B4-BE49-F238E27FC236}">
                    <a16:creationId xmlns:a16="http://schemas.microsoft.com/office/drawing/2014/main" id="{5D812D96-34EC-4505-8CB5-E5D85E24529C}"/>
                  </a:ext>
                </a:extLst>
              </p:cNvPr>
              <p:cNvPicPr/>
              <p:nvPr/>
            </p:nvPicPr>
            <p:blipFill>
              <a:blip r:embed="rId15"/>
              <a:stretch>
                <a:fillRect/>
              </a:stretch>
            </p:blipFill>
            <p:spPr>
              <a:xfrm>
                <a:off x="8073923" y="6071952"/>
                <a:ext cx="974513" cy="428775"/>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97" name="Ink 296">
                <a:extLst>
                  <a:ext uri="{FF2B5EF4-FFF2-40B4-BE49-F238E27FC236}">
                    <a16:creationId xmlns:a16="http://schemas.microsoft.com/office/drawing/2014/main" id="{0E18962E-E459-4177-BC53-0D5A540C7331}"/>
                  </a:ext>
                </a:extLst>
              </p14:cNvPr>
              <p14:cNvContentPartPr/>
              <p14:nvPr/>
            </p14:nvContentPartPr>
            <p14:xfrm>
              <a:off x="7280840" y="6051800"/>
              <a:ext cx="576720" cy="558000"/>
            </p14:xfrm>
          </p:contentPart>
        </mc:Choice>
        <mc:Fallback xmlns="">
          <p:pic>
            <p:nvPicPr>
              <p:cNvPr id="297" name="Ink 296">
                <a:extLst>
                  <a:ext uri="{FF2B5EF4-FFF2-40B4-BE49-F238E27FC236}">
                    <a16:creationId xmlns:a16="http://schemas.microsoft.com/office/drawing/2014/main" id="{0E18962E-E459-4177-BC53-0D5A540C7331}"/>
                  </a:ext>
                </a:extLst>
              </p:cNvPr>
              <p:cNvPicPr/>
              <p:nvPr/>
            </p:nvPicPr>
            <p:blipFill>
              <a:blip r:embed="rId17"/>
              <a:stretch>
                <a:fillRect/>
              </a:stretch>
            </p:blipFill>
            <p:spPr>
              <a:xfrm>
                <a:off x="7271840" y="6042800"/>
                <a:ext cx="594360" cy="5756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98" name="Ink 297">
                <a:extLst>
                  <a:ext uri="{FF2B5EF4-FFF2-40B4-BE49-F238E27FC236}">
                    <a16:creationId xmlns:a16="http://schemas.microsoft.com/office/drawing/2014/main" id="{B904F128-40C6-4E37-874A-152658884773}"/>
                  </a:ext>
                </a:extLst>
              </p14:cNvPr>
              <p14:cNvContentPartPr/>
              <p14:nvPr/>
            </p14:nvContentPartPr>
            <p14:xfrm>
              <a:off x="6294080" y="6258080"/>
              <a:ext cx="789120" cy="369000"/>
            </p14:xfrm>
          </p:contentPart>
        </mc:Choice>
        <mc:Fallback xmlns="">
          <p:pic>
            <p:nvPicPr>
              <p:cNvPr id="298" name="Ink 297">
                <a:extLst>
                  <a:ext uri="{FF2B5EF4-FFF2-40B4-BE49-F238E27FC236}">
                    <a16:creationId xmlns:a16="http://schemas.microsoft.com/office/drawing/2014/main" id="{B904F128-40C6-4E37-874A-152658884773}"/>
                  </a:ext>
                </a:extLst>
              </p:cNvPr>
              <p:cNvPicPr/>
              <p:nvPr/>
            </p:nvPicPr>
            <p:blipFill>
              <a:blip r:embed="rId19"/>
              <a:stretch>
                <a:fillRect/>
              </a:stretch>
            </p:blipFill>
            <p:spPr>
              <a:xfrm>
                <a:off x="6285080" y="6249080"/>
                <a:ext cx="806760" cy="3866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04" name="Ink 303">
                <a:extLst>
                  <a:ext uri="{FF2B5EF4-FFF2-40B4-BE49-F238E27FC236}">
                    <a16:creationId xmlns:a16="http://schemas.microsoft.com/office/drawing/2014/main" id="{A2F87500-5626-4D07-906F-5A034532BEB2}"/>
                  </a:ext>
                </a:extLst>
              </p14:cNvPr>
              <p14:cNvContentPartPr/>
              <p14:nvPr/>
            </p14:nvContentPartPr>
            <p14:xfrm>
              <a:off x="7464440" y="5530520"/>
              <a:ext cx="223920" cy="446760"/>
            </p14:xfrm>
          </p:contentPart>
        </mc:Choice>
        <mc:Fallback xmlns="">
          <p:pic>
            <p:nvPicPr>
              <p:cNvPr id="304" name="Ink 303">
                <a:extLst>
                  <a:ext uri="{FF2B5EF4-FFF2-40B4-BE49-F238E27FC236}">
                    <a16:creationId xmlns:a16="http://schemas.microsoft.com/office/drawing/2014/main" id="{A2F87500-5626-4D07-906F-5A034532BEB2}"/>
                  </a:ext>
                </a:extLst>
              </p:cNvPr>
              <p:cNvPicPr/>
              <p:nvPr/>
            </p:nvPicPr>
            <p:blipFill>
              <a:blip r:embed="rId21"/>
              <a:stretch>
                <a:fillRect/>
              </a:stretch>
            </p:blipFill>
            <p:spPr>
              <a:xfrm>
                <a:off x="7455454" y="5521520"/>
                <a:ext cx="241532" cy="464400"/>
              </a:xfrm>
              <a:prstGeom prst="rect">
                <a:avLst/>
              </a:prstGeom>
            </p:spPr>
          </p:pic>
        </mc:Fallback>
      </mc:AlternateContent>
    </p:spTree>
    <p:extLst>
      <p:ext uri="{BB962C8B-B14F-4D97-AF65-F5344CB8AC3E}">
        <p14:creationId xmlns:p14="http://schemas.microsoft.com/office/powerpoint/2010/main" val="14027202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0">
            <a:extLst>
              <a:ext uri="{FF2B5EF4-FFF2-40B4-BE49-F238E27FC236}">
                <a16:creationId xmlns:a16="http://schemas.microsoft.com/office/drawing/2014/main" id="{79D6FAEC-0385-81F5-128D-BAD3366F6ABE}"/>
              </a:ext>
            </a:extLst>
          </p:cNvPr>
          <p:cNvSpPr txBox="1">
            <a:spLocks/>
          </p:cNvSpPr>
          <p:nvPr/>
        </p:nvSpPr>
        <p:spPr>
          <a:xfrm>
            <a:off x="1383738" y="3710492"/>
            <a:ext cx="2041648" cy="849142"/>
          </a:xfrm>
          <a:prstGeom prst="rect">
            <a:avLst/>
          </a:prstGeom>
        </p:spPr>
        <p:txBody>
          <a:bodyPr lIns="91440" tIns="45720" rIns="91440" bIns="45720" anchor="t"/>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defRPr/>
            </a:pPr>
            <a:r>
              <a:rPr lang="en-US" sz="1800" kern="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Azure AI Services</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Intelligent services</a:t>
            </a:r>
            <a:endParaRPr lang="en-US" sz="1600">
              <a:gradFill>
                <a:gsLst>
                  <a:gs pos="100000">
                    <a:srgbClr val="FFFFFF"/>
                  </a:gs>
                  <a:gs pos="0">
                    <a:srgbClr val="FFFFFF"/>
                  </a:gs>
                </a:gsLst>
                <a:path path="circle">
                  <a:fillToRect t="100000" r="100000"/>
                </a:path>
              </a:gradFill>
              <a:cs typeface="Segoe UI Light"/>
            </a:endParaRPr>
          </a:p>
        </p:txBody>
      </p:sp>
      <p:sp>
        <p:nvSpPr>
          <p:cNvPr id="3" name="Text Placeholder 20">
            <a:extLst>
              <a:ext uri="{FF2B5EF4-FFF2-40B4-BE49-F238E27FC236}">
                <a16:creationId xmlns:a16="http://schemas.microsoft.com/office/drawing/2014/main" id="{FFEE4C88-97E4-54AE-8C12-F647C9B5253C}"/>
              </a:ext>
            </a:extLst>
          </p:cNvPr>
          <p:cNvSpPr txBox="1">
            <a:spLocks/>
          </p:cNvSpPr>
          <p:nvPr/>
        </p:nvSpPr>
        <p:spPr>
          <a:xfrm>
            <a:off x="3739630" y="3710492"/>
            <a:ext cx="2062838" cy="849142"/>
          </a:xfrm>
          <a:prstGeom prst="rect">
            <a:avLst/>
          </a:prstGeom>
        </p:spPr>
        <p:txBody>
          <a:bodyPr lIns="91440" tIns="45720" rIns="91440" bIns="45720" anchor="t"/>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defRPr/>
            </a:pPr>
            <a:r>
              <a:rPr lang="en-US" sz="1800" kern="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Azure AI Search</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Search and retrieval for AI</a:t>
            </a:r>
          </a:p>
        </p:txBody>
      </p:sp>
      <p:sp>
        <p:nvSpPr>
          <p:cNvPr id="4" name="Text Placeholder 20">
            <a:extLst>
              <a:ext uri="{FF2B5EF4-FFF2-40B4-BE49-F238E27FC236}">
                <a16:creationId xmlns:a16="http://schemas.microsoft.com/office/drawing/2014/main" id="{A1CD93C1-051C-86DC-D808-DB15D16E14DF}"/>
              </a:ext>
            </a:extLst>
          </p:cNvPr>
          <p:cNvSpPr txBox="1">
            <a:spLocks/>
          </p:cNvSpPr>
          <p:nvPr/>
        </p:nvSpPr>
        <p:spPr>
          <a:xfrm>
            <a:off x="5880292" y="3710492"/>
            <a:ext cx="2417550" cy="849142"/>
          </a:xfrm>
          <a:prstGeom prst="rect">
            <a:avLst/>
          </a:prstGeom>
        </p:spPr>
        <p:txBody>
          <a:bodyPr lIns="91440" tIns="45720" rIns="91440" bIns="45720" anchor="t"/>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defRPr/>
            </a:pPr>
            <a:r>
              <a:rPr lang="en-US" sz="1800" kern="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Azure ML</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Build and train models</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a:t>
            </a:r>
            <a:r>
              <a:rPr lang="en-US" sz="1400" err="1">
                <a:gradFill>
                  <a:gsLst>
                    <a:gs pos="100000">
                      <a:srgbClr val="FFFFFF"/>
                    </a:gs>
                    <a:gs pos="0">
                      <a:srgbClr val="FFFFFF"/>
                    </a:gs>
                  </a:gsLst>
                  <a:path path="circle">
                    <a:fillToRect t="100000" r="100000"/>
                  </a:path>
                </a:gradFill>
                <a:cs typeface="Segoe UI Light"/>
              </a:rPr>
              <a:t>MLOps</a:t>
            </a:r>
            <a:r>
              <a:rPr lang="en-US" sz="1400">
                <a:gradFill>
                  <a:gsLst>
                    <a:gs pos="100000">
                      <a:srgbClr val="FFFFFF"/>
                    </a:gs>
                    <a:gs pos="0">
                      <a:srgbClr val="FFFFFF"/>
                    </a:gs>
                  </a:gsLst>
                  <a:path path="circle">
                    <a:fillToRect t="100000" r="100000"/>
                  </a:path>
                </a:gradFill>
                <a:cs typeface="Segoe UI Light"/>
              </a:rPr>
              <a:t>)</a:t>
            </a:r>
          </a:p>
        </p:txBody>
      </p:sp>
      <p:sp>
        <p:nvSpPr>
          <p:cNvPr id="5" name="Text Placeholder 20">
            <a:extLst>
              <a:ext uri="{FF2B5EF4-FFF2-40B4-BE49-F238E27FC236}">
                <a16:creationId xmlns:a16="http://schemas.microsoft.com/office/drawing/2014/main" id="{8DE11896-A9DB-332C-2DF5-E2FFE5F79453}"/>
              </a:ext>
            </a:extLst>
          </p:cNvPr>
          <p:cNvSpPr txBox="1">
            <a:spLocks/>
          </p:cNvSpPr>
          <p:nvPr/>
        </p:nvSpPr>
        <p:spPr>
          <a:xfrm>
            <a:off x="8375666" y="3710492"/>
            <a:ext cx="2694169" cy="849142"/>
          </a:xfrm>
          <a:prstGeom prst="rect">
            <a:avLst/>
          </a:prstGeom>
        </p:spPr>
        <p:txBody>
          <a:bodyPr lIns="91440" tIns="45720" rIns="91440" bIns="45720" anchor="t"/>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defRPr/>
            </a:pPr>
            <a:r>
              <a:rPr lang="en-US" sz="1800" kern="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Azure AI Studio </a:t>
            </a:r>
            <a:r>
              <a:rPr lang="en-US" sz="1800" kern="0" baseline="3000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Preview</a:t>
            </a:r>
            <a:r>
              <a:rPr lang="en-US" sz="1800" kern="0">
                <a:gradFill>
                  <a:gsLst>
                    <a:gs pos="35000">
                      <a:srgbClr val="8DC8E8"/>
                    </a:gs>
                    <a:gs pos="10000">
                      <a:srgbClr val="8DC8E8"/>
                    </a:gs>
                  </a:gsLst>
                  <a:path path="circle">
                    <a:fillToRect l="100000" t="100000"/>
                  </a:path>
                </a:gradFill>
                <a:latin typeface="Segoe UI Semibold" panose="020B0702040204020203" pitchFamily="34" charset="0"/>
                <a:cs typeface="Segoe UI Semibold" panose="020B0702040204020203" pitchFamily="34" charset="0"/>
              </a:rPr>
              <a:t> </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Unified </a:t>
            </a:r>
            <a:r>
              <a:rPr lang="en-US" sz="1400" err="1">
                <a:gradFill>
                  <a:gsLst>
                    <a:gs pos="100000">
                      <a:srgbClr val="FFFFFF"/>
                    </a:gs>
                    <a:gs pos="0">
                      <a:srgbClr val="FFFFFF"/>
                    </a:gs>
                  </a:gsLst>
                  <a:path path="circle">
                    <a:fillToRect t="100000" r="100000"/>
                  </a:path>
                </a:gradFill>
                <a:cs typeface="Segoe UI Light"/>
              </a:rPr>
              <a:t>GenAI</a:t>
            </a:r>
            <a:r>
              <a:rPr lang="en-US" sz="1400">
                <a:gradFill>
                  <a:gsLst>
                    <a:gs pos="100000">
                      <a:srgbClr val="FFFFFF"/>
                    </a:gs>
                    <a:gs pos="0">
                      <a:srgbClr val="FFFFFF"/>
                    </a:gs>
                  </a:gsLst>
                  <a:path path="circle">
                    <a:fillToRect t="100000" r="100000"/>
                  </a:path>
                </a:gradFill>
                <a:cs typeface="Segoe UI Light"/>
              </a:rPr>
              <a:t> development</a:t>
            </a:r>
          </a:p>
          <a:p>
            <a:pPr algn="ctr">
              <a:spcBef>
                <a:spcPts val="600"/>
              </a:spcBef>
              <a:defRPr/>
            </a:pPr>
            <a:r>
              <a:rPr lang="en-US" sz="1400">
                <a:gradFill>
                  <a:gsLst>
                    <a:gs pos="100000">
                      <a:srgbClr val="FFFFFF"/>
                    </a:gs>
                    <a:gs pos="0">
                      <a:srgbClr val="FFFFFF"/>
                    </a:gs>
                  </a:gsLst>
                  <a:path path="circle">
                    <a:fillToRect t="100000" r="100000"/>
                  </a:path>
                </a:gradFill>
                <a:cs typeface="Segoe UI Light"/>
              </a:rPr>
              <a:t>(</a:t>
            </a:r>
            <a:r>
              <a:rPr lang="en-US" sz="1400" err="1">
                <a:gradFill>
                  <a:gsLst>
                    <a:gs pos="100000">
                      <a:srgbClr val="FFFFFF"/>
                    </a:gs>
                    <a:gs pos="0">
                      <a:srgbClr val="FFFFFF"/>
                    </a:gs>
                  </a:gsLst>
                  <a:path path="circle">
                    <a:fillToRect t="100000" r="100000"/>
                  </a:path>
                </a:gradFill>
                <a:cs typeface="Segoe UI Light"/>
              </a:rPr>
              <a:t>LLMOps</a:t>
            </a:r>
            <a:r>
              <a:rPr lang="en-US" sz="1400">
                <a:gradFill>
                  <a:gsLst>
                    <a:gs pos="100000">
                      <a:srgbClr val="FFFFFF"/>
                    </a:gs>
                    <a:gs pos="0">
                      <a:srgbClr val="FFFFFF"/>
                    </a:gs>
                  </a:gsLst>
                  <a:path path="circle">
                    <a:fillToRect t="100000" r="100000"/>
                  </a:path>
                </a:gradFill>
                <a:cs typeface="Segoe UI Light"/>
              </a:rPr>
              <a:t>)</a:t>
            </a:r>
          </a:p>
        </p:txBody>
      </p:sp>
      <p:pic>
        <p:nvPicPr>
          <p:cNvPr id="6" name="Graphic 5">
            <a:extLst>
              <a:ext uri="{FF2B5EF4-FFF2-40B4-BE49-F238E27FC236}">
                <a16:creationId xmlns:a16="http://schemas.microsoft.com/office/drawing/2014/main" id="{9E283957-87E3-17C0-09EF-E9C0DBAF17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39570" y="2283994"/>
            <a:ext cx="1210432" cy="1210432"/>
          </a:xfrm>
          <a:prstGeom prst="rect">
            <a:avLst/>
          </a:prstGeom>
        </p:spPr>
      </p:pic>
      <p:pic>
        <p:nvPicPr>
          <p:cNvPr id="7" name="Graphic 6">
            <a:extLst>
              <a:ext uri="{FF2B5EF4-FFF2-40B4-BE49-F238E27FC236}">
                <a16:creationId xmlns:a16="http://schemas.microsoft.com/office/drawing/2014/main" id="{B917866C-3C1F-FD8B-9D8C-4D05C6844EC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56965" y="2241613"/>
            <a:ext cx="1295195" cy="1295195"/>
          </a:xfrm>
          <a:prstGeom prst="rect">
            <a:avLst/>
          </a:prstGeom>
        </p:spPr>
      </p:pic>
      <p:pic>
        <p:nvPicPr>
          <p:cNvPr id="8" name="Graphic 7">
            <a:extLst>
              <a:ext uri="{FF2B5EF4-FFF2-40B4-BE49-F238E27FC236}">
                <a16:creationId xmlns:a16="http://schemas.microsoft.com/office/drawing/2014/main" id="{8A20733B-B8CF-DD56-264E-851B081C696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0051" y="2406769"/>
            <a:ext cx="1084316" cy="964883"/>
          </a:xfrm>
          <a:prstGeom prst="rect">
            <a:avLst/>
          </a:prstGeom>
        </p:spPr>
      </p:pic>
      <p:grpSp>
        <p:nvGrpSpPr>
          <p:cNvPr id="9" name="Group 8">
            <a:extLst>
              <a:ext uri="{FF2B5EF4-FFF2-40B4-BE49-F238E27FC236}">
                <a16:creationId xmlns:a16="http://schemas.microsoft.com/office/drawing/2014/main" id="{0A6E589C-B258-AFEE-5ADB-3FD0539F289A}"/>
              </a:ext>
            </a:extLst>
          </p:cNvPr>
          <p:cNvGrpSpPr/>
          <p:nvPr/>
        </p:nvGrpSpPr>
        <p:grpSpPr>
          <a:xfrm>
            <a:off x="1383738" y="5009480"/>
            <a:ext cx="9472284" cy="394356"/>
            <a:chOff x="687065" y="5992541"/>
            <a:chExt cx="4781032" cy="581869"/>
          </a:xfrm>
        </p:grpSpPr>
        <p:sp>
          <p:nvSpPr>
            <p:cNvPr id="10" name="Left Bracket 9">
              <a:extLst>
                <a:ext uri="{FF2B5EF4-FFF2-40B4-BE49-F238E27FC236}">
                  <a16:creationId xmlns:a16="http://schemas.microsoft.com/office/drawing/2014/main" id="{4DD85CCE-B8EF-E33E-7AF7-5C41C62296C6}"/>
                </a:ext>
              </a:extLst>
            </p:cNvPr>
            <p:cNvSpPr/>
            <p:nvPr/>
          </p:nvSpPr>
          <p:spPr>
            <a:xfrm rot="16200000">
              <a:off x="2907300" y="3772306"/>
              <a:ext cx="340562" cy="4781032"/>
            </a:xfrm>
            <a:prstGeom prst="leftBracket">
              <a:avLst>
                <a:gd name="adj" fmla="val 127151"/>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outerShdw blurRad="63500" dist="127000" dir="2700000" algn="tl" rotWithShape="0">
                <a:srgbClr val="454142">
                  <a:alpha val="20000"/>
                </a:srgbClr>
              </a:outerShdw>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2E2D142E-0E7F-967A-001A-0CEAD71DF0F4}"/>
                </a:ext>
              </a:extLst>
            </p:cNvPr>
            <p:cNvSpPr txBox="1"/>
            <p:nvPr/>
          </p:nvSpPr>
          <p:spPr>
            <a:xfrm>
              <a:off x="2374024" y="6029464"/>
              <a:ext cx="1407115" cy="544946"/>
            </a:xfrm>
            <a:prstGeom prst="rect">
              <a:avLst/>
            </a:prstGeom>
            <a:solidFill>
              <a:schemeClr val="tx1"/>
            </a:solidFill>
          </p:spPr>
          <p:txBody>
            <a:bodyPr wrap="square" lIns="91440" tIns="45720" rIns="91440" bIns="45720" anchor="t">
              <a:spAutoFit/>
            </a:bodyPr>
            <a:lstStyle/>
            <a:p>
              <a:pPr marL="0" marR="0" lvl="0" indent="0" algn="ctr" defTabSz="932742" eaLnBrk="1" fontAlgn="auto" latinLnBrk="0" hangingPunct="1">
                <a:lnSpc>
                  <a:spcPct val="100000"/>
                </a:lnSpc>
                <a:spcBef>
                  <a:spcPts val="600"/>
                </a:spcBef>
                <a:spcAft>
                  <a:spcPts val="0"/>
                </a:spcAft>
                <a:buClrTx/>
                <a:buSzPct val="90000"/>
                <a:buFontTx/>
                <a:buNone/>
                <a:tabLst/>
                <a:defRPr/>
              </a:pPr>
              <a:r>
                <a:rPr kumimoji="0" lang="en-US" sz="1800" b="0" i="0" u="none" strike="noStrike" kern="0" cap="none" spc="0" normalizeH="0" baseline="0" noProof="0" dirty="0">
                  <a:ln>
                    <a:noFill/>
                  </a:ln>
                  <a:gradFill>
                    <a:gsLst>
                      <a:gs pos="35000">
                        <a:srgbClr val="FFFFFF"/>
                      </a:gs>
                      <a:gs pos="9000">
                        <a:srgbClr val="FFFFFF"/>
                      </a:gs>
                    </a:gsLst>
                    <a:path path="circle">
                      <a:fillToRect l="100000" t="100000"/>
                    </a:path>
                  </a:gradFill>
                  <a:effectLst/>
                  <a:uLnTx/>
                  <a:uFillTx/>
                  <a:latin typeface="Segoe UI Semibold" panose="020B0702040204020203" pitchFamily="34" charset="0"/>
                  <a:cs typeface="Segoe UI Semibold" panose="020B0702040204020203" pitchFamily="34" charset="0"/>
                </a:rPr>
                <a:t>Azure AI Infrastructure​</a:t>
              </a:r>
            </a:p>
          </p:txBody>
        </p:sp>
      </p:grpSp>
      <p:pic>
        <p:nvPicPr>
          <p:cNvPr id="12" name="Picture 2" descr="Pricing - Azure Cognitive Search | Microsoft Azure">
            <a:extLst>
              <a:ext uri="{FF2B5EF4-FFF2-40B4-BE49-F238E27FC236}">
                <a16:creationId xmlns:a16="http://schemas.microsoft.com/office/drawing/2014/main" id="{3BF0862E-1132-673B-9B7E-29D32D9BCAF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3993582" y="2222009"/>
            <a:ext cx="1554934" cy="1334403"/>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4">
            <a:extLst>
              <a:ext uri="{FF2B5EF4-FFF2-40B4-BE49-F238E27FC236}">
                <a16:creationId xmlns:a16="http://schemas.microsoft.com/office/drawing/2014/main" id="{7A19631E-40CE-BB23-4B19-FC5BD39F52DF}"/>
              </a:ext>
            </a:extLst>
          </p:cNvPr>
          <p:cNvSpPr txBox="1">
            <a:spLocks/>
          </p:cNvSpPr>
          <p:nvPr/>
        </p:nvSpPr>
        <p:spPr>
          <a:xfrm>
            <a:off x="588263" y="457200"/>
            <a:ext cx="11018520" cy="83099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5400" b="0" i="0" u="none" strike="noStrike" kern="1200" cap="none" spc="-50" normalizeH="0" baseline="0" noProof="0">
                <a:ln w="3175">
                  <a:noFill/>
                </a:ln>
                <a:gradFill>
                  <a:gsLst>
                    <a:gs pos="35000">
                      <a:srgbClr val="FFFFFF"/>
                    </a:gs>
                    <a:gs pos="9000">
                      <a:srgbClr val="FFFFFF"/>
                    </a:gs>
                  </a:gsLst>
                  <a:path path="circle">
                    <a:fillToRect l="100000" t="100000"/>
                  </a:path>
                </a:gradFill>
                <a:effectLst/>
                <a:uLnTx/>
                <a:uFillTx/>
                <a:latin typeface="Segoe UI Semibold"/>
                <a:ea typeface="+mn-ea"/>
                <a:cs typeface="Segoe UI" pitchFamily="34" charset="0"/>
              </a:rPr>
              <a:t>Azure AI</a:t>
            </a:r>
          </a:p>
        </p:txBody>
      </p:sp>
    </p:spTree>
    <p:extLst>
      <p:ext uri="{BB962C8B-B14F-4D97-AF65-F5344CB8AC3E}">
        <p14:creationId xmlns:p14="http://schemas.microsoft.com/office/powerpoint/2010/main" val="4485596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05784-96B8-9F93-C079-7886FF6BEE7C}"/>
              </a:ext>
            </a:extLst>
          </p:cNvPr>
          <p:cNvSpPr>
            <a:spLocks noGrp="1"/>
          </p:cNvSpPr>
          <p:nvPr>
            <p:ph type="title"/>
          </p:nvPr>
        </p:nvSpPr>
        <p:spPr/>
        <p:txBody>
          <a:bodyPr/>
          <a:lstStyle/>
          <a:p>
            <a:r>
              <a:rPr lang="en-US" dirty="0"/>
              <a:t>Azure AI Search architectur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Ingest                         Enrich                                Explore</a:t>
            </a:r>
          </a:p>
        </p:txBody>
      </p:sp>
      <p:sp>
        <p:nvSpPr>
          <p:cNvPr id="41" name="Arrow: Pentagon 40">
            <a:extLst>
              <a:ext uri="{FF2B5EF4-FFF2-40B4-BE49-F238E27FC236}">
                <a16:creationId xmlns:a16="http://schemas.microsoft.com/office/drawing/2014/main" id="{933C32D9-205E-DE17-30FA-79DFAF5E6503}"/>
              </a:ext>
            </a:extLst>
          </p:cNvPr>
          <p:cNvSpPr/>
          <p:nvPr/>
        </p:nvSpPr>
        <p:spPr bwMode="auto">
          <a:xfrm>
            <a:off x="3549317" y="2566161"/>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42" name="Cylinder 41">
            <a:extLst>
              <a:ext uri="{FF2B5EF4-FFF2-40B4-BE49-F238E27FC236}">
                <a16:creationId xmlns:a16="http://schemas.microsoft.com/office/drawing/2014/main" id="{75B3BE95-0C70-949C-D23C-822636FAEB4F}"/>
              </a:ext>
            </a:extLst>
          </p:cNvPr>
          <p:cNvSpPr/>
          <p:nvPr/>
        </p:nvSpPr>
        <p:spPr bwMode="auto">
          <a:xfrm>
            <a:off x="514042" y="3308931"/>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8174E12B-9437-2678-B5E5-251CF6522C2F}"/>
              </a:ext>
            </a:extLst>
          </p:cNvPr>
          <p:cNvPicPr>
            <a:picLocks noChangeAspect="1"/>
          </p:cNvPicPr>
          <p:nvPr/>
        </p:nvPicPr>
        <p:blipFill>
          <a:blip r:embed="rId3"/>
          <a:stretch>
            <a:fillRect/>
          </a:stretch>
        </p:blipFill>
        <p:spPr>
          <a:xfrm>
            <a:off x="7963553" y="2566161"/>
            <a:ext cx="1051046" cy="939462"/>
          </a:xfrm>
          <a:prstGeom prst="rect">
            <a:avLst/>
          </a:prstGeom>
        </p:spPr>
      </p:pic>
      <p:sp>
        <p:nvSpPr>
          <p:cNvPr id="44" name="Arrow: Pentagon 43">
            <a:extLst>
              <a:ext uri="{FF2B5EF4-FFF2-40B4-BE49-F238E27FC236}">
                <a16:creationId xmlns:a16="http://schemas.microsoft.com/office/drawing/2014/main" id="{E58AA9DC-8A82-66EE-DB1F-FF55D33E9FDB}"/>
              </a:ext>
            </a:extLst>
          </p:cNvPr>
          <p:cNvSpPr/>
          <p:nvPr/>
        </p:nvSpPr>
        <p:spPr bwMode="auto">
          <a:xfrm>
            <a:off x="9134205" y="2566161"/>
            <a:ext cx="157011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dexing for Search</a:t>
            </a:r>
          </a:p>
        </p:txBody>
      </p:sp>
      <p:sp>
        <p:nvSpPr>
          <p:cNvPr id="45" name="Cylinder 44">
            <a:extLst>
              <a:ext uri="{FF2B5EF4-FFF2-40B4-BE49-F238E27FC236}">
                <a16:creationId xmlns:a16="http://schemas.microsoft.com/office/drawing/2014/main" id="{957A4AB9-9EE9-8744-B1F7-87D3E32C7BFC}"/>
              </a:ext>
            </a:extLst>
          </p:cNvPr>
          <p:cNvSpPr/>
          <p:nvPr/>
        </p:nvSpPr>
        <p:spPr bwMode="auto">
          <a:xfrm>
            <a:off x="514042" y="3004719"/>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Arrow: Pentagon 45">
            <a:extLst>
              <a:ext uri="{FF2B5EF4-FFF2-40B4-BE49-F238E27FC236}">
                <a16:creationId xmlns:a16="http://schemas.microsoft.com/office/drawing/2014/main" id="{AACE3013-C1BD-5A0F-D3F1-A7EB7DF0D6F3}"/>
              </a:ext>
            </a:extLst>
          </p:cNvPr>
          <p:cNvSpPr/>
          <p:nvPr/>
        </p:nvSpPr>
        <p:spPr bwMode="auto">
          <a:xfrm>
            <a:off x="1688579" y="2566161"/>
            <a:ext cx="2539870"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47" name="Text Placeholder 1">
            <a:extLst>
              <a:ext uri="{FF2B5EF4-FFF2-40B4-BE49-F238E27FC236}">
                <a16:creationId xmlns:a16="http://schemas.microsoft.com/office/drawing/2014/main" id="{82C87DBE-B1A0-754C-06F3-431CA711FFA2}"/>
              </a:ext>
            </a:extLst>
          </p:cNvPr>
          <p:cNvSpPr txBox="1">
            <a:spLocks/>
          </p:cNvSpPr>
          <p:nvPr/>
        </p:nvSpPr>
        <p:spPr>
          <a:xfrm>
            <a:off x="7007423" y="3731885"/>
            <a:ext cx="2205721"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notated</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ocuments</a:t>
            </a:r>
          </a:p>
        </p:txBody>
      </p:sp>
      <p:pic>
        <p:nvPicPr>
          <p:cNvPr id="48" name="Picture 47">
            <a:extLst>
              <a:ext uri="{FF2B5EF4-FFF2-40B4-BE49-F238E27FC236}">
                <a16:creationId xmlns:a16="http://schemas.microsoft.com/office/drawing/2014/main" id="{CA866A0A-4290-7827-D392-D977F381F625}"/>
              </a:ext>
            </a:extLst>
          </p:cNvPr>
          <p:cNvPicPr>
            <a:picLocks noChangeAspect="1"/>
          </p:cNvPicPr>
          <p:nvPr/>
        </p:nvPicPr>
        <p:blipFill>
          <a:blip r:embed="rId3"/>
          <a:stretch>
            <a:fillRect/>
          </a:stretch>
        </p:blipFill>
        <p:spPr>
          <a:xfrm>
            <a:off x="7730701" y="2672528"/>
            <a:ext cx="1051046" cy="939462"/>
          </a:xfrm>
          <a:prstGeom prst="rect">
            <a:avLst/>
          </a:prstGeom>
        </p:spPr>
      </p:pic>
      <p:pic>
        <p:nvPicPr>
          <p:cNvPr id="49" name="Picture 48">
            <a:extLst>
              <a:ext uri="{FF2B5EF4-FFF2-40B4-BE49-F238E27FC236}">
                <a16:creationId xmlns:a16="http://schemas.microsoft.com/office/drawing/2014/main" id="{72333A36-FDEF-4739-A7DE-E7F06263A6DB}"/>
              </a:ext>
            </a:extLst>
          </p:cNvPr>
          <p:cNvPicPr>
            <a:picLocks noChangeAspect="1"/>
          </p:cNvPicPr>
          <p:nvPr/>
        </p:nvPicPr>
        <p:blipFill>
          <a:blip r:embed="rId3"/>
          <a:stretch>
            <a:fillRect/>
          </a:stretch>
        </p:blipFill>
        <p:spPr>
          <a:xfrm>
            <a:off x="7485796" y="2784299"/>
            <a:ext cx="1051046" cy="939462"/>
          </a:xfrm>
          <a:prstGeom prst="rect">
            <a:avLst/>
          </a:prstGeom>
        </p:spPr>
      </p:pic>
      <p:sp>
        <p:nvSpPr>
          <p:cNvPr id="50" name="Text Placeholder 1">
            <a:extLst>
              <a:ext uri="{FF2B5EF4-FFF2-40B4-BE49-F238E27FC236}">
                <a16:creationId xmlns:a16="http://schemas.microsoft.com/office/drawing/2014/main" id="{1437B761-881B-71E0-A0F6-46CEA443C2DC}"/>
              </a:ext>
            </a:extLst>
          </p:cNvPr>
          <p:cNvSpPr txBox="1">
            <a:spLocks/>
          </p:cNvSpPr>
          <p:nvPr/>
        </p:nvSpPr>
        <p:spPr>
          <a:xfrm>
            <a:off x="194536" y="3761395"/>
            <a:ext cx="1419340"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ustomer</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51" name="Cylinder 50">
            <a:extLst>
              <a:ext uri="{FF2B5EF4-FFF2-40B4-BE49-F238E27FC236}">
                <a16:creationId xmlns:a16="http://schemas.microsoft.com/office/drawing/2014/main" id="{FFB2F54E-D827-7554-80F1-BD042DAD616E}"/>
              </a:ext>
            </a:extLst>
          </p:cNvPr>
          <p:cNvSpPr/>
          <p:nvPr/>
        </p:nvSpPr>
        <p:spPr bwMode="auto">
          <a:xfrm>
            <a:off x="511453" y="2697735"/>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6284749E-09E6-5EA2-847C-AB79472B5370}"/>
              </a:ext>
            </a:extLst>
          </p:cNvPr>
          <p:cNvGrpSpPr/>
          <p:nvPr/>
        </p:nvGrpSpPr>
        <p:grpSpPr>
          <a:xfrm>
            <a:off x="4695144" y="1323520"/>
            <a:ext cx="1911810" cy="1074408"/>
            <a:chOff x="4238413" y="1170179"/>
            <a:chExt cx="1950146" cy="1095952"/>
          </a:xfrm>
        </p:grpSpPr>
        <p:grpSp>
          <p:nvGrpSpPr>
            <p:cNvPr id="53" name="Group 52">
              <a:extLst>
                <a:ext uri="{FF2B5EF4-FFF2-40B4-BE49-F238E27FC236}">
                  <a16:creationId xmlns:a16="http://schemas.microsoft.com/office/drawing/2014/main" id="{739838A7-A5AE-6926-ACF8-4E9A59221DF1}"/>
                </a:ext>
              </a:extLst>
            </p:cNvPr>
            <p:cNvGrpSpPr/>
            <p:nvPr/>
          </p:nvGrpSpPr>
          <p:grpSpPr>
            <a:xfrm>
              <a:off x="4512159" y="1170179"/>
              <a:ext cx="1676400" cy="890539"/>
              <a:chOff x="4160837" y="1350919"/>
              <a:chExt cx="1676400" cy="890539"/>
            </a:xfrm>
            <a:solidFill>
              <a:srgbClr val="004B50">
                <a:alpha val="62000"/>
              </a:srgbClr>
            </a:solidFill>
          </p:grpSpPr>
          <p:sp>
            <p:nvSpPr>
              <p:cNvPr id="62" name="Rectangle: Rounded Corners 61">
                <a:extLst>
                  <a:ext uri="{FF2B5EF4-FFF2-40B4-BE49-F238E27FC236}">
                    <a16:creationId xmlns:a16="http://schemas.microsoft.com/office/drawing/2014/main" id="{87F4E703-4E85-150C-FAFD-B9D598DBF397}"/>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AFA0A5F5-618F-9E37-5E8D-93E9ADFC869D}"/>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BFEB219-724A-3335-6818-EA2A60E34EA0}"/>
                  </a:ext>
                </a:extLst>
              </p:cNvPr>
              <p:cNvCxnSpPr>
                <a:cxnSpLocks/>
                <a:stCxn id="63" idx="0"/>
                <a:endCxn id="62"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4" name="Group 53">
              <a:extLst>
                <a:ext uri="{FF2B5EF4-FFF2-40B4-BE49-F238E27FC236}">
                  <a16:creationId xmlns:a16="http://schemas.microsoft.com/office/drawing/2014/main" id="{829D1F42-81CA-B2A6-638B-D055CDB6BDA7}"/>
                </a:ext>
              </a:extLst>
            </p:cNvPr>
            <p:cNvGrpSpPr/>
            <p:nvPr/>
          </p:nvGrpSpPr>
          <p:grpSpPr>
            <a:xfrm>
              <a:off x="4375286" y="1266756"/>
              <a:ext cx="1676400" cy="890539"/>
              <a:chOff x="4160837" y="1350919"/>
              <a:chExt cx="1676400" cy="890539"/>
            </a:xfrm>
            <a:solidFill>
              <a:srgbClr val="0070C0">
                <a:alpha val="62000"/>
              </a:srgbClr>
            </a:solidFill>
          </p:grpSpPr>
          <p:sp>
            <p:nvSpPr>
              <p:cNvPr id="59" name="Rectangle: Rounded Corners 58">
                <a:extLst>
                  <a:ext uri="{FF2B5EF4-FFF2-40B4-BE49-F238E27FC236}">
                    <a16:creationId xmlns:a16="http://schemas.microsoft.com/office/drawing/2014/main" id="{804243C9-EED7-D338-EF91-B497F2A40559}"/>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5EF89B21-F629-5D31-CE52-8F9942ACACDF}"/>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C44A10B8-3C44-0C26-8D47-A6958EE42B2C}"/>
                  </a:ext>
                </a:extLst>
              </p:cNvPr>
              <p:cNvCxnSpPr>
                <a:cxnSpLocks/>
                <a:stCxn id="60" idx="0"/>
                <a:endCxn id="59"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5" name="Group 54">
              <a:extLst>
                <a:ext uri="{FF2B5EF4-FFF2-40B4-BE49-F238E27FC236}">
                  <a16:creationId xmlns:a16="http://schemas.microsoft.com/office/drawing/2014/main" id="{C330B84F-CFF1-6E33-8642-FB48194ADDEB}"/>
                </a:ext>
              </a:extLst>
            </p:cNvPr>
            <p:cNvGrpSpPr/>
            <p:nvPr/>
          </p:nvGrpSpPr>
          <p:grpSpPr>
            <a:xfrm>
              <a:off x="4238413" y="1375592"/>
              <a:ext cx="1676400" cy="890539"/>
              <a:chOff x="4160837" y="1350919"/>
              <a:chExt cx="1676400" cy="890539"/>
            </a:xfrm>
          </p:grpSpPr>
          <p:sp>
            <p:nvSpPr>
              <p:cNvPr id="56" name="Rectangle: Rounded Corners 55">
                <a:extLst>
                  <a:ext uri="{FF2B5EF4-FFF2-40B4-BE49-F238E27FC236}">
                    <a16:creationId xmlns:a16="http://schemas.microsoft.com/office/drawing/2014/main" id="{45943767-7C07-68EB-873B-7A92DF0190AA}"/>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57" name="Oval 56">
                <a:extLst>
                  <a:ext uri="{FF2B5EF4-FFF2-40B4-BE49-F238E27FC236}">
                    <a16:creationId xmlns:a16="http://schemas.microsoft.com/office/drawing/2014/main" id="{32A1223D-70B6-D06A-EF1F-E503F0381529}"/>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C242BEB-4410-5E1C-0168-89892B0A6212}"/>
                  </a:ext>
                </a:extLst>
              </p:cNvPr>
              <p:cNvCxnSpPr>
                <a:cxnSpLocks/>
                <a:stCxn id="57" idx="0"/>
                <a:endCxn id="56"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grpSp>
        <p:nvGrpSpPr>
          <p:cNvPr id="65" name="Group 64">
            <a:extLst>
              <a:ext uri="{FF2B5EF4-FFF2-40B4-BE49-F238E27FC236}">
                <a16:creationId xmlns:a16="http://schemas.microsoft.com/office/drawing/2014/main" id="{0071C664-321E-1A4A-A74A-BC0970C0FD49}"/>
              </a:ext>
            </a:extLst>
          </p:cNvPr>
          <p:cNvGrpSpPr/>
          <p:nvPr/>
        </p:nvGrpSpPr>
        <p:grpSpPr>
          <a:xfrm>
            <a:off x="10226562" y="2566161"/>
            <a:ext cx="2320538" cy="1875698"/>
            <a:chOff x="2512468" y="3116262"/>
            <a:chExt cx="2367070" cy="1913309"/>
          </a:xfrm>
        </p:grpSpPr>
        <p:pic>
          <p:nvPicPr>
            <p:cNvPr id="66" name="Picture 65">
              <a:extLst>
                <a:ext uri="{FF2B5EF4-FFF2-40B4-BE49-F238E27FC236}">
                  <a16:creationId xmlns:a16="http://schemas.microsoft.com/office/drawing/2014/main" id="{6CC916A9-56FA-4AD8-8AF6-07F8D27A16E8}"/>
                </a:ext>
              </a:extLst>
            </p:cNvPr>
            <p:cNvPicPr>
              <a:picLocks noChangeAspect="1"/>
            </p:cNvPicPr>
            <p:nvPr/>
          </p:nvPicPr>
          <p:blipFill>
            <a:blip r:embed="rId4"/>
            <a:stretch>
              <a:fillRect/>
            </a:stretch>
          </p:blipFill>
          <p:spPr>
            <a:xfrm>
              <a:off x="3121809" y="3116262"/>
              <a:ext cx="1148072" cy="1140828"/>
            </a:xfrm>
            <a:prstGeom prst="rect">
              <a:avLst/>
            </a:prstGeom>
            <a:noFill/>
          </p:spPr>
        </p:pic>
        <p:sp>
          <p:nvSpPr>
            <p:cNvPr id="67" name="Text Placeholder 1">
              <a:extLst>
                <a:ext uri="{FF2B5EF4-FFF2-40B4-BE49-F238E27FC236}">
                  <a16:creationId xmlns:a16="http://schemas.microsoft.com/office/drawing/2014/main" id="{A4D8D8B1-AE38-C05B-646C-DAD3E8A40E97}"/>
                </a:ext>
              </a:extLst>
            </p:cNvPr>
            <p:cNvSpPr txBox="1">
              <a:spLocks/>
            </p:cNvSpPr>
            <p:nvPr/>
          </p:nvSpPr>
          <p:spPr>
            <a:xfrm>
              <a:off x="2512468" y="4259262"/>
              <a:ext cx="2367070" cy="77030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dex</a:t>
              </a:r>
            </a:p>
          </p:txBody>
        </p:sp>
      </p:grpSp>
      <p:sp>
        <p:nvSpPr>
          <p:cNvPr id="3" name="Rectangle 2">
            <a:extLst>
              <a:ext uri="{FF2B5EF4-FFF2-40B4-BE49-F238E27FC236}">
                <a16:creationId xmlns:a16="http://schemas.microsoft.com/office/drawing/2014/main" id="{8A1D4F0C-0FEE-7AC2-8B3C-4F7A8E591A27}"/>
              </a:ext>
            </a:extLst>
          </p:cNvPr>
          <p:cNvSpPr/>
          <p:nvPr/>
        </p:nvSpPr>
        <p:spPr bwMode="auto">
          <a:xfrm>
            <a:off x="7352007" y="1146974"/>
            <a:ext cx="1711650" cy="429282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979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F86F81B-EC1B-46A8-BC56-068EA2B25EEF}"/>
              </a:ext>
            </a:extLst>
          </p:cNvPr>
          <p:cNvPicPr>
            <a:picLocks noChangeAspect="1"/>
          </p:cNvPicPr>
          <p:nvPr/>
        </p:nvPicPr>
        <p:blipFill>
          <a:blip r:embed="rId3"/>
          <a:stretch>
            <a:fillRect/>
          </a:stretch>
        </p:blipFill>
        <p:spPr>
          <a:xfrm>
            <a:off x="5207000" y="1011238"/>
            <a:ext cx="1778000" cy="1231900"/>
          </a:xfrm>
          <a:prstGeom prst="rect">
            <a:avLst/>
          </a:prstGeom>
        </p:spPr>
      </p:pic>
      <p:pic>
        <p:nvPicPr>
          <p:cNvPr id="7" name="Picture 6">
            <a:extLst>
              <a:ext uri="{FF2B5EF4-FFF2-40B4-BE49-F238E27FC236}">
                <a16:creationId xmlns:a16="http://schemas.microsoft.com/office/drawing/2014/main" id="{B9D9D146-1729-4B4E-B6B1-6F62DA6D3766}"/>
              </a:ext>
            </a:extLst>
          </p:cNvPr>
          <p:cNvPicPr>
            <a:picLocks noChangeAspect="1"/>
          </p:cNvPicPr>
          <p:nvPr/>
        </p:nvPicPr>
        <p:blipFill>
          <a:blip r:embed="rId4"/>
          <a:stretch>
            <a:fillRect/>
          </a:stretch>
        </p:blipFill>
        <p:spPr>
          <a:xfrm>
            <a:off x="5391150" y="2378529"/>
            <a:ext cx="1409700" cy="533400"/>
          </a:xfrm>
          <a:prstGeom prst="rect">
            <a:avLst/>
          </a:prstGeom>
        </p:spPr>
      </p:pic>
      <p:pic>
        <p:nvPicPr>
          <p:cNvPr id="8" name="Picture 7">
            <a:extLst>
              <a:ext uri="{FF2B5EF4-FFF2-40B4-BE49-F238E27FC236}">
                <a16:creationId xmlns:a16="http://schemas.microsoft.com/office/drawing/2014/main" id="{571F61B2-EBA2-478F-808A-474DC2437D14}"/>
              </a:ext>
            </a:extLst>
          </p:cNvPr>
          <p:cNvPicPr>
            <a:picLocks noChangeAspect="1"/>
          </p:cNvPicPr>
          <p:nvPr/>
        </p:nvPicPr>
        <p:blipFill>
          <a:blip r:embed="rId5"/>
          <a:stretch>
            <a:fillRect/>
          </a:stretch>
        </p:blipFill>
        <p:spPr>
          <a:xfrm>
            <a:off x="527050" y="2797176"/>
            <a:ext cx="5575300" cy="1003300"/>
          </a:xfrm>
          <a:prstGeom prst="rect">
            <a:avLst/>
          </a:prstGeom>
        </p:spPr>
      </p:pic>
      <p:pic>
        <p:nvPicPr>
          <p:cNvPr id="9" name="Picture 8">
            <a:extLst>
              <a:ext uri="{FF2B5EF4-FFF2-40B4-BE49-F238E27FC236}">
                <a16:creationId xmlns:a16="http://schemas.microsoft.com/office/drawing/2014/main" id="{7D829DDD-D86C-4412-9423-EBF964E54906}"/>
              </a:ext>
            </a:extLst>
          </p:cNvPr>
          <p:cNvPicPr>
            <a:picLocks noChangeAspect="1"/>
          </p:cNvPicPr>
          <p:nvPr/>
        </p:nvPicPr>
        <p:blipFill>
          <a:blip r:embed="rId6"/>
          <a:stretch>
            <a:fillRect/>
          </a:stretch>
        </p:blipFill>
        <p:spPr>
          <a:xfrm>
            <a:off x="3257550" y="2797176"/>
            <a:ext cx="2844800" cy="965200"/>
          </a:xfrm>
          <a:prstGeom prst="rect">
            <a:avLst/>
          </a:prstGeom>
        </p:spPr>
      </p:pic>
      <p:pic>
        <p:nvPicPr>
          <p:cNvPr id="11" name="Picture 10">
            <a:extLst>
              <a:ext uri="{FF2B5EF4-FFF2-40B4-BE49-F238E27FC236}">
                <a16:creationId xmlns:a16="http://schemas.microsoft.com/office/drawing/2014/main" id="{F3191E58-B483-4C23-85F8-F39C50958622}"/>
              </a:ext>
            </a:extLst>
          </p:cNvPr>
          <p:cNvPicPr>
            <a:picLocks noChangeAspect="1"/>
          </p:cNvPicPr>
          <p:nvPr/>
        </p:nvPicPr>
        <p:blipFill>
          <a:blip r:embed="rId7"/>
          <a:stretch>
            <a:fillRect/>
          </a:stretch>
        </p:blipFill>
        <p:spPr>
          <a:xfrm>
            <a:off x="5560785" y="2797176"/>
            <a:ext cx="2171700" cy="965200"/>
          </a:xfrm>
          <a:prstGeom prst="rect">
            <a:avLst/>
          </a:prstGeom>
        </p:spPr>
      </p:pic>
      <p:pic>
        <p:nvPicPr>
          <p:cNvPr id="12" name="Picture 11">
            <a:extLst>
              <a:ext uri="{FF2B5EF4-FFF2-40B4-BE49-F238E27FC236}">
                <a16:creationId xmlns:a16="http://schemas.microsoft.com/office/drawing/2014/main" id="{821C9C7B-780E-4F0C-A095-D3F1E3A20D95}"/>
              </a:ext>
            </a:extLst>
          </p:cNvPr>
          <p:cNvPicPr>
            <a:picLocks noChangeAspect="1"/>
          </p:cNvPicPr>
          <p:nvPr/>
        </p:nvPicPr>
        <p:blipFill>
          <a:blip r:embed="rId8"/>
          <a:stretch>
            <a:fillRect/>
          </a:stretch>
        </p:blipFill>
        <p:spPr>
          <a:xfrm>
            <a:off x="6105435" y="2797176"/>
            <a:ext cx="4660900" cy="965200"/>
          </a:xfrm>
          <a:prstGeom prst="rect">
            <a:avLst/>
          </a:prstGeom>
        </p:spPr>
      </p:pic>
      <p:pic>
        <p:nvPicPr>
          <p:cNvPr id="13" name="Picture 12">
            <a:extLst>
              <a:ext uri="{FF2B5EF4-FFF2-40B4-BE49-F238E27FC236}">
                <a16:creationId xmlns:a16="http://schemas.microsoft.com/office/drawing/2014/main" id="{CC64B32B-18D5-46BB-88C7-1B5C755997A0}"/>
              </a:ext>
            </a:extLst>
          </p:cNvPr>
          <p:cNvPicPr>
            <a:picLocks noChangeAspect="1"/>
          </p:cNvPicPr>
          <p:nvPr/>
        </p:nvPicPr>
        <p:blipFill>
          <a:blip r:embed="rId9"/>
          <a:stretch>
            <a:fillRect/>
          </a:stretch>
        </p:blipFill>
        <p:spPr>
          <a:xfrm>
            <a:off x="3353889" y="3633062"/>
            <a:ext cx="698500" cy="711200"/>
          </a:xfrm>
          <a:prstGeom prst="rect">
            <a:avLst/>
          </a:prstGeom>
        </p:spPr>
      </p:pic>
      <p:pic>
        <p:nvPicPr>
          <p:cNvPr id="14" name="Picture 13">
            <a:extLst>
              <a:ext uri="{FF2B5EF4-FFF2-40B4-BE49-F238E27FC236}">
                <a16:creationId xmlns:a16="http://schemas.microsoft.com/office/drawing/2014/main" id="{4A5B1BF4-0018-454C-99DC-ED994C022112}"/>
              </a:ext>
            </a:extLst>
          </p:cNvPr>
          <p:cNvPicPr>
            <a:picLocks noChangeAspect="1"/>
          </p:cNvPicPr>
          <p:nvPr/>
        </p:nvPicPr>
        <p:blipFill>
          <a:blip r:embed="rId10"/>
          <a:stretch>
            <a:fillRect/>
          </a:stretch>
        </p:blipFill>
        <p:spPr>
          <a:xfrm>
            <a:off x="3353889" y="3636964"/>
            <a:ext cx="749300" cy="1358900"/>
          </a:xfrm>
          <a:prstGeom prst="rect">
            <a:avLst/>
          </a:prstGeom>
        </p:spPr>
      </p:pic>
      <p:pic>
        <p:nvPicPr>
          <p:cNvPr id="15" name="Picture 14">
            <a:extLst>
              <a:ext uri="{FF2B5EF4-FFF2-40B4-BE49-F238E27FC236}">
                <a16:creationId xmlns:a16="http://schemas.microsoft.com/office/drawing/2014/main" id="{565A8E91-BCBE-4332-80EE-601D41189C5E}"/>
              </a:ext>
            </a:extLst>
          </p:cNvPr>
          <p:cNvPicPr>
            <a:picLocks noChangeAspect="1"/>
          </p:cNvPicPr>
          <p:nvPr/>
        </p:nvPicPr>
        <p:blipFill>
          <a:blip r:embed="rId11"/>
          <a:stretch>
            <a:fillRect/>
          </a:stretch>
        </p:blipFill>
        <p:spPr>
          <a:xfrm>
            <a:off x="3353889" y="3627393"/>
            <a:ext cx="800100" cy="2006600"/>
          </a:xfrm>
          <a:prstGeom prst="rect">
            <a:avLst/>
          </a:prstGeom>
        </p:spPr>
      </p:pic>
      <p:pic>
        <p:nvPicPr>
          <p:cNvPr id="16" name="Picture 15">
            <a:extLst>
              <a:ext uri="{FF2B5EF4-FFF2-40B4-BE49-F238E27FC236}">
                <a16:creationId xmlns:a16="http://schemas.microsoft.com/office/drawing/2014/main" id="{ABA77A09-CF29-4478-ABAA-E3175CDA1DF7}"/>
              </a:ext>
            </a:extLst>
          </p:cNvPr>
          <p:cNvPicPr>
            <a:picLocks noChangeAspect="1"/>
          </p:cNvPicPr>
          <p:nvPr/>
        </p:nvPicPr>
        <p:blipFill>
          <a:blip r:embed="rId12"/>
          <a:stretch>
            <a:fillRect/>
          </a:stretch>
        </p:blipFill>
        <p:spPr>
          <a:xfrm>
            <a:off x="3353888" y="3627393"/>
            <a:ext cx="758915" cy="2654300"/>
          </a:xfrm>
          <a:prstGeom prst="rect">
            <a:avLst/>
          </a:prstGeom>
        </p:spPr>
      </p:pic>
      <p:pic>
        <p:nvPicPr>
          <p:cNvPr id="17" name="Picture 16">
            <a:extLst>
              <a:ext uri="{FF2B5EF4-FFF2-40B4-BE49-F238E27FC236}">
                <a16:creationId xmlns:a16="http://schemas.microsoft.com/office/drawing/2014/main" id="{2BF70AE1-2F41-4815-8786-A69DAD019A65}"/>
              </a:ext>
            </a:extLst>
          </p:cNvPr>
          <p:cNvPicPr>
            <a:picLocks noChangeAspect="1"/>
          </p:cNvPicPr>
          <p:nvPr/>
        </p:nvPicPr>
        <p:blipFill>
          <a:blip r:embed="rId9"/>
          <a:stretch>
            <a:fillRect/>
          </a:stretch>
        </p:blipFill>
        <p:spPr>
          <a:xfrm>
            <a:off x="5665470" y="3632381"/>
            <a:ext cx="698500" cy="711200"/>
          </a:xfrm>
          <a:prstGeom prst="rect">
            <a:avLst/>
          </a:prstGeom>
        </p:spPr>
      </p:pic>
      <p:pic>
        <p:nvPicPr>
          <p:cNvPr id="18" name="Picture 17">
            <a:extLst>
              <a:ext uri="{FF2B5EF4-FFF2-40B4-BE49-F238E27FC236}">
                <a16:creationId xmlns:a16="http://schemas.microsoft.com/office/drawing/2014/main" id="{68A13E45-298F-4468-B3B0-50CB6C72AEE4}"/>
              </a:ext>
            </a:extLst>
          </p:cNvPr>
          <p:cNvPicPr>
            <a:picLocks noChangeAspect="1"/>
          </p:cNvPicPr>
          <p:nvPr/>
        </p:nvPicPr>
        <p:blipFill>
          <a:blip r:embed="rId10"/>
          <a:stretch>
            <a:fillRect/>
          </a:stretch>
        </p:blipFill>
        <p:spPr>
          <a:xfrm>
            <a:off x="5665470" y="3636283"/>
            <a:ext cx="749300" cy="1358900"/>
          </a:xfrm>
          <a:prstGeom prst="rect">
            <a:avLst/>
          </a:prstGeom>
        </p:spPr>
      </p:pic>
      <p:pic>
        <p:nvPicPr>
          <p:cNvPr id="19" name="Picture 18">
            <a:extLst>
              <a:ext uri="{FF2B5EF4-FFF2-40B4-BE49-F238E27FC236}">
                <a16:creationId xmlns:a16="http://schemas.microsoft.com/office/drawing/2014/main" id="{DCDDB43B-1232-4615-83E4-EAA4E6038B17}"/>
              </a:ext>
            </a:extLst>
          </p:cNvPr>
          <p:cNvPicPr>
            <a:picLocks noChangeAspect="1"/>
          </p:cNvPicPr>
          <p:nvPr/>
        </p:nvPicPr>
        <p:blipFill>
          <a:blip r:embed="rId11"/>
          <a:stretch>
            <a:fillRect/>
          </a:stretch>
        </p:blipFill>
        <p:spPr>
          <a:xfrm>
            <a:off x="5665470" y="3626712"/>
            <a:ext cx="800100" cy="2006600"/>
          </a:xfrm>
          <a:prstGeom prst="rect">
            <a:avLst/>
          </a:prstGeom>
        </p:spPr>
      </p:pic>
      <p:pic>
        <p:nvPicPr>
          <p:cNvPr id="20" name="Picture 19">
            <a:extLst>
              <a:ext uri="{FF2B5EF4-FFF2-40B4-BE49-F238E27FC236}">
                <a16:creationId xmlns:a16="http://schemas.microsoft.com/office/drawing/2014/main" id="{997B361B-C028-4FCB-9940-05D94C5F6FF1}"/>
              </a:ext>
            </a:extLst>
          </p:cNvPr>
          <p:cNvPicPr>
            <a:picLocks noChangeAspect="1"/>
          </p:cNvPicPr>
          <p:nvPr/>
        </p:nvPicPr>
        <p:blipFill>
          <a:blip r:embed="rId12"/>
          <a:stretch>
            <a:fillRect/>
          </a:stretch>
        </p:blipFill>
        <p:spPr>
          <a:xfrm>
            <a:off x="5662385" y="3626712"/>
            <a:ext cx="762000" cy="2654300"/>
          </a:xfrm>
          <a:prstGeom prst="rect">
            <a:avLst/>
          </a:prstGeom>
        </p:spPr>
      </p:pic>
      <p:pic>
        <p:nvPicPr>
          <p:cNvPr id="21" name="Picture 20">
            <a:extLst>
              <a:ext uri="{FF2B5EF4-FFF2-40B4-BE49-F238E27FC236}">
                <a16:creationId xmlns:a16="http://schemas.microsoft.com/office/drawing/2014/main" id="{0DC74B46-4608-4A00-AC13-7DE338FC4B62}"/>
              </a:ext>
            </a:extLst>
          </p:cNvPr>
          <p:cNvPicPr>
            <a:picLocks noChangeAspect="1"/>
          </p:cNvPicPr>
          <p:nvPr/>
        </p:nvPicPr>
        <p:blipFill>
          <a:blip r:embed="rId13"/>
          <a:stretch>
            <a:fillRect/>
          </a:stretch>
        </p:blipFill>
        <p:spPr>
          <a:xfrm>
            <a:off x="6579688" y="4112079"/>
            <a:ext cx="2540000" cy="266700"/>
          </a:xfrm>
          <a:prstGeom prst="rect">
            <a:avLst/>
          </a:prstGeom>
        </p:spPr>
      </p:pic>
      <p:pic>
        <p:nvPicPr>
          <p:cNvPr id="22" name="Picture 21">
            <a:extLst>
              <a:ext uri="{FF2B5EF4-FFF2-40B4-BE49-F238E27FC236}">
                <a16:creationId xmlns:a16="http://schemas.microsoft.com/office/drawing/2014/main" id="{58ECF366-7759-448D-9F4C-1B3C439C95CF}"/>
              </a:ext>
            </a:extLst>
          </p:cNvPr>
          <p:cNvPicPr>
            <a:picLocks noChangeAspect="1"/>
          </p:cNvPicPr>
          <p:nvPr/>
        </p:nvPicPr>
        <p:blipFill>
          <a:blip r:embed="rId13"/>
          <a:stretch>
            <a:fillRect/>
          </a:stretch>
        </p:blipFill>
        <p:spPr>
          <a:xfrm>
            <a:off x="6579688" y="4755682"/>
            <a:ext cx="2540000" cy="266700"/>
          </a:xfrm>
          <a:prstGeom prst="rect">
            <a:avLst/>
          </a:prstGeom>
        </p:spPr>
      </p:pic>
      <p:pic>
        <p:nvPicPr>
          <p:cNvPr id="23" name="Picture 22">
            <a:extLst>
              <a:ext uri="{FF2B5EF4-FFF2-40B4-BE49-F238E27FC236}">
                <a16:creationId xmlns:a16="http://schemas.microsoft.com/office/drawing/2014/main" id="{92E0C255-ECE3-4A0C-84EA-1A0BFE131DA4}"/>
              </a:ext>
            </a:extLst>
          </p:cNvPr>
          <p:cNvPicPr>
            <a:picLocks noChangeAspect="1"/>
          </p:cNvPicPr>
          <p:nvPr/>
        </p:nvPicPr>
        <p:blipFill>
          <a:blip r:embed="rId13"/>
          <a:stretch>
            <a:fillRect/>
          </a:stretch>
        </p:blipFill>
        <p:spPr>
          <a:xfrm>
            <a:off x="6579688" y="6042887"/>
            <a:ext cx="2540000" cy="266700"/>
          </a:xfrm>
          <a:prstGeom prst="rect">
            <a:avLst/>
          </a:prstGeom>
        </p:spPr>
      </p:pic>
      <p:pic>
        <p:nvPicPr>
          <p:cNvPr id="24" name="Picture 23">
            <a:extLst>
              <a:ext uri="{FF2B5EF4-FFF2-40B4-BE49-F238E27FC236}">
                <a16:creationId xmlns:a16="http://schemas.microsoft.com/office/drawing/2014/main" id="{CD544993-2FAF-476F-9F8A-B8510A2FA13A}"/>
              </a:ext>
            </a:extLst>
          </p:cNvPr>
          <p:cNvPicPr>
            <a:picLocks noChangeAspect="1"/>
          </p:cNvPicPr>
          <p:nvPr/>
        </p:nvPicPr>
        <p:blipFill>
          <a:blip r:embed="rId13"/>
          <a:stretch>
            <a:fillRect/>
          </a:stretch>
        </p:blipFill>
        <p:spPr>
          <a:xfrm>
            <a:off x="6579688" y="5399285"/>
            <a:ext cx="2540000" cy="266700"/>
          </a:xfrm>
          <a:prstGeom prst="rect">
            <a:avLst/>
          </a:prstGeom>
        </p:spPr>
      </p:pic>
      <p:pic>
        <p:nvPicPr>
          <p:cNvPr id="25" name="Picture 24">
            <a:extLst>
              <a:ext uri="{FF2B5EF4-FFF2-40B4-BE49-F238E27FC236}">
                <a16:creationId xmlns:a16="http://schemas.microsoft.com/office/drawing/2014/main" id="{92783137-0E71-4D9A-9ABF-5DFD982B31C9}"/>
              </a:ext>
            </a:extLst>
          </p:cNvPr>
          <p:cNvPicPr>
            <a:picLocks noChangeAspect="1"/>
          </p:cNvPicPr>
          <p:nvPr/>
        </p:nvPicPr>
        <p:blipFill>
          <a:blip r:embed="rId9"/>
          <a:stretch>
            <a:fillRect/>
          </a:stretch>
        </p:blipFill>
        <p:spPr>
          <a:xfrm>
            <a:off x="9519920" y="3638050"/>
            <a:ext cx="698500" cy="711200"/>
          </a:xfrm>
          <a:prstGeom prst="rect">
            <a:avLst/>
          </a:prstGeom>
        </p:spPr>
      </p:pic>
      <p:pic>
        <p:nvPicPr>
          <p:cNvPr id="26" name="Picture 25">
            <a:extLst>
              <a:ext uri="{FF2B5EF4-FFF2-40B4-BE49-F238E27FC236}">
                <a16:creationId xmlns:a16="http://schemas.microsoft.com/office/drawing/2014/main" id="{B8FF3B02-FAD2-4B53-A78F-226C90D3F3D8}"/>
              </a:ext>
            </a:extLst>
          </p:cNvPr>
          <p:cNvPicPr>
            <a:picLocks noChangeAspect="1"/>
          </p:cNvPicPr>
          <p:nvPr/>
        </p:nvPicPr>
        <p:blipFill>
          <a:blip r:embed="rId10"/>
          <a:stretch>
            <a:fillRect/>
          </a:stretch>
        </p:blipFill>
        <p:spPr>
          <a:xfrm>
            <a:off x="9519920" y="3641952"/>
            <a:ext cx="749300" cy="1358900"/>
          </a:xfrm>
          <a:prstGeom prst="rect">
            <a:avLst/>
          </a:prstGeom>
        </p:spPr>
      </p:pic>
      <p:pic>
        <p:nvPicPr>
          <p:cNvPr id="27" name="Picture 26">
            <a:extLst>
              <a:ext uri="{FF2B5EF4-FFF2-40B4-BE49-F238E27FC236}">
                <a16:creationId xmlns:a16="http://schemas.microsoft.com/office/drawing/2014/main" id="{A5DA2990-2EE7-4253-BE15-CEE70C8FA756}"/>
              </a:ext>
            </a:extLst>
          </p:cNvPr>
          <p:cNvPicPr>
            <a:picLocks noChangeAspect="1"/>
          </p:cNvPicPr>
          <p:nvPr/>
        </p:nvPicPr>
        <p:blipFill>
          <a:blip r:embed="rId11"/>
          <a:stretch>
            <a:fillRect/>
          </a:stretch>
        </p:blipFill>
        <p:spPr>
          <a:xfrm>
            <a:off x="9519920" y="3632381"/>
            <a:ext cx="800100" cy="2006600"/>
          </a:xfrm>
          <a:prstGeom prst="rect">
            <a:avLst/>
          </a:prstGeom>
        </p:spPr>
      </p:pic>
      <p:pic>
        <p:nvPicPr>
          <p:cNvPr id="28" name="Picture 27">
            <a:extLst>
              <a:ext uri="{FF2B5EF4-FFF2-40B4-BE49-F238E27FC236}">
                <a16:creationId xmlns:a16="http://schemas.microsoft.com/office/drawing/2014/main" id="{DE46677D-A41F-4731-B318-B11ECB78A750}"/>
              </a:ext>
            </a:extLst>
          </p:cNvPr>
          <p:cNvPicPr>
            <a:picLocks noChangeAspect="1"/>
          </p:cNvPicPr>
          <p:nvPr/>
        </p:nvPicPr>
        <p:blipFill>
          <a:blip r:embed="rId12"/>
          <a:stretch>
            <a:fillRect/>
          </a:stretch>
        </p:blipFill>
        <p:spPr>
          <a:xfrm>
            <a:off x="9519920" y="3632381"/>
            <a:ext cx="762000" cy="2654300"/>
          </a:xfrm>
          <a:prstGeom prst="rect">
            <a:avLst/>
          </a:prstGeom>
        </p:spPr>
      </p:pic>
      <p:pic>
        <p:nvPicPr>
          <p:cNvPr id="29" name="Picture 28">
            <a:extLst>
              <a:ext uri="{FF2B5EF4-FFF2-40B4-BE49-F238E27FC236}">
                <a16:creationId xmlns:a16="http://schemas.microsoft.com/office/drawing/2014/main" id="{06DB5A73-6581-43B3-955D-13068DBCCC32}"/>
              </a:ext>
            </a:extLst>
          </p:cNvPr>
          <p:cNvPicPr>
            <a:picLocks noChangeAspect="1"/>
          </p:cNvPicPr>
          <p:nvPr/>
        </p:nvPicPr>
        <p:blipFill>
          <a:blip r:embed="rId14"/>
          <a:stretch>
            <a:fillRect/>
          </a:stretch>
        </p:blipFill>
        <p:spPr>
          <a:xfrm>
            <a:off x="10450558" y="4097655"/>
            <a:ext cx="1219200" cy="266700"/>
          </a:xfrm>
          <a:prstGeom prst="rect">
            <a:avLst/>
          </a:prstGeom>
        </p:spPr>
      </p:pic>
      <p:pic>
        <p:nvPicPr>
          <p:cNvPr id="30" name="Picture 29">
            <a:extLst>
              <a:ext uri="{FF2B5EF4-FFF2-40B4-BE49-F238E27FC236}">
                <a16:creationId xmlns:a16="http://schemas.microsoft.com/office/drawing/2014/main" id="{B7C4E2B1-060A-4CC9-9E30-5FD46B055CA7}"/>
              </a:ext>
            </a:extLst>
          </p:cNvPr>
          <p:cNvPicPr>
            <a:picLocks noChangeAspect="1"/>
          </p:cNvPicPr>
          <p:nvPr/>
        </p:nvPicPr>
        <p:blipFill>
          <a:blip r:embed="rId14"/>
          <a:stretch>
            <a:fillRect/>
          </a:stretch>
        </p:blipFill>
        <p:spPr>
          <a:xfrm>
            <a:off x="10450558" y="4745658"/>
            <a:ext cx="1219200" cy="266700"/>
          </a:xfrm>
          <a:prstGeom prst="rect">
            <a:avLst/>
          </a:prstGeom>
        </p:spPr>
      </p:pic>
      <p:pic>
        <p:nvPicPr>
          <p:cNvPr id="31" name="Picture 30">
            <a:extLst>
              <a:ext uri="{FF2B5EF4-FFF2-40B4-BE49-F238E27FC236}">
                <a16:creationId xmlns:a16="http://schemas.microsoft.com/office/drawing/2014/main" id="{6969DF54-EFFE-45A1-9A55-34EAF283EC71}"/>
              </a:ext>
            </a:extLst>
          </p:cNvPr>
          <p:cNvPicPr>
            <a:picLocks noChangeAspect="1"/>
          </p:cNvPicPr>
          <p:nvPr/>
        </p:nvPicPr>
        <p:blipFill>
          <a:blip r:embed="rId14"/>
          <a:stretch>
            <a:fillRect/>
          </a:stretch>
        </p:blipFill>
        <p:spPr>
          <a:xfrm>
            <a:off x="10450558" y="5393661"/>
            <a:ext cx="1219200" cy="266700"/>
          </a:xfrm>
          <a:prstGeom prst="rect">
            <a:avLst/>
          </a:prstGeom>
        </p:spPr>
      </p:pic>
      <p:pic>
        <p:nvPicPr>
          <p:cNvPr id="32" name="Picture 31">
            <a:extLst>
              <a:ext uri="{FF2B5EF4-FFF2-40B4-BE49-F238E27FC236}">
                <a16:creationId xmlns:a16="http://schemas.microsoft.com/office/drawing/2014/main" id="{1DBA1479-3539-4B58-9349-30D704439F34}"/>
              </a:ext>
            </a:extLst>
          </p:cNvPr>
          <p:cNvPicPr>
            <a:picLocks noChangeAspect="1"/>
          </p:cNvPicPr>
          <p:nvPr/>
        </p:nvPicPr>
        <p:blipFill>
          <a:blip r:embed="rId14"/>
          <a:stretch>
            <a:fillRect/>
          </a:stretch>
        </p:blipFill>
        <p:spPr>
          <a:xfrm>
            <a:off x="10450558" y="6041663"/>
            <a:ext cx="1219200" cy="266700"/>
          </a:xfrm>
          <a:prstGeom prst="rect">
            <a:avLst/>
          </a:prstGeom>
        </p:spPr>
      </p:pic>
      <p:sp>
        <p:nvSpPr>
          <p:cNvPr id="2" name="Title 1">
            <a:extLst>
              <a:ext uri="{FF2B5EF4-FFF2-40B4-BE49-F238E27FC236}">
                <a16:creationId xmlns:a16="http://schemas.microsoft.com/office/drawing/2014/main" id="{950AD35C-7EBF-28F3-9B49-7E1BE4E7E43B}"/>
              </a:ext>
            </a:extLst>
          </p:cNvPr>
          <p:cNvSpPr>
            <a:spLocks noGrp="1"/>
          </p:cNvSpPr>
          <p:nvPr>
            <p:ph type="title"/>
          </p:nvPr>
        </p:nvSpPr>
        <p:spPr>
          <a:xfrm>
            <a:off x="588263" y="457200"/>
            <a:ext cx="11018520" cy="553998"/>
          </a:xfrm>
        </p:spPr>
        <p:txBody>
          <a:bodyPr/>
          <a:lstStyle/>
          <a:p>
            <a:r>
              <a:rPr lang="en-US" dirty="0"/>
              <a:t>Document Annotation</a:t>
            </a:r>
          </a:p>
        </p:txBody>
      </p:sp>
    </p:spTree>
    <p:extLst>
      <p:ext uri="{BB962C8B-B14F-4D97-AF65-F5344CB8AC3E}">
        <p14:creationId xmlns:p14="http://schemas.microsoft.com/office/powerpoint/2010/main" val="32068108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accel="50000" decel="50000" fill="hold" nodeType="withEffect">
                                  <p:stCondLst>
                                    <p:cond delay="300"/>
                                  </p:stCondLst>
                                  <p:childTnLst>
                                    <p:animMotion origin="layout" path="M 0 1.48148E-6 L 0 0.05995 " pathEditMode="relative" rAng="0" ptsTypes="AA">
                                      <p:cBhvr>
                                        <p:cTn id="9" dur="500" spd="-100000" fill="hold"/>
                                        <p:tgtEl>
                                          <p:spTgt spid="6"/>
                                        </p:tgtEl>
                                        <p:attrNameLst>
                                          <p:attrName>ppt_x</p:attrName>
                                          <p:attrName>ppt_y</p:attrName>
                                        </p:attrNameLst>
                                      </p:cBhvr>
                                      <p:rCtr x="0" y="2986"/>
                                    </p:animMotion>
                                  </p:childTnLst>
                                </p:cTn>
                              </p:par>
                            </p:childTnLst>
                          </p:cTn>
                        </p:par>
                        <p:par>
                          <p:cTn id="10" fill="hold">
                            <p:stCondLst>
                              <p:cond delay="800"/>
                            </p:stCondLst>
                            <p:childTnLst>
                              <p:par>
                                <p:cTn id="11" presetID="10"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4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6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8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10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nodeType="withEffect">
                                  <p:stCondLst>
                                    <p:cond delay="12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10" presetClass="entr" presetSubtype="0" fill="hold" nodeType="withEffect">
                                  <p:stCondLst>
                                    <p:cond delay="140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0" presetClass="entr" presetSubtype="0" fill="hold" nodeType="withEffect">
                                  <p:stCondLst>
                                    <p:cond delay="16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18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10" presetClass="entr" presetSubtype="0" fill="hold" nodeType="withEffect">
                                  <p:stCondLst>
                                    <p:cond delay="200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nodeType="withEffect">
                                  <p:stCondLst>
                                    <p:cond delay="220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10" presetClass="entr" presetSubtype="0" fill="hold" nodeType="withEffect">
                                  <p:stCondLst>
                                    <p:cond delay="18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10" presetClass="entr" presetSubtype="0" fill="hold" nodeType="withEffect">
                                  <p:stCondLst>
                                    <p:cond delay="200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22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nodeType="withEffect">
                                  <p:stCondLst>
                                    <p:cond delay="240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par>
                                <p:cTn id="59" presetID="10" presetClass="entr" presetSubtype="0" fill="hold" nodeType="withEffect">
                                  <p:stCondLst>
                                    <p:cond delay="260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500"/>
                                        <p:tgtEl>
                                          <p:spTgt spid="12"/>
                                        </p:tgtEl>
                                      </p:cBhvr>
                                    </p:animEffect>
                                  </p:childTnLst>
                                </p:cTn>
                              </p:par>
                              <p:par>
                                <p:cTn id="62" presetID="10" presetClass="entr" presetSubtype="0" fill="hold" nodeType="withEffect">
                                  <p:stCondLst>
                                    <p:cond delay="280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par>
                                <p:cTn id="65" presetID="10" presetClass="entr" presetSubtype="0" fill="hold" nodeType="withEffect">
                                  <p:stCondLst>
                                    <p:cond delay="300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par>
                                <p:cTn id="68" presetID="10" presetClass="entr" presetSubtype="0" fill="hold" nodeType="withEffect">
                                  <p:stCondLst>
                                    <p:cond delay="320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500"/>
                                        <p:tgtEl>
                                          <p:spTgt spid="27"/>
                                        </p:tgtEl>
                                      </p:cBhvr>
                                    </p:animEffect>
                                  </p:childTnLst>
                                </p:cTn>
                              </p:par>
                              <p:par>
                                <p:cTn id="71" presetID="10" presetClass="entr" presetSubtype="0" fill="hold" nodeType="withEffect">
                                  <p:stCondLst>
                                    <p:cond delay="340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500"/>
                                        <p:tgtEl>
                                          <p:spTgt spid="28"/>
                                        </p:tgtEl>
                                      </p:cBhvr>
                                    </p:animEffect>
                                  </p:childTnLst>
                                </p:cTn>
                              </p:par>
                              <p:par>
                                <p:cTn id="74" presetID="10" presetClass="entr" presetSubtype="0" fill="hold" nodeType="withEffect">
                                  <p:stCondLst>
                                    <p:cond delay="300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500"/>
                                        <p:tgtEl>
                                          <p:spTgt spid="29"/>
                                        </p:tgtEl>
                                      </p:cBhvr>
                                    </p:animEffect>
                                  </p:childTnLst>
                                </p:cTn>
                              </p:par>
                              <p:par>
                                <p:cTn id="77" presetID="10" presetClass="entr" presetSubtype="0" fill="hold" nodeType="withEffect">
                                  <p:stCondLst>
                                    <p:cond delay="320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par>
                                <p:cTn id="80" presetID="10" presetClass="entr" presetSubtype="0" fill="hold" nodeType="withEffect">
                                  <p:stCondLst>
                                    <p:cond delay="340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500"/>
                                        <p:tgtEl>
                                          <p:spTgt spid="31"/>
                                        </p:tgtEl>
                                      </p:cBhvr>
                                    </p:animEffect>
                                  </p:childTnLst>
                                </p:cTn>
                              </p:par>
                              <p:par>
                                <p:cTn id="83" presetID="10" presetClass="entr" presetSubtype="0" fill="hold" nodeType="withEffect">
                                  <p:stCondLst>
                                    <p:cond delay="3600"/>
                                  </p:stCondLst>
                                  <p:childTnLst>
                                    <p:set>
                                      <p:cBhvr>
                                        <p:cTn id="84" dur="1" fill="hold">
                                          <p:stCondLst>
                                            <p:cond delay="0"/>
                                          </p:stCondLst>
                                        </p:cTn>
                                        <p:tgtEl>
                                          <p:spTgt spid="32"/>
                                        </p:tgtEl>
                                        <p:attrNameLst>
                                          <p:attrName>style.visibility</p:attrName>
                                        </p:attrNameLst>
                                      </p:cBhvr>
                                      <p:to>
                                        <p:strVal val="visible"/>
                                      </p:to>
                                    </p:set>
                                    <p:animEffect transition="in" filter="fade">
                                      <p:cBhvr>
                                        <p:cTn id="8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C0DB0-97B7-4C83-926F-16909150C47D}"/>
              </a:ext>
            </a:extLst>
          </p:cNvPr>
          <p:cNvSpPr>
            <a:spLocks noGrp="1"/>
          </p:cNvSpPr>
          <p:nvPr>
            <p:ph type="title"/>
          </p:nvPr>
        </p:nvSpPr>
        <p:spPr/>
        <p:txBody>
          <a:bodyPr/>
          <a:lstStyle/>
          <a:p>
            <a:r>
              <a:rPr lang="en-US" dirty="0"/>
              <a:t>Field Mappings</a:t>
            </a:r>
          </a:p>
        </p:txBody>
      </p:sp>
      <p:grpSp>
        <p:nvGrpSpPr>
          <p:cNvPr id="109" name="Group 108">
            <a:extLst>
              <a:ext uri="{FF2B5EF4-FFF2-40B4-BE49-F238E27FC236}">
                <a16:creationId xmlns:a16="http://schemas.microsoft.com/office/drawing/2014/main" id="{DE844C8E-30A9-4ECA-9D6D-53016DAD6D82}"/>
              </a:ext>
            </a:extLst>
          </p:cNvPr>
          <p:cNvGrpSpPr/>
          <p:nvPr/>
        </p:nvGrpSpPr>
        <p:grpSpPr>
          <a:xfrm>
            <a:off x="5119749" y="-1"/>
            <a:ext cx="7102510" cy="6858001"/>
            <a:chOff x="6319520" y="-1"/>
            <a:chExt cx="5897606" cy="73056695"/>
          </a:xfrm>
        </p:grpSpPr>
        <p:sp>
          <p:nvSpPr>
            <p:cNvPr id="110" name="Rectangle 109">
              <a:extLst>
                <a:ext uri="{FF2B5EF4-FFF2-40B4-BE49-F238E27FC236}">
                  <a16:creationId xmlns:a16="http://schemas.microsoft.com/office/drawing/2014/main" id="{33063578-1C78-4D1A-B18F-5777EEF3A6B0}"/>
                </a:ext>
              </a:extLst>
            </p:cNvPr>
            <p:cNvSpPr/>
            <p:nvPr/>
          </p:nvSpPr>
          <p:spPr bwMode="auto">
            <a:xfrm>
              <a:off x="6319520" y="-1"/>
              <a:ext cx="5872480" cy="7305669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Text Placeholder 4">
              <a:extLst>
                <a:ext uri="{FF2B5EF4-FFF2-40B4-BE49-F238E27FC236}">
                  <a16:creationId xmlns:a16="http://schemas.microsoft.com/office/drawing/2014/main" id="{C2DF8C89-156C-4A03-8ECF-DB2B76BCAA17}"/>
                </a:ext>
              </a:extLst>
            </p:cNvPr>
            <p:cNvSpPr txBox="1">
              <a:spLocks/>
            </p:cNvSpPr>
            <p:nvPr/>
          </p:nvSpPr>
          <p:spPr>
            <a:xfrm>
              <a:off x="6498875" y="8441934"/>
              <a:ext cx="5718251" cy="4590139"/>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New Indexer Property</a:t>
              </a:r>
              <a:br>
                <a:rPr kumimoji="0" lang="en-US" sz="2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endParaRPr kumimoji="0" lang="en-US" sz="2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a:t>
              </a:r>
              <a:b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outputFieldMappings</a:t>
              </a: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  </a:t>
              </a:r>
              <a:b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sourceFieldName</a:t>
              </a: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b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document/organizations/*/</a:t>
              </a:r>
              <a:r>
                <a:rPr kumimoji="0" lang="en-US" sz="1800" b="1"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organizationId</a:t>
              </a: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targetFieldName</a:t>
              </a: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err="1">
                  <a:ln>
                    <a:noFill/>
                  </a:ln>
                  <a:solidFill>
                    <a:srgbClr val="FFFFFF"/>
                  </a:solidFill>
                  <a:effectLst/>
                  <a:uLnTx/>
                  <a:uFillTx/>
                  <a:latin typeface="Consolas" panose="020B0609020204030204" pitchFamily="49" charset="0"/>
                  <a:ea typeface="+mn-ea"/>
                  <a:cs typeface="+mn-cs"/>
                </a:rPr>
                <a:t>orgIds</a:t>
              </a: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 ,</a:t>
              </a:r>
              <a:b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b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onsolas" panose="020B0609020204030204" pitchFamily="49" charset="0"/>
                <a:ea typeface="+mn-ea"/>
                <a:cs typeface="+mn-cs"/>
              </a:endParaRPr>
            </a:p>
          </p:txBody>
        </p:sp>
      </p:grpSp>
      <p:pic>
        <p:nvPicPr>
          <p:cNvPr id="29" name="Picture 28">
            <a:extLst>
              <a:ext uri="{FF2B5EF4-FFF2-40B4-BE49-F238E27FC236}">
                <a16:creationId xmlns:a16="http://schemas.microsoft.com/office/drawing/2014/main" id="{9BB30F7D-725D-F74B-5AE1-B38CFBFF7592}"/>
              </a:ext>
            </a:extLst>
          </p:cNvPr>
          <p:cNvPicPr>
            <a:picLocks noChangeAspect="1"/>
          </p:cNvPicPr>
          <p:nvPr/>
        </p:nvPicPr>
        <p:blipFill>
          <a:blip r:embed="rId3"/>
          <a:stretch>
            <a:fillRect/>
          </a:stretch>
        </p:blipFill>
        <p:spPr>
          <a:xfrm>
            <a:off x="352050" y="1887052"/>
            <a:ext cx="4603021" cy="3576706"/>
          </a:xfrm>
          <a:prstGeom prst="rect">
            <a:avLst/>
          </a:prstGeom>
        </p:spPr>
      </p:pic>
      <mc:AlternateContent xmlns:mc="http://schemas.openxmlformats.org/markup-compatibility/2006" xmlns:p14="http://schemas.microsoft.com/office/powerpoint/2010/main">
        <mc:Choice Requires="p14">
          <p:contentPart p14:bwMode="auto" r:id="rId4">
            <p14:nvContentPartPr>
              <p14:cNvPr id="31" name="Ink 30">
                <a:extLst>
                  <a:ext uri="{FF2B5EF4-FFF2-40B4-BE49-F238E27FC236}">
                    <a16:creationId xmlns:a16="http://schemas.microsoft.com/office/drawing/2014/main" id="{F30D1592-5E47-4FBC-BA4F-ADB48145192A}"/>
                  </a:ext>
                </a:extLst>
              </p14:cNvPr>
              <p14:cNvContentPartPr/>
              <p14:nvPr/>
            </p14:nvContentPartPr>
            <p14:xfrm>
              <a:off x="2267629" y="3823400"/>
              <a:ext cx="7072251" cy="2584080"/>
            </p14:xfrm>
          </p:contentPart>
        </mc:Choice>
        <mc:Fallback xmlns="">
          <p:pic>
            <p:nvPicPr>
              <p:cNvPr id="31" name="Ink 30">
                <a:extLst>
                  <a:ext uri="{FF2B5EF4-FFF2-40B4-BE49-F238E27FC236}">
                    <a16:creationId xmlns:a16="http://schemas.microsoft.com/office/drawing/2014/main" id="{F30D1592-5E47-4FBC-BA4F-ADB48145192A}"/>
                  </a:ext>
                </a:extLst>
              </p:cNvPr>
              <p:cNvPicPr/>
              <p:nvPr/>
            </p:nvPicPr>
            <p:blipFill>
              <a:blip r:embed="rId5"/>
              <a:stretch>
                <a:fillRect/>
              </a:stretch>
            </p:blipFill>
            <p:spPr>
              <a:xfrm>
                <a:off x="2231629" y="3787400"/>
                <a:ext cx="7143892" cy="2655720"/>
              </a:xfrm>
              <a:prstGeom prst="rect">
                <a:avLst/>
              </a:prstGeom>
            </p:spPr>
          </p:pic>
        </mc:Fallback>
      </mc:AlternateContent>
    </p:spTree>
    <p:extLst>
      <p:ext uri="{BB962C8B-B14F-4D97-AF65-F5344CB8AC3E}">
        <p14:creationId xmlns:p14="http://schemas.microsoft.com/office/powerpoint/2010/main" val="836422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1+#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2E27D-0965-1F56-D10A-03E4B76A202C}"/>
              </a:ext>
            </a:extLst>
          </p:cNvPr>
          <p:cNvSpPr>
            <a:spLocks noGrp="1"/>
          </p:cNvSpPr>
          <p:nvPr>
            <p:ph type="title"/>
          </p:nvPr>
        </p:nvSpPr>
        <p:spPr/>
        <p:txBody>
          <a:bodyPr/>
          <a:lstStyle/>
          <a:p>
            <a:r>
              <a:rPr lang="en-US" dirty="0"/>
              <a:t>Indexer Definition</a:t>
            </a:r>
          </a:p>
        </p:txBody>
      </p:sp>
      <p:pic>
        <p:nvPicPr>
          <p:cNvPr id="1028" name="Picture 4" descr="Diagram showing which properties of indexers establish the data path to fields in an index.">
            <a:extLst>
              <a:ext uri="{FF2B5EF4-FFF2-40B4-BE49-F238E27FC236}">
                <a16:creationId xmlns:a16="http://schemas.microsoft.com/office/drawing/2014/main" id="{68463E5E-C503-3ECB-67CD-82C838783A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3154" y="1092928"/>
            <a:ext cx="10025691" cy="5307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7865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804E37B-30F9-4A5B-BD14-0ABD43EE60F1}"/>
              </a:ext>
            </a:extLst>
          </p:cNvPr>
          <p:cNvSpPr/>
          <p:nvPr/>
        </p:nvSpPr>
        <p:spPr bwMode="auto">
          <a:xfrm>
            <a:off x="5109989" y="4363118"/>
            <a:ext cx="3259945" cy="19112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 Placeholder 1">
            <a:extLst>
              <a:ext uri="{FF2B5EF4-FFF2-40B4-BE49-F238E27FC236}">
                <a16:creationId xmlns:a16="http://schemas.microsoft.com/office/drawing/2014/main" id="{44ED5C95-B159-4B5B-AC14-1EAF4D36C148}"/>
              </a:ext>
            </a:extLst>
          </p:cNvPr>
          <p:cNvSpPr txBox="1">
            <a:spLocks/>
          </p:cNvSpPr>
          <p:nvPr/>
        </p:nvSpPr>
        <p:spPr>
          <a:xfrm>
            <a:off x="5210960" y="5841904"/>
            <a:ext cx="1858153" cy="430655"/>
          </a:xfrm>
          <a:prstGeom prst="rect">
            <a:avLst/>
          </a:prstGeom>
        </p:spPr>
        <p:txBody>
          <a:bodyPr vert="horz" wrap="square" lIns="0" tIns="89642" rIns="0"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Knowledge Store</a:t>
            </a:r>
          </a:p>
        </p:txBody>
      </p:sp>
      <p:sp>
        <p:nvSpPr>
          <p:cNvPr id="25" name="Rectangle 24">
            <a:extLst>
              <a:ext uri="{FF2B5EF4-FFF2-40B4-BE49-F238E27FC236}">
                <a16:creationId xmlns:a16="http://schemas.microsoft.com/office/drawing/2014/main" id="{0379F068-7436-4D39-BAF3-4F3D07C37A32}"/>
              </a:ext>
            </a:extLst>
          </p:cNvPr>
          <p:cNvSpPr/>
          <p:nvPr/>
        </p:nvSpPr>
        <p:spPr bwMode="auto">
          <a:xfrm>
            <a:off x="5360035" y="4679878"/>
            <a:ext cx="2788091" cy="11276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Text Placeholder 1">
            <a:extLst>
              <a:ext uri="{FF2B5EF4-FFF2-40B4-BE49-F238E27FC236}">
                <a16:creationId xmlns:a16="http://schemas.microsoft.com/office/drawing/2014/main" id="{145CFF79-8F69-4F19-9411-B483F7E2FE6A}"/>
              </a:ext>
            </a:extLst>
          </p:cNvPr>
          <p:cNvSpPr txBox="1">
            <a:spLocks/>
          </p:cNvSpPr>
          <p:nvPr/>
        </p:nvSpPr>
        <p:spPr>
          <a:xfrm>
            <a:off x="5867491" y="5439781"/>
            <a:ext cx="1858153" cy="430655"/>
          </a:xfrm>
          <a:prstGeom prst="rect">
            <a:avLst/>
          </a:prstGeom>
        </p:spPr>
        <p:txBody>
          <a:bodyPr vert="horz" wrap="square" lIns="0" tIns="89642" rIns="0"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Projections</a:t>
            </a:r>
          </a:p>
        </p:txBody>
      </p:sp>
      <p:grpSp>
        <p:nvGrpSpPr>
          <p:cNvPr id="30" name="Group 29">
            <a:extLst>
              <a:ext uri="{FF2B5EF4-FFF2-40B4-BE49-F238E27FC236}">
                <a16:creationId xmlns:a16="http://schemas.microsoft.com/office/drawing/2014/main" id="{1ACD3165-A31B-4E54-9BE7-A0855D2AAD03}"/>
              </a:ext>
            </a:extLst>
          </p:cNvPr>
          <p:cNvGrpSpPr/>
          <p:nvPr/>
        </p:nvGrpSpPr>
        <p:grpSpPr>
          <a:xfrm>
            <a:off x="6969033" y="4855310"/>
            <a:ext cx="618246" cy="508970"/>
            <a:chOff x="679449" y="4446977"/>
            <a:chExt cx="976403" cy="717066"/>
          </a:xfrm>
        </p:grpSpPr>
        <p:pic>
          <p:nvPicPr>
            <p:cNvPr id="81" name="Picture 80">
              <a:extLst>
                <a:ext uri="{FF2B5EF4-FFF2-40B4-BE49-F238E27FC236}">
                  <a16:creationId xmlns:a16="http://schemas.microsoft.com/office/drawing/2014/main" id="{04AFA404-C5D5-449A-9865-9F94E7413E2F}"/>
                </a:ext>
              </a:extLst>
            </p:cNvPr>
            <p:cNvPicPr>
              <a:picLocks noChangeAspect="1"/>
            </p:cNvPicPr>
            <p:nvPr/>
          </p:nvPicPr>
          <p:blipFill rotWithShape="1">
            <a:blip r:embed="rId3"/>
            <a:srcRect l="3989" t="19617" r="3113" b="4055"/>
            <a:stretch/>
          </p:blipFill>
          <p:spPr>
            <a:xfrm>
              <a:off x="679449" y="4446977"/>
              <a:ext cx="976403" cy="717066"/>
            </a:xfrm>
            <a:prstGeom prst="rect">
              <a:avLst/>
            </a:prstGeom>
            <a:effectLst>
              <a:outerShdw blurRad="50800" dist="38100" dir="2700000" algn="tl" rotWithShape="0">
                <a:prstClr val="black">
                  <a:alpha val="40000"/>
                </a:prstClr>
              </a:outerShdw>
            </a:effectLst>
          </p:spPr>
        </p:pic>
        <p:cxnSp>
          <p:nvCxnSpPr>
            <p:cNvPr id="28" name="Straight Connector 27">
              <a:extLst>
                <a:ext uri="{FF2B5EF4-FFF2-40B4-BE49-F238E27FC236}">
                  <a16:creationId xmlns:a16="http://schemas.microsoft.com/office/drawing/2014/main" id="{A964D4CC-2376-458A-858A-988BDFDCEAEF}"/>
                </a:ext>
              </a:extLst>
            </p:cNvPr>
            <p:cNvCxnSpPr/>
            <p:nvPr/>
          </p:nvCxnSpPr>
          <p:spPr>
            <a:xfrm>
              <a:off x="948521"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9191DDE-3F3F-497A-B699-41CBEF68E180}"/>
                </a:ext>
              </a:extLst>
            </p:cNvPr>
            <p:cNvCxnSpPr/>
            <p:nvPr/>
          </p:nvCxnSpPr>
          <p:spPr>
            <a:xfrm>
              <a:off x="1330497"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648DB68C-CEBA-4DF1-892E-1E10EB2DEB12}"/>
              </a:ext>
            </a:extLst>
          </p:cNvPr>
          <p:cNvGrpSpPr/>
          <p:nvPr/>
        </p:nvGrpSpPr>
        <p:grpSpPr>
          <a:xfrm>
            <a:off x="7250973" y="4977230"/>
            <a:ext cx="618246" cy="508970"/>
            <a:chOff x="679449" y="4446977"/>
            <a:chExt cx="976403" cy="717066"/>
          </a:xfrm>
        </p:grpSpPr>
        <p:pic>
          <p:nvPicPr>
            <p:cNvPr id="93" name="Picture 92">
              <a:extLst>
                <a:ext uri="{FF2B5EF4-FFF2-40B4-BE49-F238E27FC236}">
                  <a16:creationId xmlns:a16="http://schemas.microsoft.com/office/drawing/2014/main" id="{8D5C7560-990F-4A05-B9DF-FBC5BEF8F1B6}"/>
                </a:ext>
              </a:extLst>
            </p:cNvPr>
            <p:cNvPicPr>
              <a:picLocks noChangeAspect="1"/>
            </p:cNvPicPr>
            <p:nvPr/>
          </p:nvPicPr>
          <p:blipFill rotWithShape="1">
            <a:blip r:embed="rId3"/>
            <a:srcRect l="3989" t="19617" r="3113" b="4055"/>
            <a:stretch/>
          </p:blipFill>
          <p:spPr>
            <a:xfrm>
              <a:off x="679449" y="4446977"/>
              <a:ext cx="976403" cy="717066"/>
            </a:xfrm>
            <a:prstGeom prst="rect">
              <a:avLst/>
            </a:prstGeom>
            <a:effectLst>
              <a:outerShdw blurRad="50800" dist="38100" dir="2700000" algn="tl" rotWithShape="0">
                <a:prstClr val="black">
                  <a:alpha val="40000"/>
                </a:prstClr>
              </a:outerShdw>
            </a:effectLst>
          </p:spPr>
        </p:pic>
        <p:cxnSp>
          <p:nvCxnSpPr>
            <p:cNvPr id="94" name="Straight Connector 93">
              <a:extLst>
                <a:ext uri="{FF2B5EF4-FFF2-40B4-BE49-F238E27FC236}">
                  <a16:creationId xmlns:a16="http://schemas.microsoft.com/office/drawing/2014/main" id="{48ABEAF3-3DB7-4F43-AB44-C63008D8D33C}"/>
                </a:ext>
              </a:extLst>
            </p:cNvPr>
            <p:cNvCxnSpPr/>
            <p:nvPr/>
          </p:nvCxnSpPr>
          <p:spPr>
            <a:xfrm>
              <a:off x="948521"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C6B1AA8-7C2A-40F1-AED9-A7FFFDAC3CA9}"/>
                </a:ext>
              </a:extLst>
            </p:cNvPr>
            <p:cNvCxnSpPr/>
            <p:nvPr/>
          </p:nvCxnSpPr>
          <p:spPr>
            <a:xfrm>
              <a:off x="1330497"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Cylinder 40">
            <a:extLst>
              <a:ext uri="{FF2B5EF4-FFF2-40B4-BE49-F238E27FC236}">
                <a16:creationId xmlns:a16="http://schemas.microsoft.com/office/drawing/2014/main" id="{1E8D22CE-B7AF-4843-A2D2-935B8B27D0CD}"/>
              </a:ext>
            </a:extLst>
          </p:cNvPr>
          <p:cNvSpPr/>
          <p:nvPr/>
        </p:nvSpPr>
        <p:spPr bwMode="auto">
          <a:xfrm>
            <a:off x="5766886" y="4833277"/>
            <a:ext cx="618245" cy="654865"/>
          </a:xfrm>
          <a:prstGeom prst="can">
            <a:avLst>
              <a:gd name="adj" fmla="val 21600"/>
            </a:avLst>
          </a:prstGeom>
          <a:solidFill>
            <a:srgbClr val="0072C6"/>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lationship_F003" title="Icon of three boxes connected by lines">
            <a:extLst>
              <a:ext uri="{FF2B5EF4-FFF2-40B4-BE49-F238E27FC236}">
                <a16:creationId xmlns:a16="http://schemas.microsoft.com/office/drawing/2014/main" id="{85EE1669-F1C1-4DB8-B49E-4422E8BEEE80}"/>
              </a:ext>
            </a:extLst>
          </p:cNvPr>
          <p:cNvSpPr>
            <a:spLocks noChangeAspect="1" noEditPoints="1"/>
          </p:cNvSpPr>
          <p:nvPr/>
        </p:nvSpPr>
        <p:spPr bwMode="auto">
          <a:xfrm>
            <a:off x="5930165" y="5093921"/>
            <a:ext cx="267944" cy="250611"/>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Arrow: Pentagon 95">
            <a:extLst>
              <a:ext uri="{FF2B5EF4-FFF2-40B4-BE49-F238E27FC236}">
                <a16:creationId xmlns:a16="http://schemas.microsoft.com/office/drawing/2014/main" id="{F50DCDD3-C7CA-4836-8702-FDB9E688366C}"/>
              </a:ext>
            </a:extLst>
          </p:cNvPr>
          <p:cNvSpPr/>
          <p:nvPr/>
        </p:nvSpPr>
        <p:spPr bwMode="auto">
          <a:xfrm rot="5400000">
            <a:off x="7459272" y="3379114"/>
            <a:ext cx="553997"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2" name="Group 81">
            <a:extLst>
              <a:ext uri="{FF2B5EF4-FFF2-40B4-BE49-F238E27FC236}">
                <a16:creationId xmlns:a16="http://schemas.microsoft.com/office/drawing/2014/main" id="{7144AB8F-5856-4190-88B6-600A6F67542E}"/>
              </a:ext>
            </a:extLst>
          </p:cNvPr>
          <p:cNvGrpSpPr/>
          <p:nvPr/>
        </p:nvGrpSpPr>
        <p:grpSpPr>
          <a:xfrm>
            <a:off x="543142" y="749424"/>
            <a:ext cx="10701080" cy="2812681"/>
            <a:chOff x="1062795" y="1841680"/>
            <a:chExt cx="10701080" cy="2812681"/>
          </a:xfrm>
        </p:grpSpPr>
        <p:sp>
          <p:nvSpPr>
            <p:cNvPr id="83" name="Arrow: Pentagon 82">
              <a:extLst>
                <a:ext uri="{FF2B5EF4-FFF2-40B4-BE49-F238E27FC236}">
                  <a16:creationId xmlns:a16="http://schemas.microsoft.com/office/drawing/2014/main" id="{31DC89C3-EBF9-4C77-9E76-59D9012F85DE}"/>
                </a:ext>
              </a:extLst>
            </p:cNvPr>
            <p:cNvSpPr/>
            <p:nvPr/>
          </p:nvSpPr>
          <p:spPr bwMode="auto">
            <a:xfrm>
              <a:off x="3838242" y="3008840"/>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85" name="Cylinder 84">
              <a:extLst>
                <a:ext uri="{FF2B5EF4-FFF2-40B4-BE49-F238E27FC236}">
                  <a16:creationId xmlns:a16="http://schemas.microsoft.com/office/drawing/2014/main" id="{9CB98F5B-103E-45B5-B544-A9D352BFC2B1}"/>
                </a:ext>
              </a:extLst>
            </p:cNvPr>
            <p:cNvSpPr/>
            <p:nvPr/>
          </p:nvSpPr>
          <p:spPr bwMode="auto">
            <a:xfrm>
              <a:off x="1326842" y="3747716"/>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Arrow: Pentagon 85">
              <a:extLst>
                <a:ext uri="{FF2B5EF4-FFF2-40B4-BE49-F238E27FC236}">
                  <a16:creationId xmlns:a16="http://schemas.microsoft.com/office/drawing/2014/main" id="{F75B5192-B67F-418A-B860-4E31BB1ABBC1}"/>
                </a:ext>
              </a:extLst>
            </p:cNvPr>
            <p:cNvSpPr/>
            <p:nvPr/>
          </p:nvSpPr>
          <p:spPr bwMode="auto">
            <a:xfrm>
              <a:off x="9109145" y="3000695"/>
              <a:ext cx="54534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Cylinder 86">
              <a:extLst>
                <a:ext uri="{FF2B5EF4-FFF2-40B4-BE49-F238E27FC236}">
                  <a16:creationId xmlns:a16="http://schemas.microsoft.com/office/drawing/2014/main" id="{63228507-B804-4A29-A289-006E2721F9D8}"/>
                </a:ext>
              </a:extLst>
            </p:cNvPr>
            <p:cNvSpPr/>
            <p:nvPr/>
          </p:nvSpPr>
          <p:spPr bwMode="auto">
            <a:xfrm>
              <a:off x="1326842" y="3443504"/>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Arrow: Pentagon 87">
              <a:extLst>
                <a:ext uri="{FF2B5EF4-FFF2-40B4-BE49-F238E27FC236}">
                  <a16:creationId xmlns:a16="http://schemas.microsoft.com/office/drawing/2014/main" id="{48736BD6-7501-4843-8AD0-7F8A4BCF06D0}"/>
                </a:ext>
              </a:extLst>
            </p:cNvPr>
            <p:cNvSpPr/>
            <p:nvPr/>
          </p:nvSpPr>
          <p:spPr bwMode="auto">
            <a:xfrm>
              <a:off x="2501379" y="3004946"/>
              <a:ext cx="2064146"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89" name="Text Placeholder 1">
              <a:extLst>
                <a:ext uri="{FF2B5EF4-FFF2-40B4-BE49-F238E27FC236}">
                  <a16:creationId xmlns:a16="http://schemas.microsoft.com/office/drawing/2014/main" id="{2B9192D5-77D2-436D-BCC2-DCD297AC50A4}"/>
                </a:ext>
              </a:extLst>
            </p:cNvPr>
            <p:cNvSpPr txBox="1">
              <a:spLocks/>
            </p:cNvSpPr>
            <p:nvPr/>
          </p:nvSpPr>
          <p:spPr>
            <a:xfrm>
              <a:off x="7580384" y="4133898"/>
              <a:ext cx="1419341"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nriched Documents</a:t>
              </a:r>
            </a:p>
          </p:txBody>
        </p:sp>
        <p:sp>
          <p:nvSpPr>
            <p:cNvPr id="90" name="Text Placeholder 1">
              <a:extLst>
                <a:ext uri="{FF2B5EF4-FFF2-40B4-BE49-F238E27FC236}">
                  <a16:creationId xmlns:a16="http://schemas.microsoft.com/office/drawing/2014/main" id="{1F6D61E2-FFDB-42D3-A9FD-DBCE8DEA30D9}"/>
                </a:ext>
              </a:extLst>
            </p:cNvPr>
            <p:cNvSpPr txBox="1">
              <a:spLocks/>
            </p:cNvSpPr>
            <p:nvPr/>
          </p:nvSpPr>
          <p:spPr>
            <a:xfrm>
              <a:off x="1062795" y="4133898"/>
              <a:ext cx="1419340"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ource</a:t>
              </a:r>
              <a:b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91" name="Cylinder 90">
              <a:extLst>
                <a:ext uri="{FF2B5EF4-FFF2-40B4-BE49-F238E27FC236}">
                  <a16:creationId xmlns:a16="http://schemas.microsoft.com/office/drawing/2014/main" id="{FA1B4289-A343-4D59-80E9-C44501CEF818}"/>
                </a:ext>
              </a:extLst>
            </p:cNvPr>
            <p:cNvSpPr/>
            <p:nvPr/>
          </p:nvSpPr>
          <p:spPr bwMode="auto">
            <a:xfrm>
              <a:off x="1324253" y="3136520"/>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F164D707-D6B3-4E9F-9497-9FB42BD9930B}"/>
                </a:ext>
              </a:extLst>
            </p:cNvPr>
            <p:cNvGrpSpPr/>
            <p:nvPr/>
          </p:nvGrpSpPr>
          <p:grpSpPr>
            <a:xfrm>
              <a:off x="5126944" y="1841680"/>
              <a:ext cx="1911810" cy="1074408"/>
              <a:chOff x="4238413" y="1170179"/>
              <a:chExt cx="1950146" cy="1095952"/>
            </a:xfrm>
          </p:grpSpPr>
          <p:grpSp>
            <p:nvGrpSpPr>
              <p:cNvPr id="134" name="Group 133">
                <a:extLst>
                  <a:ext uri="{FF2B5EF4-FFF2-40B4-BE49-F238E27FC236}">
                    <a16:creationId xmlns:a16="http://schemas.microsoft.com/office/drawing/2014/main" id="{EEAAD573-596A-495B-AF33-9257CC9A8FDC}"/>
                  </a:ext>
                </a:extLst>
              </p:cNvPr>
              <p:cNvGrpSpPr/>
              <p:nvPr/>
            </p:nvGrpSpPr>
            <p:grpSpPr>
              <a:xfrm>
                <a:off x="4512159" y="1170179"/>
                <a:ext cx="1676400" cy="890539"/>
                <a:chOff x="4160837" y="1350919"/>
                <a:chExt cx="1676400" cy="890539"/>
              </a:xfrm>
              <a:solidFill>
                <a:srgbClr val="004B50">
                  <a:alpha val="62000"/>
                </a:srgbClr>
              </a:solidFill>
            </p:grpSpPr>
            <p:sp>
              <p:nvSpPr>
                <p:cNvPr id="165" name="Rectangle: Rounded Corners 164">
                  <a:extLst>
                    <a:ext uri="{FF2B5EF4-FFF2-40B4-BE49-F238E27FC236}">
                      <a16:creationId xmlns:a16="http://schemas.microsoft.com/office/drawing/2014/main" id="{2CD330DD-6AC9-4158-B104-1FCC71FDB87E}"/>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a:extLst>
                    <a:ext uri="{FF2B5EF4-FFF2-40B4-BE49-F238E27FC236}">
                      <a16:creationId xmlns:a16="http://schemas.microsoft.com/office/drawing/2014/main" id="{62C4B350-34C3-4025-9FF4-802F5F7D302B}"/>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Connector 166">
                  <a:extLst>
                    <a:ext uri="{FF2B5EF4-FFF2-40B4-BE49-F238E27FC236}">
                      <a16:creationId xmlns:a16="http://schemas.microsoft.com/office/drawing/2014/main" id="{9B154801-441A-42E6-8FDC-5EDD9764C193}"/>
                    </a:ext>
                  </a:extLst>
                </p:cNvPr>
                <p:cNvCxnSpPr>
                  <a:cxnSpLocks/>
                  <a:stCxn id="166" idx="0"/>
                  <a:endCxn id="165"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37" name="Group 136">
                <a:extLst>
                  <a:ext uri="{FF2B5EF4-FFF2-40B4-BE49-F238E27FC236}">
                    <a16:creationId xmlns:a16="http://schemas.microsoft.com/office/drawing/2014/main" id="{44B9B9DF-C9EE-4AB0-8D2E-34C97785CC7C}"/>
                  </a:ext>
                </a:extLst>
              </p:cNvPr>
              <p:cNvGrpSpPr/>
              <p:nvPr/>
            </p:nvGrpSpPr>
            <p:grpSpPr>
              <a:xfrm>
                <a:off x="4375286" y="1266756"/>
                <a:ext cx="1676400" cy="890539"/>
                <a:chOff x="4160837" y="1350919"/>
                <a:chExt cx="1676400" cy="890539"/>
              </a:xfrm>
              <a:solidFill>
                <a:srgbClr val="0070C0">
                  <a:alpha val="62000"/>
                </a:srgbClr>
              </a:solidFill>
            </p:grpSpPr>
            <p:sp>
              <p:nvSpPr>
                <p:cNvPr id="161" name="Rectangle: Rounded Corners 160">
                  <a:extLst>
                    <a:ext uri="{FF2B5EF4-FFF2-40B4-BE49-F238E27FC236}">
                      <a16:creationId xmlns:a16="http://schemas.microsoft.com/office/drawing/2014/main" id="{10C04FFE-D4FB-4046-A5CC-4D06EA20B221}"/>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6C0637FE-2496-412C-8765-7FD07623FA59}"/>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Connector 163">
                  <a:extLst>
                    <a:ext uri="{FF2B5EF4-FFF2-40B4-BE49-F238E27FC236}">
                      <a16:creationId xmlns:a16="http://schemas.microsoft.com/office/drawing/2014/main" id="{F9805636-1D65-40C8-A41D-5FA81B76A976}"/>
                    </a:ext>
                  </a:extLst>
                </p:cNvPr>
                <p:cNvCxnSpPr>
                  <a:cxnSpLocks/>
                  <a:stCxn id="163" idx="0"/>
                  <a:endCxn id="161"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42" name="Group 141">
                <a:extLst>
                  <a:ext uri="{FF2B5EF4-FFF2-40B4-BE49-F238E27FC236}">
                    <a16:creationId xmlns:a16="http://schemas.microsoft.com/office/drawing/2014/main" id="{DC2AE8C4-C573-4431-8D78-EC96BB9A6771}"/>
                  </a:ext>
                </a:extLst>
              </p:cNvPr>
              <p:cNvGrpSpPr/>
              <p:nvPr/>
            </p:nvGrpSpPr>
            <p:grpSpPr>
              <a:xfrm>
                <a:off x="4238413" y="1375592"/>
                <a:ext cx="1676400" cy="890539"/>
                <a:chOff x="4160837" y="1350919"/>
                <a:chExt cx="1676400" cy="890539"/>
              </a:xfrm>
            </p:grpSpPr>
            <p:sp>
              <p:nvSpPr>
                <p:cNvPr id="143" name="Rectangle: Rounded Corners 142">
                  <a:extLst>
                    <a:ext uri="{FF2B5EF4-FFF2-40B4-BE49-F238E27FC236}">
                      <a16:creationId xmlns:a16="http://schemas.microsoft.com/office/drawing/2014/main" id="{6F3FC3C7-6A54-436E-A229-242025268A7F}"/>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146" name="Oval 145">
                  <a:extLst>
                    <a:ext uri="{FF2B5EF4-FFF2-40B4-BE49-F238E27FC236}">
                      <a16:creationId xmlns:a16="http://schemas.microsoft.com/office/drawing/2014/main" id="{F64D14B4-4AD2-4D4E-ACD9-E51FE2AE9CCC}"/>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A75D5BA5-9754-4CA6-8AF1-31D16CD9411A}"/>
                    </a:ext>
                  </a:extLst>
                </p:cNvPr>
                <p:cNvCxnSpPr>
                  <a:cxnSpLocks/>
                  <a:stCxn id="146" idx="0"/>
                  <a:endCxn id="143"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pic>
          <p:nvPicPr>
            <p:cNvPr id="100" name="Picture 99">
              <a:extLst>
                <a:ext uri="{FF2B5EF4-FFF2-40B4-BE49-F238E27FC236}">
                  <a16:creationId xmlns:a16="http://schemas.microsoft.com/office/drawing/2014/main" id="{348B59A7-4C04-4D1F-8235-804CA77C99C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2400" b="88800" l="4202" r="94118">
                          <a14:foregroundMark x1="5042" y1="42400" x2="8403" y2="48800"/>
                          <a14:foregroundMark x1="50420" y1="13600" x2="63866" y2="8000"/>
                          <a14:foregroundMark x1="89076" y1="48800" x2="90756" y2="40000"/>
                          <a14:foregroundMark x1="94118" y1="48800" x2="94118" y2="42400"/>
                          <a14:foregroundMark x1="59664" y1="8000" x2="57983" y2="2400"/>
                          <a14:foregroundMark x1="18487" y1="80000" x2="15966" y2="88800"/>
                        </a14:backgroundRemoval>
                      </a14:imgEffect>
                    </a14:imgLayer>
                  </a14:imgProps>
                </a:ext>
              </a:extLst>
            </a:blip>
            <a:stretch>
              <a:fillRect/>
            </a:stretch>
          </p:blipFill>
          <p:spPr>
            <a:xfrm>
              <a:off x="10558656" y="3015199"/>
              <a:ext cx="1062700" cy="1116281"/>
            </a:xfrm>
            <a:prstGeom prst="rect">
              <a:avLst/>
            </a:prstGeom>
          </p:spPr>
        </p:pic>
        <p:sp>
          <p:nvSpPr>
            <p:cNvPr id="101" name="Text Placeholder 1">
              <a:extLst>
                <a:ext uri="{FF2B5EF4-FFF2-40B4-BE49-F238E27FC236}">
                  <a16:creationId xmlns:a16="http://schemas.microsoft.com/office/drawing/2014/main" id="{D203393D-1D61-4BD5-A629-CACA825A768B}"/>
                </a:ext>
              </a:extLst>
            </p:cNvPr>
            <p:cNvSpPr txBox="1">
              <a:spLocks/>
            </p:cNvSpPr>
            <p:nvPr/>
          </p:nvSpPr>
          <p:spPr>
            <a:xfrm>
              <a:off x="10466693" y="4133898"/>
              <a:ext cx="1297182" cy="249620"/>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 Index</a:t>
              </a:r>
            </a:p>
          </p:txBody>
        </p:sp>
        <p:grpSp>
          <p:nvGrpSpPr>
            <p:cNvPr id="103" name="Group 102">
              <a:extLst>
                <a:ext uri="{FF2B5EF4-FFF2-40B4-BE49-F238E27FC236}">
                  <a16:creationId xmlns:a16="http://schemas.microsoft.com/office/drawing/2014/main" id="{EBFBE676-1F18-42B2-AFED-5902AB5461C8}"/>
                </a:ext>
              </a:extLst>
            </p:cNvPr>
            <p:cNvGrpSpPr/>
            <p:nvPr/>
          </p:nvGrpSpPr>
          <p:grpSpPr>
            <a:xfrm>
              <a:off x="7993688" y="3190875"/>
              <a:ext cx="628165" cy="671581"/>
              <a:chOff x="7599285" y="1947047"/>
              <a:chExt cx="1137344" cy="1035689"/>
            </a:xfrm>
          </p:grpSpPr>
          <p:sp>
            <p:nvSpPr>
              <p:cNvPr id="114" name="Rectangle 113">
                <a:extLst>
                  <a:ext uri="{FF2B5EF4-FFF2-40B4-BE49-F238E27FC236}">
                    <a16:creationId xmlns:a16="http://schemas.microsoft.com/office/drawing/2014/main" id="{89CC3093-1BB2-4770-B9E4-2944F576CBF2}"/>
                  </a:ext>
                </a:extLst>
              </p:cNvPr>
              <p:cNvSpPr/>
              <p:nvPr/>
            </p:nvSpPr>
            <p:spPr bwMode="auto">
              <a:xfrm>
                <a:off x="7599285" y="194843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5" name="Straight Connector 114">
                <a:extLst>
                  <a:ext uri="{FF2B5EF4-FFF2-40B4-BE49-F238E27FC236}">
                    <a16:creationId xmlns:a16="http://schemas.microsoft.com/office/drawing/2014/main" id="{19242DB1-8C6C-4986-922C-5DCC8E985F75}"/>
                  </a:ext>
                </a:extLst>
              </p:cNvPr>
              <p:cNvCxnSpPr>
                <a:cxnSpLocks/>
              </p:cNvCxnSpPr>
              <p:nvPr/>
            </p:nvCxnSpPr>
            <p:spPr>
              <a:xfrm>
                <a:off x="7690571" y="2131315"/>
                <a:ext cx="0" cy="19063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8" name="Straight Connector 117">
                <a:extLst>
                  <a:ext uri="{FF2B5EF4-FFF2-40B4-BE49-F238E27FC236}">
                    <a16:creationId xmlns:a16="http://schemas.microsoft.com/office/drawing/2014/main" id="{DEA3D03F-6978-4F12-97C2-70F6218A88A4}"/>
                  </a:ext>
                </a:extLst>
              </p:cNvPr>
              <p:cNvCxnSpPr>
                <a:cxnSpLocks/>
              </p:cNvCxnSpPr>
              <p:nvPr/>
            </p:nvCxnSpPr>
            <p:spPr>
              <a:xfrm>
                <a:off x="7691829" y="2321945"/>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9" name="Rectangle 118">
                <a:extLst>
                  <a:ext uri="{FF2B5EF4-FFF2-40B4-BE49-F238E27FC236}">
                    <a16:creationId xmlns:a16="http://schemas.microsoft.com/office/drawing/2014/main" id="{A1FE7182-76A0-49FE-B954-9C2BC918D763}"/>
                  </a:ext>
                </a:extLst>
              </p:cNvPr>
              <p:cNvSpPr/>
              <p:nvPr/>
            </p:nvSpPr>
            <p:spPr bwMode="auto">
              <a:xfrm>
                <a:off x="7883747" y="223050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Connector 119">
                <a:extLst>
                  <a:ext uri="{FF2B5EF4-FFF2-40B4-BE49-F238E27FC236}">
                    <a16:creationId xmlns:a16="http://schemas.microsoft.com/office/drawing/2014/main" id="{9659503A-597F-488C-A2E1-B82F803DECE5}"/>
                  </a:ext>
                </a:extLst>
              </p:cNvPr>
              <p:cNvCxnSpPr>
                <a:cxnSpLocks/>
              </p:cNvCxnSpPr>
              <p:nvPr/>
            </p:nvCxnSpPr>
            <p:spPr>
              <a:xfrm>
                <a:off x="7691520" y="2314195"/>
                <a:ext cx="0" cy="278928"/>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1" name="Straight Connector 120">
                <a:extLst>
                  <a:ext uri="{FF2B5EF4-FFF2-40B4-BE49-F238E27FC236}">
                    <a16:creationId xmlns:a16="http://schemas.microsoft.com/office/drawing/2014/main" id="{A5CB34EC-DF5F-4309-90A1-606F76A5F477}"/>
                  </a:ext>
                </a:extLst>
              </p:cNvPr>
              <p:cNvCxnSpPr>
                <a:cxnSpLocks/>
              </p:cNvCxnSpPr>
              <p:nvPr/>
            </p:nvCxnSpPr>
            <p:spPr>
              <a:xfrm>
                <a:off x="7692624" y="2593123"/>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2" name="Rectangle 121">
                <a:extLst>
                  <a:ext uri="{FF2B5EF4-FFF2-40B4-BE49-F238E27FC236}">
                    <a16:creationId xmlns:a16="http://schemas.microsoft.com/office/drawing/2014/main" id="{C02E3682-AD70-487A-8FB8-A1F8ED0F15C1}"/>
                  </a:ext>
                </a:extLst>
              </p:cNvPr>
              <p:cNvSpPr/>
              <p:nvPr/>
            </p:nvSpPr>
            <p:spPr bwMode="auto">
              <a:xfrm>
                <a:off x="7884542" y="2501683"/>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103F236B-8443-4895-A880-E343089E0364}"/>
                  </a:ext>
                </a:extLst>
              </p:cNvPr>
              <p:cNvCxnSpPr>
                <a:cxnSpLocks/>
              </p:cNvCxnSpPr>
              <p:nvPr/>
            </p:nvCxnSpPr>
            <p:spPr>
              <a:xfrm>
                <a:off x="7988235" y="2688568"/>
                <a:ext cx="1104" cy="202728"/>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4" name="Straight Connector 123">
                <a:extLst>
                  <a:ext uri="{FF2B5EF4-FFF2-40B4-BE49-F238E27FC236}">
                    <a16:creationId xmlns:a16="http://schemas.microsoft.com/office/drawing/2014/main" id="{BAD02C91-0633-46EF-AF1E-06830C69C808}"/>
                  </a:ext>
                </a:extLst>
              </p:cNvPr>
              <p:cNvCxnSpPr>
                <a:cxnSpLocks/>
              </p:cNvCxnSpPr>
              <p:nvPr/>
            </p:nvCxnSpPr>
            <p:spPr>
              <a:xfrm>
                <a:off x="7989339" y="2891296"/>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5" name="Rectangle 124">
                <a:extLst>
                  <a:ext uri="{FF2B5EF4-FFF2-40B4-BE49-F238E27FC236}">
                    <a16:creationId xmlns:a16="http://schemas.microsoft.com/office/drawing/2014/main" id="{4F05C0D8-8D77-446D-B1B2-9DFB3B1AB39D}"/>
                  </a:ext>
                </a:extLst>
              </p:cNvPr>
              <p:cNvSpPr/>
              <p:nvPr/>
            </p:nvSpPr>
            <p:spPr bwMode="auto">
              <a:xfrm>
                <a:off x="8181257" y="2799856"/>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6" name="Straight Connector 125">
                <a:extLst>
                  <a:ext uri="{FF2B5EF4-FFF2-40B4-BE49-F238E27FC236}">
                    <a16:creationId xmlns:a16="http://schemas.microsoft.com/office/drawing/2014/main" id="{14234F9A-F787-4403-8095-BEFFBB003E06}"/>
                  </a:ext>
                </a:extLst>
              </p:cNvPr>
              <p:cNvCxnSpPr>
                <a:cxnSpLocks/>
              </p:cNvCxnSpPr>
              <p:nvPr/>
            </p:nvCxnSpPr>
            <p:spPr>
              <a:xfrm>
                <a:off x="8066935" y="2321945"/>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7" name="Rectangle 126">
                <a:extLst>
                  <a:ext uri="{FF2B5EF4-FFF2-40B4-BE49-F238E27FC236}">
                    <a16:creationId xmlns:a16="http://schemas.microsoft.com/office/drawing/2014/main" id="{3E78C046-B77E-4394-B273-B6AB3781FEF8}"/>
                  </a:ext>
                </a:extLst>
              </p:cNvPr>
              <p:cNvSpPr/>
              <p:nvPr/>
            </p:nvSpPr>
            <p:spPr bwMode="auto">
              <a:xfrm>
                <a:off x="8258853" y="223050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15D7BDF2-7529-49A3-BF6C-C5EE841695C1}"/>
                  </a:ext>
                </a:extLst>
              </p:cNvPr>
              <p:cNvCxnSpPr>
                <a:cxnSpLocks/>
              </p:cNvCxnSpPr>
              <p:nvPr/>
            </p:nvCxnSpPr>
            <p:spPr>
              <a:xfrm>
                <a:off x="8350293" y="2429848"/>
                <a:ext cx="0" cy="19063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9" name="Straight Connector 128">
                <a:extLst>
                  <a:ext uri="{FF2B5EF4-FFF2-40B4-BE49-F238E27FC236}">
                    <a16:creationId xmlns:a16="http://schemas.microsoft.com/office/drawing/2014/main" id="{577F7689-5A5E-4A76-9C82-BF5A187C87A9}"/>
                  </a:ext>
                </a:extLst>
              </p:cNvPr>
              <p:cNvCxnSpPr>
                <a:cxnSpLocks/>
              </p:cNvCxnSpPr>
              <p:nvPr/>
            </p:nvCxnSpPr>
            <p:spPr>
              <a:xfrm>
                <a:off x="8348009" y="2620478"/>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0" name="Rectangle 129">
                <a:extLst>
                  <a:ext uri="{FF2B5EF4-FFF2-40B4-BE49-F238E27FC236}">
                    <a16:creationId xmlns:a16="http://schemas.microsoft.com/office/drawing/2014/main" id="{252DBC85-5AD6-4671-9E19-FD98C819512E}"/>
                  </a:ext>
                </a:extLst>
              </p:cNvPr>
              <p:cNvSpPr/>
              <p:nvPr/>
            </p:nvSpPr>
            <p:spPr bwMode="auto">
              <a:xfrm>
                <a:off x="8539927" y="2529038"/>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1" name="Straight Connector 130">
                <a:extLst>
                  <a:ext uri="{FF2B5EF4-FFF2-40B4-BE49-F238E27FC236}">
                    <a16:creationId xmlns:a16="http://schemas.microsoft.com/office/drawing/2014/main" id="{DDB58D98-CB4C-467D-86E2-452823FEDB7D}"/>
                  </a:ext>
                </a:extLst>
              </p:cNvPr>
              <p:cNvCxnSpPr>
                <a:cxnSpLocks/>
              </p:cNvCxnSpPr>
              <p:nvPr/>
            </p:nvCxnSpPr>
            <p:spPr>
              <a:xfrm>
                <a:off x="8361831" y="2038487"/>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2" name="Rectangle 131">
                <a:extLst>
                  <a:ext uri="{FF2B5EF4-FFF2-40B4-BE49-F238E27FC236}">
                    <a16:creationId xmlns:a16="http://schemas.microsoft.com/office/drawing/2014/main" id="{36F0CECB-4A88-4BF1-A686-19F86E651030}"/>
                  </a:ext>
                </a:extLst>
              </p:cNvPr>
              <p:cNvSpPr/>
              <p:nvPr/>
            </p:nvSpPr>
            <p:spPr bwMode="auto">
              <a:xfrm>
                <a:off x="8553749" y="1947047"/>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05ACCE22-E239-40E5-8B86-C0D369BA0F76}"/>
                  </a:ext>
                </a:extLst>
              </p:cNvPr>
              <p:cNvCxnSpPr>
                <a:cxnSpLocks/>
              </p:cNvCxnSpPr>
              <p:nvPr/>
            </p:nvCxnSpPr>
            <p:spPr>
              <a:xfrm>
                <a:off x="8350293" y="2038487"/>
                <a:ext cx="0" cy="185751"/>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9" name="Title 1">
            <a:extLst>
              <a:ext uri="{FF2B5EF4-FFF2-40B4-BE49-F238E27FC236}">
                <a16:creationId xmlns:a16="http://schemas.microsoft.com/office/drawing/2014/main" id="{7DCF6D34-2208-4221-9868-8346ACCCEA74}"/>
              </a:ext>
            </a:extLst>
          </p:cNvPr>
          <p:cNvSpPr>
            <a:spLocks noGrp="1"/>
          </p:cNvSpPr>
          <p:nvPr>
            <p:ph type="title"/>
          </p:nvPr>
        </p:nvSpPr>
        <p:spPr>
          <a:xfrm>
            <a:off x="588263" y="457200"/>
            <a:ext cx="11018520" cy="553998"/>
          </a:xfrm>
        </p:spPr>
        <p:txBody>
          <a:bodyPr/>
          <a:lstStyle/>
          <a:p>
            <a:r>
              <a:rPr lang="en-US" dirty="0"/>
              <a:t>Knowledge Store</a:t>
            </a:r>
            <a:endParaRPr lang="en-US"/>
          </a:p>
        </p:txBody>
      </p:sp>
    </p:spTree>
    <p:extLst>
      <p:ext uri="{BB962C8B-B14F-4D97-AF65-F5344CB8AC3E}">
        <p14:creationId xmlns:p14="http://schemas.microsoft.com/office/powerpoint/2010/main" val="8458894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EE9A4-DF0A-93AB-CD4E-0C23652157CD}"/>
              </a:ext>
            </a:extLst>
          </p:cNvPr>
          <p:cNvSpPr>
            <a:spLocks noGrp="1"/>
          </p:cNvSpPr>
          <p:nvPr>
            <p:ph type="title"/>
          </p:nvPr>
        </p:nvSpPr>
        <p:spPr/>
        <p:txBody>
          <a:bodyPr/>
          <a:lstStyle/>
          <a:p>
            <a:r>
              <a:rPr lang="en-US" dirty="0"/>
              <a:t>Knowledge Store Projection Types</a:t>
            </a:r>
          </a:p>
        </p:txBody>
      </p:sp>
      <p:graphicFrame>
        <p:nvGraphicFramePr>
          <p:cNvPr id="3" name="Table 2">
            <a:extLst>
              <a:ext uri="{FF2B5EF4-FFF2-40B4-BE49-F238E27FC236}">
                <a16:creationId xmlns:a16="http://schemas.microsoft.com/office/drawing/2014/main" id="{D3EDAA2B-CD6B-31C2-51B5-1F55E55E2869}"/>
              </a:ext>
            </a:extLst>
          </p:cNvPr>
          <p:cNvGraphicFramePr>
            <a:graphicFrameLocks noGrp="1"/>
          </p:cNvGraphicFramePr>
          <p:nvPr>
            <p:extLst>
              <p:ext uri="{D42A27DB-BD31-4B8C-83A1-F6EECF244321}">
                <p14:modId xmlns:p14="http://schemas.microsoft.com/office/powerpoint/2010/main" val="783792293"/>
              </p:ext>
            </p:extLst>
          </p:nvPr>
        </p:nvGraphicFramePr>
        <p:xfrm>
          <a:off x="586740" y="1197011"/>
          <a:ext cx="11018520" cy="4830078"/>
        </p:xfrm>
        <a:graphic>
          <a:graphicData uri="http://schemas.openxmlformats.org/drawingml/2006/table">
            <a:tbl>
              <a:tblPr firstRow="1" bandRow="1">
                <a:tableStyleId>{5C22544A-7EE6-4342-B048-85BDC9FD1C3A}</a:tableStyleId>
              </a:tblPr>
              <a:tblGrid>
                <a:gridCol w="1540234">
                  <a:extLst>
                    <a:ext uri="{9D8B030D-6E8A-4147-A177-3AD203B41FA5}">
                      <a16:colId xmlns:a16="http://schemas.microsoft.com/office/drawing/2014/main" val="2763546134"/>
                    </a:ext>
                  </a:extLst>
                </a:gridCol>
                <a:gridCol w="2540442">
                  <a:extLst>
                    <a:ext uri="{9D8B030D-6E8A-4147-A177-3AD203B41FA5}">
                      <a16:colId xmlns:a16="http://schemas.microsoft.com/office/drawing/2014/main" val="2816260806"/>
                    </a:ext>
                  </a:extLst>
                </a:gridCol>
                <a:gridCol w="6937844">
                  <a:extLst>
                    <a:ext uri="{9D8B030D-6E8A-4147-A177-3AD203B41FA5}">
                      <a16:colId xmlns:a16="http://schemas.microsoft.com/office/drawing/2014/main" val="2784589731"/>
                    </a:ext>
                  </a:extLst>
                </a:gridCol>
              </a:tblGrid>
              <a:tr h="423383">
                <a:tc>
                  <a:txBody>
                    <a:bodyPr/>
                    <a:lstStyle/>
                    <a:p>
                      <a:pPr algn="l" fontAlgn="t"/>
                      <a:r>
                        <a:rPr lang="en-US" sz="1800">
                          <a:effectLst/>
                        </a:rPr>
                        <a:t>Projection</a:t>
                      </a:r>
                    </a:p>
                  </a:txBody>
                  <a:tcPr marL="7754" marR="7754" marT="3877" marB="3877"/>
                </a:tc>
                <a:tc>
                  <a:txBody>
                    <a:bodyPr/>
                    <a:lstStyle/>
                    <a:p>
                      <a:pPr algn="l" fontAlgn="t"/>
                      <a:r>
                        <a:rPr lang="en-US" sz="1800">
                          <a:effectLst/>
                        </a:rPr>
                        <a:t>Storage</a:t>
                      </a:r>
                    </a:p>
                  </a:txBody>
                  <a:tcPr marL="7754" marR="7754" marT="3877" marB="3877"/>
                </a:tc>
                <a:tc>
                  <a:txBody>
                    <a:bodyPr/>
                    <a:lstStyle/>
                    <a:p>
                      <a:pPr algn="l" fontAlgn="t"/>
                      <a:r>
                        <a:rPr lang="en-US" sz="1800">
                          <a:effectLst/>
                        </a:rPr>
                        <a:t>Usage</a:t>
                      </a:r>
                    </a:p>
                  </a:txBody>
                  <a:tcPr marL="7754" marR="7754" marT="3877" marB="3877"/>
                </a:tc>
                <a:extLst>
                  <a:ext uri="{0D108BD9-81ED-4DB2-BD59-A6C34878D82A}">
                    <a16:rowId xmlns:a16="http://schemas.microsoft.com/office/drawing/2014/main" val="726858726"/>
                  </a:ext>
                </a:extLst>
              </a:tr>
              <a:tr h="2541156">
                <a:tc>
                  <a:txBody>
                    <a:bodyPr/>
                    <a:lstStyle/>
                    <a:p>
                      <a:pPr algn="l" fontAlgn="t"/>
                      <a:r>
                        <a:rPr lang="en-US" sz="1800" u="none" strike="noStrike" dirty="0">
                          <a:effectLst/>
                          <a:hlinkClick r:id="rId2"/>
                        </a:rPr>
                        <a:t>Tables</a:t>
                      </a:r>
                      <a:endParaRPr lang="en-US" sz="1800" dirty="0">
                        <a:effectLst/>
                      </a:endParaRPr>
                    </a:p>
                  </a:txBody>
                  <a:tcPr marL="7754" marR="7754" marT="3877" marB="3877" anchor="ctr"/>
                </a:tc>
                <a:tc>
                  <a:txBody>
                    <a:bodyPr/>
                    <a:lstStyle/>
                    <a:p>
                      <a:pPr algn="l" fontAlgn="t"/>
                      <a:r>
                        <a:rPr lang="en-US" sz="1800" dirty="0">
                          <a:effectLst/>
                        </a:rPr>
                        <a:t>Azure Table Storage</a:t>
                      </a:r>
                    </a:p>
                  </a:txBody>
                  <a:tcPr marL="7754" marR="7754" marT="3877" marB="3877" anchor="ctr"/>
                </a:tc>
                <a:tc>
                  <a:txBody>
                    <a:bodyPr/>
                    <a:lstStyle/>
                    <a:p>
                      <a:pPr algn="l" fontAlgn="t"/>
                      <a:r>
                        <a:rPr lang="en-US" sz="1800">
                          <a:effectLst/>
                        </a:rPr>
                        <a:t>Used for data that's best represented as rows and columns, or whenever you need granular representations of your data (for example, as data frames). Table projections allow you to define a schematized shape, using a </a:t>
                      </a:r>
                      <a:r>
                        <a:rPr lang="en-US" sz="1800" u="none" strike="noStrike">
                          <a:effectLst/>
                          <a:hlinkClick r:id="rId3"/>
                        </a:rPr>
                        <a:t>Shaper skill or use inline shaping</a:t>
                      </a:r>
                      <a:r>
                        <a:rPr lang="en-US" sz="1800">
                          <a:effectLst/>
                        </a:rPr>
                        <a:t> to specify columns and rows. You can organize content into multiple tables based on familiar normalization principles. Tables that are in the same group are automatically related.</a:t>
                      </a:r>
                    </a:p>
                  </a:txBody>
                  <a:tcPr marL="7754" marR="7754" marT="3877" marB="3877" anchor="ctr"/>
                </a:tc>
                <a:extLst>
                  <a:ext uri="{0D108BD9-81ED-4DB2-BD59-A6C34878D82A}">
                    <a16:rowId xmlns:a16="http://schemas.microsoft.com/office/drawing/2014/main" val="2288330063"/>
                  </a:ext>
                </a:extLst>
              </a:tr>
              <a:tr h="1442156">
                <a:tc>
                  <a:txBody>
                    <a:bodyPr/>
                    <a:lstStyle/>
                    <a:p>
                      <a:pPr algn="l" fontAlgn="t"/>
                      <a:r>
                        <a:rPr lang="en-US" sz="1800" u="none" strike="noStrike">
                          <a:effectLst/>
                          <a:hlinkClick r:id="rId4"/>
                        </a:rPr>
                        <a:t>Objects</a:t>
                      </a:r>
                      <a:endParaRPr lang="en-US" sz="1800">
                        <a:effectLst/>
                      </a:endParaRPr>
                    </a:p>
                  </a:txBody>
                  <a:tcPr marL="7754" marR="7754" marT="3877" marB="3877" anchor="ctr"/>
                </a:tc>
                <a:tc>
                  <a:txBody>
                    <a:bodyPr/>
                    <a:lstStyle/>
                    <a:p>
                      <a:pPr algn="l" fontAlgn="t"/>
                      <a:r>
                        <a:rPr lang="en-US" sz="1800">
                          <a:effectLst/>
                        </a:rPr>
                        <a:t>Azure Blob Storage</a:t>
                      </a:r>
                    </a:p>
                  </a:txBody>
                  <a:tcPr marL="7754" marR="7754" marT="3877" marB="3877" anchor="ctr"/>
                </a:tc>
                <a:tc>
                  <a:txBody>
                    <a:bodyPr/>
                    <a:lstStyle/>
                    <a:p>
                      <a:pPr algn="l" fontAlgn="t"/>
                      <a:r>
                        <a:rPr lang="en-US" sz="1800" dirty="0">
                          <a:effectLst/>
                        </a:rPr>
                        <a:t>Used when you need the full JSON representation of your data and enrichments in one JSON document. As with table projections, only valid JSON objects can be projected as objects, and shaping can help you do that.</a:t>
                      </a:r>
                    </a:p>
                  </a:txBody>
                  <a:tcPr marL="7754" marR="7754" marT="3877" marB="3877" anchor="ctr"/>
                </a:tc>
                <a:extLst>
                  <a:ext uri="{0D108BD9-81ED-4DB2-BD59-A6C34878D82A}">
                    <a16:rowId xmlns:a16="http://schemas.microsoft.com/office/drawing/2014/main" val="4195626609"/>
                  </a:ext>
                </a:extLst>
              </a:tr>
              <a:tr h="423383">
                <a:tc>
                  <a:txBody>
                    <a:bodyPr/>
                    <a:lstStyle/>
                    <a:p>
                      <a:pPr algn="l" fontAlgn="t"/>
                      <a:r>
                        <a:rPr lang="en-US" sz="1800" u="none" strike="noStrike">
                          <a:effectLst/>
                          <a:hlinkClick r:id="rId5"/>
                        </a:rPr>
                        <a:t>Files</a:t>
                      </a:r>
                      <a:endParaRPr lang="en-US" sz="1800">
                        <a:effectLst/>
                      </a:endParaRPr>
                    </a:p>
                  </a:txBody>
                  <a:tcPr marL="7754" marR="7754" marT="3877" marB="3877" anchor="ctr"/>
                </a:tc>
                <a:tc>
                  <a:txBody>
                    <a:bodyPr/>
                    <a:lstStyle/>
                    <a:p>
                      <a:pPr algn="l" fontAlgn="t"/>
                      <a:r>
                        <a:rPr lang="en-US" sz="1800">
                          <a:effectLst/>
                        </a:rPr>
                        <a:t>Azure Blob Storage</a:t>
                      </a:r>
                    </a:p>
                  </a:txBody>
                  <a:tcPr marL="7754" marR="7754" marT="3877" marB="3877" anchor="ctr"/>
                </a:tc>
                <a:tc>
                  <a:txBody>
                    <a:bodyPr/>
                    <a:lstStyle/>
                    <a:p>
                      <a:pPr algn="l" fontAlgn="t"/>
                      <a:r>
                        <a:rPr lang="en-US" sz="1800" dirty="0">
                          <a:effectLst/>
                        </a:rPr>
                        <a:t>Used when you need to save normalized, binary image files.</a:t>
                      </a:r>
                    </a:p>
                  </a:txBody>
                  <a:tcPr marL="7754" marR="7754" marT="3877" marB="3877" anchor="ctr"/>
                </a:tc>
                <a:extLst>
                  <a:ext uri="{0D108BD9-81ED-4DB2-BD59-A6C34878D82A}">
                    <a16:rowId xmlns:a16="http://schemas.microsoft.com/office/drawing/2014/main" val="2581545268"/>
                  </a:ext>
                </a:extLst>
              </a:tr>
            </a:tbl>
          </a:graphicData>
        </a:graphic>
      </p:graphicFrame>
    </p:spTree>
    <p:extLst>
      <p:ext uri="{BB962C8B-B14F-4D97-AF65-F5344CB8AC3E}">
        <p14:creationId xmlns:p14="http://schemas.microsoft.com/office/powerpoint/2010/main" val="322882854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804E37B-30F9-4A5B-BD14-0ABD43EE60F1}"/>
              </a:ext>
            </a:extLst>
          </p:cNvPr>
          <p:cNvSpPr/>
          <p:nvPr/>
        </p:nvSpPr>
        <p:spPr bwMode="auto">
          <a:xfrm>
            <a:off x="5109989" y="4363118"/>
            <a:ext cx="3259945" cy="19112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 Placeholder 1">
            <a:extLst>
              <a:ext uri="{FF2B5EF4-FFF2-40B4-BE49-F238E27FC236}">
                <a16:creationId xmlns:a16="http://schemas.microsoft.com/office/drawing/2014/main" id="{44ED5C95-B159-4B5B-AC14-1EAF4D36C148}"/>
              </a:ext>
            </a:extLst>
          </p:cNvPr>
          <p:cNvSpPr txBox="1">
            <a:spLocks/>
          </p:cNvSpPr>
          <p:nvPr/>
        </p:nvSpPr>
        <p:spPr>
          <a:xfrm>
            <a:off x="5210960" y="5841904"/>
            <a:ext cx="1858153" cy="430655"/>
          </a:xfrm>
          <a:prstGeom prst="rect">
            <a:avLst/>
          </a:prstGeom>
        </p:spPr>
        <p:txBody>
          <a:bodyPr vert="horz" wrap="square" lIns="0" tIns="89642" rIns="0"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Knowledge Store</a:t>
            </a:r>
          </a:p>
        </p:txBody>
      </p:sp>
      <p:sp>
        <p:nvSpPr>
          <p:cNvPr id="25" name="Rectangle 24">
            <a:extLst>
              <a:ext uri="{FF2B5EF4-FFF2-40B4-BE49-F238E27FC236}">
                <a16:creationId xmlns:a16="http://schemas.microsoft.com/office/drawing/2014/main" id="{0379F068-7436-4D39-BAF3-4F3D07C37A32}"/>
              </a:ext>
            </a:extLst>
          </p:cNvPr>
          <p:cNvSpPr/>
          <p:nvPr/>
        </p:nvSpPr>
        <p:spPr bwMode="auto">
          <a:xfrm>
            <a:off x="5360035" y="4679878"/>
            <a:ext cx="2788091" cy="11276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Text Placeholder 1">
            <a:extLst>
              <a:ext uri="{FF2B5EF4-FFF2-40B4-BE49-F238E27FC236}">
                <a16:creationId xmlns:a16="http://schemas.microsoft.com/office/drawing/2014/main" id="{145CFF79-8F69-4F19-9411-B483F7E2FE6A}"/>
              </a:ext>
            </a:extLst>
          </p:cNvPr>
          <p:cNvSpPr txBox="1">
            <a:spLocks/>
          </p:cNvSpPr>
          <p:nvPr/>
        </p:nvSpPr>
        <p:spPr>
          <a:xfrm>
            <a:off x="5867491" y="5439781"/>
            <a:ext cx="1858153" cy="430655"/>
          </a:xfrm>
          <a:prstGeom prst="rect">
            <a:avLst/>
          </a:prstGeom>
        </p:spPr>
        <p:txBody>
          <a:bodyPr vert="horz" wrap="square" lIns="0" tIns="89642" rIns="0"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Projections</a:t>
            </a:r>
          </a:p>
        </p:txBody>
      </p:sp>
      <p:grpSp>
        <p:nvGrpSpPr>
          <p:cNvPr id="30" name="Group 29">
            <a:extLst>
              <a:ext uri="{FF2B5EF4-FFF2-40B4-BE49-F238E27FC236}">
                <a16:creationId xmlns:a16="http://schemas.microsoft.com/office/drawing/2014/main" id="{1ACD3165-A31B-4E54-9BE7-A0855D2AAD03}"/>
              </a:ext>
            </a:extLst>
          </p:cNvPr>
          <p:cNvGrpSpPr/>
          <p:nvPr/>
        </p:nvGrpSpPr>
        <p:grpSpPr>
          <a:xfrm>
            <a:off x="6969033" y="4855310"/>
            <a:ext cx="618246" cy="508970"/>
            <a:chOff x="679449" y="4446977"/>
            <a:chExt cx="976403" cy="717066"/>
          </a:xfrm>
        </p:grpSpPr>
        <p:pic>
          <p:nvPicPr>
            <p:cNvPr id="81" name="Picture 80">
              <a:extLst>
                <a:ext uri="{FF2B5EF4-FFF2-40B4-BE49-F238E27FC236}">
                  <a16:creationId xmlns:a16="http://schemas.microsoft.com/office/drawing/2014/main" id="{04AFA404-C5D5-449A-9865-9F94E7413E2F}"/>
                </a:ext>
              </a:extLst>
            </p:cNvPr>
            <p:cNvPicPr>
              <a:picLocks noChangeAspect="1"/>
            </p:cNvPicPr>
            <p:nvPr/>
          </p:nvPicPr>
          <p:blipFill rotWithShape="1">
            <a:blip r:embed="rId3"/>
            <a:srcRect l="3989" t="19617" r="3113" b="4055"/>
            <a:stretch/>
          </p:blipFill>
          <p:spPr>
            <a:xfrm>
              <a:off x="679449" y="4446977"/>
              <a:ext cx="976403" cy="717066"/>
            </a:xfrm>
            <a:prstGeom prst="rect">
              <a:avLst/>
            </a:prstGeom>
            <a:effectLst>
              <a:outerShdw blurRad="50800" dist="38100" dir="2700000" algn="tl" rotWithShape="0">
                <a:prstClr val="black">
                  <a:alpha val="40000"/>
                </a:prstClr>
              </a:outerShdw>
            </a:effectLst>
          </p:spPr>
        </p:pic>
        <p:cxnSp>
          <p:nvCxnSpPr>
            <p:cNvPr id="28" name="Straight Connector 27">
              <a:extLst>
                <a:ext uri="{FF2B5EF4-FFF2-40B4-BE49-F238E27FC236}">
                  <a16:creationId xmlns:a16="http://schemas.microsoft.com/office/drawing/2014/main" id="{A964D4CC-2376-458A-858A-988BDFDCEAEF}"/>
                </a:ext>
              </a:extLst>
            </p:cNvPr>
            <p:cNvCxnSpPr/>
            <p:nvPr/>
          </p:nvCxnSpPr>
          <p:spPr>
            <a:xfrm>
              <a:off x="948521"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9191DDE-3F3F-497A-B699-41CBEF68E180}"/>
                </a:ext>
              </a:extLst>
            </p:cNvPr>
            <p:cNvCxnSpPr/>
            <p:nvPr/>
          </p:nvCxnSpPr>
          <p:spPr>
            <a:xfrm>
              <a:off x="1330497"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648DB68C-CEBA-4DF1-892E-1E10EB2DEB12}"/>
              </a:ext>
            </a:extLst>
          </p:cNvPr>
          <p:cNvGrpSpPr/>
          <p:nvPr/>
        </p:nvGrpSpPr>
        <p:grpSpPr>
          <a:xfrm>
            <a:off x="7250973" y="4977230"/>
            <a:ext cx="618246" cy="508970"/>
            <a:chOff x="679449" y="4446977"/>
            <a:chExt cx="976403" cy="717066"/>
          </a:xfrm>
        </p:grpSpPr>
        <p:pic>
          <p:nvPicPr>
            <p:cNvPr id="93" name="Picture 92">
              <a:extLst>
                <a:ext uri="{FF2B5EF4-FFF2-40B4-BE49-F238E27FC236}">
                  <a16:creationId xmlns:a16="http://schemas.microsoft.com/office/drawing/2014/main" id="{8D5C7560-990F-4A05-B9DF-FBC5BEF8F1B6}"/>
                </a:ext>
              </a:extLst>
            </p:cNvPr>
            <p:cNvPicPr>
              <a:picLocks noChangeAspect="1"/>
            </p:cNvPicPr>
            <p:nvPr/>
          </p:nvPicPr>
          <p:blipFill rotWithShape="1">
            <a:blip r:embed="rId3"/>
            <a:srcRect l="3989" t="19617" r="3113" b="4055"/>
            <a:stretch/>
          </p:blipFill>
          <p:spPr>
            <a:xfrm>
              <a:off x="679449" y="4446977"/>
              <a:ext cx="976403" cy="717066"/>
            </a:xfrm>
            <a:prstGeom prst="rect">
              <a:avLst/>
            </a:prstGeom>
            <a:effectLst>
              <a:outerShdw blurRad="50800" dist="38100" dir="2700000" algn="tl" rotWithShape="0">
                <a:prstClr val="black">
                  <a:alpha val="40000"/>
                </a:prstClr>
              </a:outerShdw>
            </a:effectLst>
          </p:spPr>
        </p:pic>
        <p:cxnSp>
          <p:nvCxnSpPr>
            <p:cNvPr id="94" name="Straight Connector 93">
              <a:extLst>
                <a:ext uri="{FF2B5EF4-FFF2-40B4-BE49-F238E27FC236}">
                  <a16:creationId xmlns:a16="http://schemas.microsoft.com/office/drawing/2014/main" id="{48ABEAF3-3DB7-4F43-AB44-C63008D8D33C}"/>
                </a:ext>
              </a:extLst>
            </p:cNvPr>
            <p:cNvCxnSpPr/>
            <p:nvPr/>
          </p:nvCxnSpPr>
          <p:spPr>
            <a:xfrm>
              <a:off x="948521"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C6B1AA8-7C2A-40F1-AED9-A7FFFDAC3CA9}"/>
                </a:ext>
              </a:extLst>
            </p:cNvPr>
            <p:cNvCxnSpPr/>
            <p:nvPr/>
          </p:nvCxnSpPr>
          <p:spPr>
            <a:xfrm>
              <a:off x="1330497" y="4465097"/>
              <a:ext cx="0" cy="692596"/>
            </a:xfrm>
            <a:prstGeom prst="line">
              <a:avLst/>
            </a:prstGeom>
            <a:ln w="57150">
              <a:solidFill>
                <a:srgbClr val="59B4D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1" name="Cylinder 40">
            <a:extLst>
              <a:ext uri="{FF2B5EF4-FFF2-40B4-BE49-F238E27FC236}">
                <a16:creationId xmlns:a16="http://schemas.microsoft.com/office/drawing/2014/main" id="{1E8D22CE-B7AF-4843-A2D2-935B8B27D0CD}"/>
              </a:ext>
            </a:extLst>
          </p:cNvPr>
          <p:cNvSpPr/>
          <p:nvPr/>
        </p:nvSpPr>
        <p:spPr bwMode="auto">
          <a:xfrm>
            <a:off x="5766886" y="4833277"/>
            <a:ext cx="618245" cy="654865"/>
          </a:xfrm>
          <a:prstGeom prst="can">
            <a:avLst>
              <a:gd name="adj" fmla="val 21600"/>
            </a:avLst>
          </a:prstGeom>
          <a:solidFill>
            <a:srgbClr val="0072C6"/>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lationship_F003" title="Icon of three boxes connected by lines">
            <a:extLst>
              <a:ext uri="{FF2B5EF4-FFF2-40B4-BE49-F238E27FC236}">
                <a16:creationId xmlns:a16="http://schemas.microsoft.com/office/drawing/2014/main" id="{85EE1669-F1C1-4DB8-B49E-4422E8BEEE80}"/>
              </a:ext>
            </a:extLst>
          </p:cNvPr>
          <p:cNvSpPr>
            <a:spLocks noChangeAspect="1" noEditPoints="1"/>
          </p:cNvSpPr>
          <p:nvPr/>
        </p:nvSpPr>
        <p:spPr bwMode="auto">
          <a:xfrm>
            <a:off x="5930165" y="5093921"/>
            <a:ext cx="267944" cy="250611"/>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Arrow: Pentagon 95">
            <a:extLst>
              <a:ext uri="{FF2B5EF4-FFF2-40B4-BE49-F238E27FC236}">
                <a16:creationId xmlns:a16="http://schemas.microsoft.com/office/drawing/2014/main" id="{F50DCDD3-C7CA-4836-8702-FDB9E688366C}"/>
              </a:ext>
            </a:extLst>
          </p:cNvPr>
          <p:cNvSpPr/>
          <p:nvPr/>
        </p:nvSpPr>
        <p:spPr bwMode="auto">
          <a:xfrm rot="5400000">
            <a:off x="7459272" y="3379114"/>
            <a:ext cx="553997"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Arrow: Pentagon 96">
            <a:extLst>
              <a:ext uri="{FF2B5EF4-FFF2-40B4-BE49-F238E27FC236}">
                <a16:creationId xmlns:a16="http://schemas.microsoft.com/office/drawing/2014/main" id="{DDD775B1-69B1-4865-909F-7F6641074451}"/>
              </a:ext>
            </a:extLst>
          </p:cNvPr>
          <p:cNvSpPr/>
          <p:nvPr/>
        </p:nvSpPr>
        <p:spPr bwMode="auto">
          <a:xfrm>
            <a:off x="8625267" y="4771187"/>
            <a:ext cx="54534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E5626609-30B5-447F-8946-038B7931B629}"/>
              </a:ext>
            </a:extLst>
          </p:cNvPr>
          <p:cNvGrpSpPr/>
          <p:nvPr/>
        </p:nvGrpSpPr>
        <p:grpSpPr>
          <a:xfrm>
            <a:off x="9337570" y="4036952"/>
            <a:ext cx="2371830" cy="2549890"/>
            <a:chOff x="9096270" y="3846452"/>
            <a:chExt cx="2371830" cy="2549890"/>
          </a:xfrm>
        </p:grpSpPr>
        <p:pic>
          <p:nvPicPr>
            <p:cNvPr id="31" name="Picture 30">
              <a:extLst>
                <a:ext uri="{FF2B5EF4-FFF2-40B4-BE49-F238E27FC236}">
                  <a16:creationId xmlns:a16="http://schemas.microsoft.com/office/drawing/2014/main" id="{E7A20F98-54A9-41B0-AFC9-68DFB90FD1AF}"/>
                </a:ext>
              </a:extLst>
            </p:cNvPr>
            <p:cNvPicPr>
              <a:picLocks noChangeAspect="1"/>
            </p:cNvPicPr>
            <p:nvPr/>
          </p:nvPicPr>
          <p:blipFill rotWithShape="1">
            <a:blip r:embed="rId4"/>
            <a:srcRect t="8512"/>
            <a:stretch/>
          </p:blipFill>
          <p:spPr>
            <a:xfrm>
              <a:off x="9301732" y="5123833"/>
              <a:ext cx="626353" cy="658768"/>
            </a:xfrm>
            <a:prstGeom prst="rect">
              <a:avLst/>
            </a:prstGeom>
          </p:spPr>
        </p:pic>
        <p:sp>
          <p:nvSpPr>
            <p:cNvPr id="99" name="Text Placeholder 1">
              <a:extLst>
                <a:ext uri="{FF2B5EF4-FFF2-40B4-BE49-F238E27FC236}">
                  <a16:creationId xmlns:a16="http://schemas.microsoft.com/office/drawing/2014/main" id="{EB40FF46-CD1F-4E6C-B165-DA366FCEE874}"/>
                </a:ext>
              </a:extLst>
            </p:cNvPr>
            <p:cNvSpPr txBox="1">
              <a:spLocks/>
            </p:cNvSpPr>
            <p:nvPr/>
          </p:nvSpPr>
          <p:spPr>
            <a:xfrm>
              <a:off x="9184541" y="5875879"/>
              <a:ext cx="948838"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Machine</a:t>
              </a:r>
              <a:b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Learning</a:t>
              </a:r>
            </a:p>
          </p:txBody>
        </p:sp>
        <p:pic>
          <p:nvPicPr>
            <p:cNvPr id="39" name="Picture 38">
              <a:extLst>
                <a:ext uri="{FF2B5EF4-FFF2-40B4-BE49-F238E27FC236}">
                  <a16:creationId xmlns:a16="http://schemas.microsoft.com/office/drawing/2014/main" id="{0F7CC7F3-F9AF-4265-AB00-F041DB6502D2}"/>
                </a:ext>
              </a:extLst>
            </p:cNvPr>
            <p:cNvPicPr>
              <a:picLocks noChangeAspect="1"/>
            </p:cNvPicPr>
            <p:nvPr/>
          </p:nvPicPr>
          <p:blipFill>
            <a:blip r:embed="rId5"/>
            <a:stretch>
              <a:fillRect/>
            </a:stretch>
          </p:blipFill>
          <p:spPr>
            <a:xfrm>
              <a:off x="9404083" y="3846452"/>
              <a:ext cx="614377" cy="614377"/>
            </a:xfrm>
            <a:prstGeom prst="rect">
              <a:avLst/>
            </a:prstGeom>
          </p:spPr>
        </p:pic>
        <p:sp>
          <p:nvSpPr>
            <p:cNvPr id="102" name="Text Placeholder 1">
              <a:extLst>
                <a:ext uri="{FF2B5EF4-FFF2-40B4-BE49-F238E27FC236}">
                  <a16:creationId xmlns:a16="http://schemas.microsoft.com/office/drawing/2014/main" id="{D5FB21E9-D040-4E51-931B-37AEAF41A046}"/>
                </a:ext>
              </a:extLst>
            </p:cNvPr>
            <p:cNvSpPr txBox="1">
              <a:spLocks/>
            </p:cNvSpPr>
            <p:nvPr/>
          </p:nvSpPr>
          <p:spPr>
            <a:xfrm>
              <a:off x="9096270" y="4503883"/>
              <a:ext cx="1125380" cy="249620"/>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alytics</a:t>
              </a:r>
            </a:p>
          </p:txBody>
        </p:sp>
        <p:sp>
          <p:nvSpPr>
            <p:cNvPr id="104" name="Text Placeholder 1">
              <a:extLst>
                <a:ext uri="{FF2B5EF4-FFF2-40B4-BE49-F238E27FC236}">
                  <a16:creationId xmlns:a16="http://schemas.microsoft.com/office/drawing/2014/main" id="{C27F94C1-F221-4312-A7F6-6665423541E8}"/>
                </a:ext>
              </a:extLst>
            </p:cNvPr>
            <p:cNvSpPr txBox="1">
              <a:spLocks/>
            </p:cNvSpPr>
            <p:nvPr/>
          </p:nvSpPr>
          <p:spPr>
            <a:xfrm>
              <a:off x="10442250" y="4478507"/>
              <a:ext cx="948838" cy="249620"/>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Retrieval</a:t>
              </a:r>
            </a:p>
          </p:txBody>
        </p:sp>
        <p:grpSp>
          <p:nvGrpSpPr>
            <p:cNvPr id="105" name="Group 104">
              <a:extLst>
                <a:ext uri="{FF2B5EF4-FFF2-40B4-BE49-F238E27FC236}">
                  <a16:creationId xmlns:a16="http://schemas.microsoft.com/office/drawing/2014/main" id="{F58FCF96-FD72-46CF-822B-A1B485BF74E2}"/>
                </a:ext>
              </a:extLst>
            </p:cNvPr>
            <p:cNvGrpSpPr/>
            <p:nvPr/>
          </p:nvGrpSpPr>
          <p:grpSpPr>
            <a:xfrm>
              <a:off x="10528189" y="3876641"/>
              <a:ext cx="776961" cy="553998"/>
              <a:chOff x="9179546" y="3522969"/>
              <a:chExt cx="1222540" cy="958584"/>
            </a:xfrm>
          </p:grpSpPr>
          <p:grpSp>
            <p:nvGrpSpPr>
              <p:cNvPr id="106" name="Group 105">
                <a:extLst>
                  <a:ext uri="{FF2B5EF4-FFF2-40B4-BE49-F238E27FC236}">
                    <a16:creationId xmlns:a16="http://schemas.microsoft.com/office/drawing/2014/main" id="{D37250B5-2946-4492-8639-9CFF332E55C8}"/>
                  </a:ext>
                </a:extLst>
              </p:cNvPr>
              <p:cNvGrpSpPr/>
              <p:nvPr/>
            </p:nvGrpSpPr>
            <p:grpSpPr>
              <a:xfrm>
                <a:off x="9179546" y="3522969"/>
                <a:ext cx="1222540" cy="958584"/>
                <a:chOff x="8598353" y="4344078"/>
                <a:chExt cx="944789" cy="740802"/>
              </a:xfrm>
            </p:grpSpPr>
            <p:sp>
              <p:nvSpPr>
                <p:cNvPr id="112" name="Freeform 5">
                  <a:extLst>
                    <a:ext uri="{FF2B5EF4-FFF2-40B4-BE49-F238E27FC236}">
                      <a16:creationId xmlns:a16="http://schemas.microsoft.com/office/drawing/2014/main" id="{62846835-F3A2-480E-95B9-A7351ECD2EC7}"/>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useBgFill="1">
              <p:nvSpPr>
                <p:cNvPr id="113" name="Rectangle 112">
                  <a:extLst>
                    <a:ext uri="{FF2B5EF4-FFF2-40B4-BE49-F238E27FC236}">
                      <a16:creationId xmlns:a16="http://schemas.microsoft.com/office/drawing/2014/main" id="{4C37C370-B93C-4C67-9AAA-374C7B615F11}"/>
                    </a:ext>
                  </a:extLst>
                </p:cNvPr>
                <p:cNvSpPr/>
                <p:nvPr/>
              </p:nvSpPr>
              <p:spPr bwMode="auto">
                <a:xfrm>
                  <a:off x="8658600" y="4406671"/>
                  <a:ext cx="824296" cy="47149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7" name="Group 106">
                <a:extLst>
                  <a:ext uri="{FF2B5EF4-FFF2-40B4-BE49-F238E27FC236}">
                    <a16:creationId xmlns:a16="http://schemas.microsoft.com/office/drawing/2014/main" id="{DDC7BCDC-0E5C-4551-81DA-725269FCD154}"/>
                  </a:ext>
                </a:extLst>
              </p:cNvPr>
              <p:cNvGrpSpPr/>
              <p:nvPr/>
            </p:nvGrpSpPr>
            <p:grpSpPr>
              <a:xfrm>
                <a:off x="9516207" y="3693570"/>
                <a:ext cx="549218" cy="430854"/>
                <a:chOff x="9152808" y="3451427"/>
                <a:chExt cx="493296" cy="386984"/>
              </a:xfrm>
            </p:grpSpPr>
            <p:grpSp>
              <p:nvGrpSpPr>
                <p:cNvPr id="108" name="Group 107">
                  <a:extLst>
                    <a:ext uri="{FF2B5EF4-FFF2-40B4-BE49-F238E27FC236}">
                      <a16:creationId xmlns:a16="http://schemas.microsoft.com/office/drawing/2014/main" id="{C004ED1F-B8E7-467D-8469-75B994AF36D9}"/>
                    </a:ext>
                  </a:extLst>
                </p:cNvPr>
                <p:cNvGrpSpPr/>
                <p:nvPr/>
              </p:nvGrpSpPr>
              <p:grpSpPr>
                <a:xfrm>
                  <a:off x="9152808" y="3451427"/>
                  <a:ext cx="493296" cy="386984"/>
                  <a:chOff x="9215306" y="3500456"/>
                  <a:chExt cx="368300" cy="288925"/>
                </a:xfrm>
              </p:grpSpPr>
              <p:sp>
                <p:nvSpPr>
                  <p:cNvPr id="110" name="Freeform 283">
                    <a:extLst>
                      <a:ext uri="{FF2B5EF4-FFF2-40B4-BE49-F238E27FC236}">
                        <a16:creationId xmlns:a16="http://schemas.microsoft.com/office/drawing/2014/main" id="{7124F875-805A-477B-ACEA-649875BB0643}"/>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84">
                    <a:extLst>
                      <a:ext uri="{FF2B5EF4-FFF2-40B4-BE49-F238E27FC236}">
                        <a16:creationId xmlns:a16="http://schemas.microsoft.com/office/drawing/2014/main" id="{BFCB4360-5FA1-4C40-B13D-CE2EDC19AE1F}"/>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09" name="Graphic 9" descr="World">
                  <a:extLst>
                    <a:ext uri="{FF2B5EF4-FFF2-40B4-BE49-F238E27FC236}">
                      <a16:creationId xmlns:a16="http://schemas.microsoft.com/office/drawing/2014/main" id="{7C0BB317-53D1-4863-87C1-EE9001728479}"/>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16" name="Text Placeholder 1">
              <a:extLst>
                <a:ext uri="{FF2B5EF4-FFF2-40B4-BE49-F238E27FC236}">
                  <a16:creationId xmlns:a16="http://schemas.microsoft.com/office/drawing/2014/main" id="{4F3FCCF0-C2EE-4885-A909-B4CBA8433B8C}"/>
                </a:ext>
              </a:extLst>
            </p:cNvPr>
            <p:cNvSpPr txBox="1">
              <a:spLocks/>
            </p:cNvSpPr>
            <p:nvPr/>
          </p:nvSpPr>
          <p:spPr>
            <a:xfrm>
              <a:off x="10365238" y="5872634"/>
              <a:ext cx="1102862"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Human</a:t>
              </a:r>
              <a:b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Validation</a:t>
              </a:r>
            </a:p>
          </p:txBody>
        </p:sp>
        <p:pic>
          <p:nvPicPr>
            <p:cNvPr id="117" name="Graphic 116" descr="Brain in head">
              <a:extLst>
                <a:ext uri="{FF2B5EF4-FFF2-40B4-BE49-F238E27FC236}">
                  <a16:creationId xmlns:a16="http://schemas.microsoft.com/office/drawing/2014/main" id="{2F694CE0-7302-4864-9C54-B50023603B0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3984" y="5090532"/>
              <a:ext cx="725371" cy="725371"/>
            </a:xfrm>
            <a:prstGeom prst="rect">
              <a:avLst/>
            </a:prstGeom>
          </p:spPr>
        </p:pic>
      </p:grpSp>
      <p:grpSp>
        <p:nvGrpSpPr>
          <p:cNvPr id="82" name="Group 81">
            <a:extLst>
              <a:ext uri="{FF2B5EF4-FFF2-40B4-BE49-F238E27FC236}">
                <a16:creationId xmlns:a16="http://schemas.microsoft.com/office/drawing/2014/main" id="{7144AB8F-5856-4190-88B6-600A6F67542E}"/>
              </a:ext>
            </a:extLst>
          </p:cNvPr>
          <p:cNvGrpSpPr/>
          <p:nvPr/>
        </p:nvGrpSpPr>
        <p:grpSpPr>
          <a:xfrm>
            <a:off x="543142" y="749424"/>
            <a:ext cx="10701080" cy="2812681"/>
            <a:chOff x="1062795" y="1841680"/>
            <a:chExt cx="10701080" cy="2812681"/>
          </a:xfrm>
        </p:grpSpPr>
        <p:sp>
          <p:nvSpPr>
            <p:cNvPr id="83" name="Arrow: Pentagon 82">
              <a:extLst>
                <a:ext uri="{FF2B5EF4-FFF2-40B4-BE49-F238E27FC236}">
                  <a16:creationId xmlns:a16="http://schemas.microsoft.com/office/drawing/2014/main" id="{31DC89C3-EBF9-4C77-9E76-59D9012F85DE}"/>
                </a:ext>
              </a:extLst>
            </p:cNvPr>
            <p:cNvSpPr/>
            <p:nvPr/>
          </p:nvSpPr>
          <p:spPr bwMode="auto">
            <a:xfrm>
              <a:off x="3838242" y="3008840"/>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85" name="Cylinder 84">
              <a:extLst>
                <a:ext uri="{FF2B5EF4-FFF2-40B4-BE49-F238E27FC236}">
                  <a16:creationId xmlns:a16="http://schemas.microsoft.com/office/drawing/2014/main" id="{9CB98F5B-103E-45B5-B544-A9D352BFC2B1}"/>
                </a:ext>
              </a:extLst>
            </p:cNvPr>
            <p:cNvSpPr/>
            <p:nvPr/>
          </p:nvSpPr>
          <p:spPr bwMode="auto">
            <a:xfrm>
              <a:off x="1326842" y="3747716"/>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Arrow: Pentagon 85">
              <a:extLst>
                <a:ext uri="{FF2B5EF4-FFF2-40B4-BE49-F238E27FC236}">
                  <a16:creationId xmlns:a16="http://schemas.microsoft.com/office/drawing/2014/main" id="{F75B5192-B67F-418A-B860-4E31BB1ABBC1}"/>
                </a:ext>
              </a:extLst>
            </p:cNvPr>
            <p:cNvSpPr/>
            <p:nvPr/>
          </p:nvSpPr>
          <p:spPr bwMode="auto">
            <a:xfrm>
              <a:off x="9109145" y="3000695"/>
              <a:ext cx="54534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Cylinder 86">
              <a:extLst>
                <a:ext uri="{FF2B5EF4-FFF2-40B4-BE49-F238E27FC236}">
                  <a16:creationId xmlns:a16="http://schemas.microsoft.com/office/drawing/2014/main" id="{63228507-B804-4A29-A289-006E2721F9D8}"/>
                </a:ext>
              </a:extLst>
            </p:cNvPr>
            <p:cNvSpPr/>
            <p:nvPr/>
          </p:nvSpPr>
          <p:spPr bwMode="auto">
            <a:xfrm>
              <a:off x="1326842" y="3443504"/>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Arrow: Pentagon 87">
              <a:extLst>
                <a:ext uri="{FF2B5EF4-FFF2-40B4-BE49-F238E27FC236}">
                  <a16:creationId xmlns:a16="http://schemas.microsoft.com/office/drawing/2014/main" id="{48736BD6-7501-4843-8AD0-7F8A4BCF06D0}"/>
                </a:ext>
              </a:extLst>
            </p:cNvPr>
            <p:cNvSpPr/>
            <p:nvPr/>
          </p:nvSpPr>
          <p:spPr bwMode="auto">
            <a:xfrm>
              <a:off x="2501379" y="3004946"/>
              <a:ext cx="2064146"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89" name="Text Placeholder 1">
              <a:extLst>
                <a:ext uri="{FF2B5EF4-FFF2-40B4-BE49-F238E27FC236}">
                  <a16:creationId xmlns:a16="http://schemas.microsoft.com/office/drawing/2014/main" id="{2B9192D5-77D2-436D-BCC2-DCD297AC50A4}"/>
                </a:ext>
              </a:extLst>
            </p:cNvPr>
            <p:cNvSpPr txBox="1">
              <a:spLocks/>
            </p:cNvSpPr>
            <p:nvPr/>
          </p:nvSpPr>
          <p:spPr>
            <a:xfrm>
              <a:off x="7580384" y="4133898"/>
              <a:ext cx="1419341"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nriched Documents</a:t>
              </a:r>
            </a:p>
          </p:txBody>
        </p:sp>
        <p:sp>
          <p:nvSpPr>
            <p:cNvPr id="90" name="Text Placeholder 1">
              <a:extLst>
                <a:ext uri="{FF2B5EF4-FFF2-40B4-BE49-F238E27FC236}">
                  <a16:creationId xmlns:a16="http://schemas.microsoft.com/office/drawing/2014/main" id="{1F6D61E2-FFDB-42D3-A9FD-DBCE8DEA30D9}"/>
                </a:ext>
              </a:extLst>
            </p:cNvPr>
            <p:cNvSpPr txBox="1">
              <a:spLocks/>
            </p:cNvSpPr>
            <p:nvPr/>
          </p:nvSpPr>
          <p:spPr>
            <a:xfrm>
              <a:off x="1062795" y="4133898"/>
              <a:ext cx="1419340" cy="52046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ource</a:t>
              </a:r>
              <a:b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91" name="Cylinder 90">
              <a:extLst>
                <a:ext uri="{FF2B5EF4-FFF2-40B4-BE49-F238E27FC236}">
                  <a16:creationId xmlns:a16="http://schemas.microsoft.com/office/drawing/2014/main" id="{FA1B4289-A343-4D59-80E9-C44501CEF818}"/>
                </a:ext>
              </a:extLst>
            </p:cNvPr>
            <p:cNvSpPr/>
            <p:nvPr/>
          </p:nvSpPr>
          <p:spPr bwMode="auto">
            <a:xfrm>
              <a:off x="1324253" y="3136520"/>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F164D707-D6B3-4E9F-9497-9FB42BD9930B}"/>
                </a:ext>
              </a:extLst>
            </p:cNvPr>
            <p:cNvGrpSpPr/>
            <p:nvPr/>
          </p:nvGrpSpPr>
          <p:grpSpPr>
            <a:xfrm>
              <a:off x="5126944" y="1841680"/>
              <a:ext cx="1911810" cy="1074408"/>
              <a:chOff x="4238413" y="1170179"/>
              <a:chExt cx="1950146" cy="1095952"/>
            </a:xfrm>
          </p:grpSpPr>
          <p:grpSp>
            <p:nvGrpSpPr>
              <p:cNvPr id="134" name="Group 133">
                <a:extLst>
                  <a:ext uri="{FF2B5EF4-FFF2-40B4-BE49-F238E27FC236}">
                    <a16:creationId xmlns:a16="http://schemas.microsoft.com/office/drawing/2014/main" id="{EEAAD573-596A-495B-AF33-9257CC9A8FDC}"/>
                  </a:ext>
                </a:extLst>
              </p:cNvPr>
              <p:cNvGrpSpPr/>
              <p:nvPr/>
            </p:nvGrpSpPr>
            <p:grpSpPr>
              <a:xfrm>
                <a:off x="4512159" y="1170179"/>
                <a:ext cx="1676400" cy="890539"/>
                <a:chOff x="4160837" y="1350919"/>
                <a:chExt cx="1676400" cy="890539"/>
              </a:xfrm>
              <a:solidFill>
                <a:srgbClr val="004B50">
                  <a:alpha val="62000"/>
                </a:srgbClr>
              </a:solidFill>
            </p:grpSpPr>
            <p:sp>
              <p:nvSpPr>
                <p:cNvPr id="165" name="Rectangle: Rounded Corners 164">
                  <a:extLst>
                    <a:ext uri="{FF2B5EF4-FFF2-40B4-BE49-F238E27FC236}">
                      <a16:creationId xmlns:a16="http://schemas.microsoft.com/office/drawing/2014/main" id="{2CD330DD-6AC9-4158-B104-1FCC71FDB87E}"/>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a:extLst>
                    <a:ext uri="{FF2B5EF4-FFF2-40B4-BE49-F238E27FC236}">
                      <a16:creationId xmlns:a16="http://schemas.microsoft.com/office/drawing/2014/main" id="{62C4B350-34C3-4025-9FF4-802F5F7D302B}"/>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Connector 166">
                  <a:extLst>
                    <a:ext uri="{FF2B5EF4-FFF2-40B4-BE49-F238E27FC236}">
                      <a16:creationId xmlns:a16="http://schemas.microsoft.com/office/drawing/2014/main" id="{9B154801-441A-42E6-8FDC-5EDD9764C193}"/>
                    </a:ext>
                  </a:extLst>
                </p:cNvPr>
                <p:cNvCxnSpPr>
                  <a:cxnSpLocks/>
                  <a:stCxn id="166" idx="0"/>
                  <a:endCxn id="165"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37" name="Group 136">
                <a:extLst>
                  <a:ext uri="{FF2B5EF4-FFF2-40B4-BE49-F238E27FC236}">
                    <a16:creationId xmlns:a16="http://schemas.microsoft.com/office/drawing/2014/main" id="{44B9B9DF-C9EE-4AB0-8D2E-34C97785CC7C}"/>
                  </a:ext>
                </a:extLst>
              </p:cNvPr>
              <p:cNvGrpSpPr/>
              <p:nvPr/>
            </p:nvGrpSpPr>
            <p:grpSpPr>
              <a:xfrm>
                <a:off x="4375286" y="1266756"/>
                <a:ext cx="1676400" cy="890539"/>
                <a:chOff x="4160837" y="1350919"/>
                <a:chExt cx="1676400" cy="890539"/>
              </a:xfrm>
              <a:solidFill>
                <a:srgbClr val="0070C0">
                  <a:alpha val="62000"/>
                </a:srgbClr>
              </a:solidFill>
            </p:grpSpPr>
            <p:sp>
              <p:nvSpPr>
                <p:cNvPr id="161" name="Rectangle: Rounded Corners 160">
                  <a:extLst>
                    <a:ext uri="{FF2B5EF4-FFF2-40B4-BE49-F238E27FC236}">
                      <a16:creationId xmlns:a16="http://schemas.microsoft.com/office/drawing/2014/main" id="{10C04FFE-D4FB-4046-A5CC-4D06EA20B221}"/>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6C0637FE-2496-412C-8765-7FD07623FA59}"/>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Straight Connector 163">
                  <a:extLst>
                    <a:ext uri="{FF2B5EF4-FFF2-40B4-BE49-F238E27FC236}">
                      <a16:creationId xmlns:a16="http://schemas.microsoft.com/office/drawing/2014/main" id="{F9805636-1D65-40C8-A41D-5FA81B76A976}"/>
                    </a:ext>
                  </a:extLst>
                </p:cNvPr>
                <p:cNvCxnSpPr>
                  <a:cxnSpLocks/>
                  <a:stCxn id="163" idx="0"/>
                  <a:endCxn id="161"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142" name="Group 141">
                <a:extLst>
                  <a:ext uri="{FF2B5EF4-FFF2-40B4-BE49-F238E27FC236}">
                    <a16:creationId xmlns:a16="http://schemas.microsoft.com/office/drawing/2014/main" id="{DC2AE8C4-C573-4431-8D78-EC96BB9A6771}"/>
                  </a:ext>
                </a:extLst>
              </p:cNvPr>
              <p:cNvGrpSpPr/>
              <p:nvPr/>
            </p:nvGrpSpPr>
            <p:grpSpPr>
              <a:xfrm>
                <a:off x="4238413" y="1375592"/>
                <a:ext cx="1676400" cy="890539"/>
                <a:chOff x="4160837" y="1350919"/>
                <a:chExt cx="1676400" cy="890539"/>
              </a:xfrm>
            </p:grpSpPr>
            <p:sp>
              <p:nvSpPr>
                <p:cNvPr id="143" name="Rectangle: Rounded Corners 142">
                  <a:extLst>
                    <a:ext uri="{FF2B5EF4-FFF2-40B4-BE49-F238E27FC236}">
                      <a16:creationId xmlns:a16="http://schemas.microsoft.com/office/drawing/2014/main" id="{6F3FC3C7-6A54-436E-A229-242025268A7F}"/>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146" name="Oval 145">
                  <a:extLst>
                    <a:ext uri="{FF2B5EF4-FFF2-40B4-BE49-F238E27FC236}">
                      <a16:creationId xmlns:a16="http://schemas.microsoft.com/office/drawing/2014/main" id="{F64D14B4-4AD2-4D4E-ACD9-E51FE2AE9CCC}"/>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A75D5BA5-9754-4CA6-8AF1-31D16CD9411A}"/>
                    </a:ext>
                  </a:extLst>
                </p:cNvPr>
                <p:cNvCxnSpPr>
                  <a:cxnSpLocks/>
                  <a:stCxn id="146" idx="0"/>
                  <a:endCxn id="143"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pic>
          <p:nvPicPr>
            <p:cNvPr id="100" name="Picture 99">
              <a:extLst>
                <a:ext uri="{FF2B5EF4-FFF2-40B4-BE49-F238E27FC236}">
                  <a16:creationId xmlns:a16="http://schemas.microsoft.com/office/drawing/2014/main" id="{348B59A7-4C04-4D1F-8235-804CA77C99CD}"/>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2400" b="88800" l="4202" r="94118">
                          <a14:foregroundMark x1="5042" y1="42400" x2="8403" y2="48800"/>
                          <a14:foregroundMark x1="50420" y1="13600" x2="63866" y2="8000"/>
                          <a14:foregroundMark x1="89076" y1="48800" x2="90756" y2="40000"/>
                          <a14:foregroundMark x1="94118" y1="48800" x2="94118" y2="42400"/>
                          <a14:foregroundMark x1="59664" y1="8000" x2="57983" y2="2400"/>
                          <a14:foregroundMark x1="18487" y1="80000" x2="15966" y2="88800"/>
                        </a14:backgroundRemoval>
                      </a14:imgEffect>
                    </a14:imgLayer>
                  </a14:imgProps>
                </a:ext>
              </a:extLst>
            </a:blip>
            <a:stretch>
              <a:fillRect/>
            </a:stretch>
          </p:blipFill>
          <p:spPr>
            <a:xfrm>
              <a:off x="10558656" y="3015199"/>
              <a:ext cx="1062700" cy="1116281"/>
            </a:xfrm>
            <a:prstGeom prst="rect">
              <a:avLst/>
            </a:prstGeom>
          </p:spPr>
        </p:pic>
        <p:sp>
          <p:nvSpPr>
            <p:cNvPr id="101" name="Text Placeholder 1">
              <a:extLst>
                <a:ext uri="{FF2B5EF4-FFF2-40B4-BE49-F238E27FC236}">
                  <a16:creationId xmlns:a16="http://schemas.microsoft.com/office/drawing/2014/main" id="{D203393D-1D61-4BD5-A629-CACA825A768B}"/>
                </a:ext>
              </a:extLst>
            </p:cNvPr>
            <p:cNvSpPr txBox="1">
              <a:spLocks/>
            </p:cNvSpPr>
            <p:nvPr/>
          </p:nvSpPr>
          <p:spPr>
            <a:xfrm>
              <a:off x="10466693" y="4133898"/>
              <a:ext cx="1297182" cy="249620"/>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 Index</a:t>
              </a:r>
            </a:p>
          </p:txBody>
        </p:sp>
        <p:grpSp>
          <p:nvGrpSpPr>
            <p:cNvPr id="103" name="Group 102">
              <a:extLst>
                <a:ext uri="{FF2B5EF4-FFF2-40B4-BE49-F238E27FC236}">
                  <a16:creationId xmlns:a16="http://schemas.microsoft.com/office/drawing/2014/main" id="{EBFBE676-1F18-42B2-AFED-5902AB5461C8}"/>
                </a:ext>
              </a:extLst>
            </p:cNvPr>
            <p:cNvGrpSpPr/>
            <p:nvPr/>
          </p:nvGrpSpPr>
          <p:grpSpPr>
            <a:xfrm>
              <a:off x="7993688" y="3190875"/>
              <a:ext cx="628165" cy="671581"/>
              <a:chOff x="7599285" y="1947047"/>
              <a:chExt cx="1137344" cy="1035689"/>
            </a:xfrm>
          </p:grpSpPr>
          <p:sp>
            <p:nvSpPr>
              <p:cNvPr id="114" name="Rectangle 113">
                <a:extLst>
                  <a:ext uri="{FF2B5EF4-FFF2-40B4-BE49-F238E27FC236}">
                    <a16:creationId xmlns:a16="http://schemas.microsoft.com/office/drawing/2014/main" id="{89CC3093-1BB2-4770-B9E4-2944F576CBF2}"/>
                  </a:ext>
                </a:extLst>
              </p:cNvPr>
              <p:cNvSpPr/>
              <p:nvPr/>
            </p:nvSpPr>
            <p:spPr bwMode="auto">
              <a:xfrm>
                <a:off x="7599285" y="194843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5" name="Straight Connector 114">
                <a:extLst>
                  <a:ext uri="{FF2B5EF4-FFF2-40B4-BE49-F238E27FC236}">
                    <a16:creationId xmlns:a16="http://schemas.microsoft.com/office/drawing/2014/main" id="{19242DB1-8C6C-4986-922C-5DCC8E985F75}"/>
                  </a:ext>
                </a:extLst>
              </p:cNvPr>
              <p:cNvCxnSpPr>
                <a:cxnSpLocks/>
              </p:cNvCxnSpPr>
              <p:nvPr/>
            </p:nvCxnSpPr>
            <p:spPr>
              <a:xfrm>
                <a:off x="7690571" y="2131315"/>
                <a:ext cx="0" cy="19063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8" name="Straight Connector 117">
                <a:extLst>
                  <a:ext uri="{FF2B5EF4-FFF2-40B4-BE49-F238E27FC236}">
                    <a16:creationId xmlns:a16="http://schemas.microsoft.com/office/drawing/2014/main" id="{DEA3D03F-6978-4F12-97C2-70F6218A88A4}"/>
                  </a:ext>
                </a:extLst>
              </p:cNvPr>
              <p:cNvCxnSpPr>
                <a:cxnSpLocks/>
              </p:cNvCxnSpPr>
              <p:nvPr/>
            </p:nvCxnSpPr>
            <p:spPr>
              <a:xfrm>
                <a:off x="7691829" y="2321945"/>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9" name="Rectangle 118">
                <a:extLst>
                  <a:ext uri="{FF2B5EF4-FFF2-40B4-BE49-F238E27FC236}">
                    <a16:creationId xmlns:a16="http://schemas.microsoft.com/office/drawing/2014/main" id="{A1FE7182-76A0-49FE-B954-9C2BC918D763}"/>
                  </a:ext>
                </a:extLst>
              </p:cNvPr>
              <p:cNvSpPr/>
              <p:nvPr/>
            </p:nvSpPr>
            <p:spPr bwMode="auto">
              <a:xfrm>
                <a:off x="7883747" y="223050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0" name="Straight Connector 119">
                <a:extLst>
                  <a:ext uri="{FF2B5EF4-FFF2-40B4-BE49-F238E27FC236}">
                    <a16:creationId xmlns:a16="http://schemas.microsoft.com/office/drawing/2014/main" id="{9659503A-597F-488C-A2E1-B82F803DECE5}"/>
                  </a:ext>
                </a:extLst>
              </p:cNvPr>
              <p:cNvCxnSpPr>
                <a:cxnSpLocks/>
              </p:cNvCxnSpPr>
              <p:nvPr/>
            </p:nvCxnSpPr>
            <p:spPr>
              <a:xfrm>
                <a:off x="7691520" y="2314195"/>
                <a:ext cx="0" cy="278928"/>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1" name="Straight Connector 120">
                <a:extLst>
                  <a:ext uri="{FF2B5EF4-FFF2-40B4-BE49-F238E27FC236}">
                    <a16:creationId xmlns:a16="http://schemas.microsoft.com/office/drawing/2014/main" id="{A5CB34EC-DF5F-4309-90A1-606F76A5F477}"/>
                  </a:ext>
                </a:extLst>
              </p:cNvPr>
              <p:cNvCxnSpPr>
                <a:cxnSpLocks/>
              </p:cNvCxnSpPr>
              <p:nvPr/>
            </p:nvCxnSpPr>
            <p:spPr>
              <a:xfrm>
                <a:off x="7692624" y="2593123"/>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2" name="Rectangle 121">
                <a:extLst>
                  <a:ext uri="{FF2B5EF4-FFF2-40B4-BE49-F238E27FC236}">
                    <a16:creationId xmlns:a16="http://schemas.microsoft.com/office/drawing/2014/main" id="{C02E3682-AD70-487A-8FB8-A1F8ED0F15C1}"/>
                  </a:ext>
                </a:extLst>
              </p:cNvPr>
              <p:cNvSpPr/>
              <p:nvPr/>
            </p:nvSpPr>
            <p:spPr bwMode="auto">
              <a:xfrm>
                <a:off x="7884542" y="2501683"/>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103F236B-8443-4895-A880-E343089E0364}"/>
                  </a:ext>
                </a:extLst>
              </p:cNvPr>
              <p:cNvCxnSpPr>
                <a:cxnSpLocks/>
              </p:cNvCxnSpPr>
              <p:nvPr/>
            </p:nvCxnSpPr>
            <p:spPr>
              <a:xfrm>
                <a:off x="7988235" y="2688568"/>
                <a:ext cx="1104" cy="202728"/>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4" name="Straight Connector 123">
                <a:extLst>
                  <a:ext uri="{FF2B5EF4-FFF2-40B4-BE49-F238E27FC236}">
                    <a16:creationId xmlns:a16="http://schemas.microsoft.com/office/drawing/2014/main" id="{BAD02C91-0633-46EF-AF1E-06830C69C808}"/>
                  </a:ext>
                </a:extLst>
              </p:cNvPr>
              <p:cNvCxnSpPr>
                <a:cxnSpLocks/>
              </p:cNvCxnSpPr>
              <p:nvPr/>
            </p:nvCxnSpPr>
            <p:spPr>
              <a:xfrm>
                <a:off x="7989339" y="2891296"/>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5" name="Rectangle 124">
                <a:extLst>
                  <a:ext uri="{FF2B5EF4-FFF2-40B4-BE49-F238E27FC236}">
                    <a16:creationId xmlns:a16="http://schemas.microsoft.com/office/drawing/2014/main" id="{4F05C0D8-8D77-446D-B1B2-9DFB3B1AB39D}"/>
                  </a:ext>
                </a:extLst>
              </p:cNvPr>
              <p:cNvSpPr/>
              <p:nvPr/>
            </p:nvSpPr>
            <p:spPr bwMode="auto">
              <a:xfrm>
                <a:off x="8181257" y="2799856"/>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6" name="Straight Connector 125">
                <a:extLst>
                  <a:ext uri="{FF2B5EF4-FFF2-40B4-BE49-F238E27FC236}">
                    <a16:creationId xmlns:a16="http://schemas.microsoft.com/office/drawing/2014/main" id="{14234F9A-F787-4403-8095-BEFFBB003E06}"/>
                  </a:ext>
                </a:extLst>
              </p:cNvPr>
              <p:cNvCxnSpPr>
                <a:cxnSpLocks/>
              </p:cNvCxnSpPr>
              <p:nvPr/>
            </p:nvCxnSpPr>
            <p:spPr>
              <a:xfrm>
                <a:off x="8066935" y="2321945"/>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7" name="Rectangle 126">
                <a:extLst>
                  <a:ext uri="{FF2B5EF4-FFF2-40B4-BE49-F238E27FC236}">
                    <a16:creationId xmlns:a16="http://schemas.microsoft.com/office/drawing/2014/main" id="{3E78C046-B77E-4394-B273-B6AB3781FEF8}"/>
                  </a:ext>
                </a:extLst>
              </p:cNvPr>
              <p:cNvSpPr/>
              <p:nvPr/>
            </p:nvSpPr>
            <p:spPr bwMode="auto">
              <a:xfrm>
                <a:off x="8258853" y="2230505"/>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15D7BDF2-7529-49A3-BF6C-C5EE841695C1}"/>
                  </a:ext>
                </a:extLst>
              </p:cNvPr>
              <p:cNvCxnSpPr>
                <a:cxnSpLocks/>
              </p:cNvCxnSpPr>
              <p:nvPr/>
            </p:nvCxnSpPr>
            <p:spPr>
              <a:xfrm>
                <a:off x="8350293" y="2429848"/>
                <a:ext cx="0" cy="19063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9" name="Straight Connector 128">
                <a:extLst>
                  <a:ext uri="{FF2B5EF4-FFF2-40B4-BE49-F238E27FC236}">
                    <a16:creationId xmlns:a16="http://schemas.microsoft.com/office/drawing/2014/main" id="{577F7689-5A5E-4A76-9C82-BF5A187C87A9}"/>
                  </a:ext>
                </a:extLst>
              </p:cNvPr>
              <p:cNvCxnSpPr>
                <a:cxnSpLocks/>
              </p:cNvCxnSpPr>
              <p:nvPr/>
            </p:nvCxnSpPr>
            <p:spPr>
              <a:xfrm>
                <a:off x="8348009" y="2620478"/>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0" name="Rectangle 129">
                <a:extLst>
                  <a:ext uri="{FF2B5EF4-FFF2-40B4-BE49-F238E27FC236}">
                    <a16:creationId xmlns:a16="http://schemas.microsoft.com/office/drawing/2014/main" id="{252DBC85-5AD6-4671-9E19-FD98C819512E}"/>
                  </a:ext>
                </a:extLst>
              </p:cNvPr>
              <p:cNvSpPr/>
              <p:nvPr/>
            </p:nvSpPr>
            <p:spPr bwMode="auto">
              <a:xfrm>
                <a:off x="8539927" y="2529038"/>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1" name="Straight Connector 130">
                <a:extLst>
                  <a:ext uri="{FF2B5EF4-FFF2-40B4-BE49-F238E27FC236}">
                    <a16:creationId xmlns:a16="http://schemas.microsoft.com/office/drawing/2014/main" id="{DDB58D98-CB4C-467D-86E2-452823FEDB7D}"/>
                  </a:ext>
                </a:extLst>
              </p:cNvPr>
              <p:cNvCxnSpPr>
                <a:cxnSpLocks/>
              </p:cNvCxnSpPr>
              <p:nvPr/>
            </p:nvCxnSpPr>
            <p:spPr>
              <a:xfrm>
                <a:off x="8361831" y="2038487"/>
                <a:ext cx="182880" cy="0"/>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2" name="Rectangle 131">
                <a:extLst>
                  <a:ext uri="{FF2B5EF4-FFF2-40B4-BE49-F238E27FC236}">
                    <a16:creationId xmlns:a16="http://schemas.microsoft.com/office/drawing/2014/main" id="{36F0CECB-4A88-4BF1-A686-19F86E651030}"/>
                  </a:ext>
                </a:extLst>
              </p:cNvPr>
              <p:cNvSpPr/>
              <p:nvPr/>
            </p:nvSpPr>
            <p:spPr bwMode="auto">
              <a:xfrm>
                <a:off x="8553749" y="1947047"/>
                <a:ext cx="182880" cy="182880"/>
              </a:xfrm>
              <a:prstGeom prst="rect">
                <a:avLst/>
              </a:prstGeom>
              <a:noFill/>
              <a:ln w="28575">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05ACCE22-E239-40E5-8B86-C0D369BA0F76}"/>
                  </a:ext>
                </a:extLst>
              </p:cNvPr>
              <p:cNvCxnSpPr>
                <a:cxnSpLocks/>
              </p:cNvCxnSpPr>
              <p:nvPr/>
            </p:nvCxnSpPr>
            <p:spPr>
              <a:xfrm>
                <a:off x="8350293" y="2038487"/>
                <a:ext cx="0" cy="185751"/>
              </a:xfrm>
              <a:prstGeom prst="line">
                <a:avLst/>
              </a:prstGeom>
              <a:noFill/>
              <a:ln w="28575" cap="rnd">
                <a:solidFill>
                  <a:srgbClr val="00857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9" name="Title 1">
            <a:extLst>
              <a:ext uri="{FF2B5EF4-FFF2-40B4-BE49-F238E27FC236}">
                <a16:creationId xmlns:a16="http://schemas.microsoft.com/office/drawing/2014/main" id="{DC534DBF-5C29-4C2E-9DFE-1A4BAFAB34FE}"/>
              </a:ext>
            </a:extLst>
          </p:cNvPr>
          <p:cNvSpPr>
            <a:spLocks noGrp="1"/>
          </p:cNvSpPr>
          <p:nvPr>
            <p:ph type="title"/>
          </p:nvPr>
        </p:nvSpPr>
        <p:spPr/>
        <p:txBody>
          <a:bodyPr/>
          <a:lstStyle/>
          <a:p>
            <a:r>
              <a:rPr lang="en-US"/>
              <a:t>Cognitive Search</a:t>
            </a:r>
            <a:br>
              <a:rPr lang="en-US"/>
            </a:br>
            <a:r>
              <a:rPr lang="en-US" sz="2000"/>
              <a:t>A new capability of Azure Search</a:t>
            </a:r>
            <a:endParaRPr lang="en-US"/>
          </a:p>
        </p:txBody>
      </p:sp>
    </p:spTree>
    <p:extLst>
      <p:ext uri="{BB962C8B-B14F-4D97-AF65-F5344CB8AC3E}">
        <p14:creationId xmlns:p14="http://schemas.microsoft.com/office/powerpoint/2010/main" val="260996498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6EA68-FF72-5F8F-5F4B-A24DE810E408}"/>
              </a:ext>
            </a:extLst>
          </p:cNvPr>
          <p:cNvSpPr>
            <a:spLocks noGrp="1"/>
          </p:cNvSpPr>
          <p:nvPr>
            <p:ph type="title"/>
          </p:nvPr>
        </p:nvSpPr>
        <p:spPr/>
        <p:txBody>
          <a:bodyPr/>
          <a:lstStyle/>
          <a:p>
            <a:r>
              <a:rPr lang="en-US" dirty="0"/>
              <a:t>Power Skills Repo</a:t>
            </a:r>
          </a:p>
        </p:txBody>
      </p:sp>
      <p:sp>
        <p:nvSpPr>
          <p:cNvPr id="4" name="TextBox 3">
            <a:extLst>
              <a:ext uri="{FF2B5EF4-FFF2-40B4-BE49-F238E27FC236}">
                <a16:creationId xmlns:a16="http://schemas.microsoft.com/office/drawing/2014/main" id="{103EDA85-CBA4-033B-550B-90AC2EFBC4C3}"/>
              </a:ext>
            </a:extLst>
          </p:cNvPr>
          <p:cNvSpPr txBox="1"/>
          <p:nvPr/>
        </p:nvSpPr>
        <p:spPr>
          <a:xfrm>
            <a:off x="379676" y="6293861"/>
            <a:ext cx="6738730" cy="369332"/>
          </a:xfrm>
          <a:prstGeom prst="rect">
            <a:avLst/>
          </a:prstGeom>
          <a:noFill/>
        </p:spPr>
        <p:txBody>
          <a:bodyPr wrap="square">
            <a:spAutoFit/>
          </a:bodyPr>
          <a:lstStyle/>
          <a:p>
            <a:r>
              <a:rPr lang="en-US" dirty="0">
                <a:hlinkClick r:id="rId2"/>
              </a:rPr>
              <a:t>https://aka.ms/powerskills</a:t>
            </a:r>
            <a:endParaRPr lang="en-US" dirty="0"/>
          </a:p>
        </p:txBody>
      </p:sp>
      <p:pic>
        <p:nvPicPr>
          <p:cNvPr id="6" name="Picture 5">
            <a:extLst>
              <a:ext uri="{FF2B5EF4-FFF2-40B4-BE49-F238E27FC236}">
                <a16:creationId xmlns:a16="http://schemas.microsoft.com/office/drawing/2014/main" id="{74333E25-3351-5279-2F7F-B3E721955C03}"/>
              </a:ext>
            </a:extLst>
          </p:cNvPr>
          <p:cNvPicPr>
            <a:picLocks noChangeAspect="1"/>
          </p:cNvPicPr>
          <p:nvPr/>
        </p:nvPicPr>
        <p:blipFill>
          <a:blip r:embed="rId3"/>
          <a:stretch>
            <a:fillRect/>
          </a:stretch>
        </p:blipFill>
        <p:spPr>
          <a:xfrm>
            <a:off x="672687" y="1321905"/>
            <a:ext cx="5075480" cy="4804576"/>
          </a:xfrm>
          <a:prstGeom prst="rect">
            <a:avLst/>
          </a:prstGeom>
        </p:spPr>
      </p:pic>
      <p:pic>
        <p:nvPicPr>
          <p:cNvPr id="8" name="Picture 7">
            <a:extLst>
              <a:ext uri="{FF2B5EF4-FFF2-40B4-BE49-F238E27FC236}">
                <a16:creationId xmlns:a16="http://schemas.microsoft.com/office/drawing/2014/main" id="{10781C74-7F08-E664-BB07-104A9A287E5B}"/>
              </a:ext>
            </a:extLst>
          </p:cNvPr>
          <p:cNvPicPr>
            <a:picLocks noChangeAspect="1"/>
          </p:cNvPicPr>
          <p:nvPr/>
        </p:nvPicPr>
        <p:blipFill>
          <a:blip r:embed="rId4"/>
          <a:stretch>
            <a:fillRect/>
          </a:stretch>
        </p:blipFill>
        <p:spPr>
          <a:xfrm>
            <a:off x="6096000" y="734199"/>
            <a:ext cx="5706094" cy="5633635"/>
          </a:xfrm>
          <a:prstGeom prst="rect">
            <a:avLst/>
          </a:prstGeom>
        </p:spPr>
      </p:pic>
    </p:spTree>
    <p:extLst>
      <p:ext uri="{BB962C8B-B14F-4D97-AF65-F5344CB8AC3E}">
        <p14:creationId xmlns:p14="http://schemas.microsoft.com/office/powerpoint/2010/main" val="285439221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9D3BA70-7652-7C97-00A0-492D852A2C25}"/>
              </a:ext>
            </a:extLst>
          </p:cNvPr>
          <p:cNvPicPr>
            <a:picLocks noChangeAspect="1"/>
          </p:cNvPicPr>
          <p:nvPr/>
        </p:nvPicPr>
        <p:blipFill rotWithShape="1">
          <a:blip r:embed="rId2"/>
          <a:srcRect r="36222"/>
          <a:stretch/>
        </p:blipFill>
        <p:spPr>
          <a:xfrm>
            <a:off x="647363" y="2223756"/>
            <a:ext cx="6434081" cy="4063756"/>
          </a:xfrm>
          <a:prstGeom prst="rect">
            <a:avLst/>
          </a:prstGeom>
        </p:spPr>
      </p:pic>
      <p:sp>
        <p:nvSpPr>
          <p:cNvPr id="2" name="Title 1">
            <a:extLst>
              <a:ext uri="{FF2B5EF4-FFF2-40B4-BE49-F238E27FC236}">
                <a16:creationId xmlns:a16="http://schemas.microsoft.com/office/drawing/2014/main" id="{D2822829-D1D5-53AA-DFDE-074F3AA393B8}"/>
              </a:ext>
            </a:extLst>
          </p:cNvPr>
          <p:cNvSpPr>
            <a:spLocks noGrp="1"/>
          </p:cNvSpPr>
          <p:nvPr>
            <p:ph type="title"/>
          </p:nvPr>
        </p:nvSpPr>
        <p:spPr/>
        <p:txBody>
          <a:bodyPr/>
          <a:lstStyle/>
          <a:p>
            <a:r>
              <a:rPr lang="en-US" dirty="0"/>
              <a:t>Azure AI / OpenAI Studio Add your data</a:t>
            </a:r>
          </a:p>
        </p:txBody>
      </p:sp>
      <p:sp>
        <p:nvSpPr>
          <p:cNvPr id="5" name="Content Placeholder 4">
            <a:extLst>
              <a:ext uri="{FF2B5EF4-FFF2-40B4-BE49-F238E27FC236}">
                <a16:creationId xmlns:a16="http://schemas.microsoft.com/office/drawing/2014/main" id="{15293518-B7D7-F548-CFA2-2A5694F64422}"/>
              </a:ext>
            </a:extLst>
          </p:cNvPr>
          <p:cNvSpPr>
            <a:spLocks noGrp="1"/>
          </p:cNvSpPr>
          <p:nvPr>
            <p:ph sz="quarter" idx="10"/>
          </p:nvPr>
        </p:nvSpPr>
        <p:spPr>
          <a:xfrm>
            <a:off x="584200" y="1435100"/>
            <a:ext cx="11018838" cy="430887"/>
          </a:xfrm>
        </p:spPr>
        <p:txBody>
          <a:bodyPr/>
          <a:lstStyle/>
          <a:p>
            <a:r>
              <a:rPr lang="en-US" dirty="0"/>
              <a:t>Using Pull mode with knowledge store for index creation</a:t>
            </a:r>
          </a:p>
        </p:txBody>
      </p:sp>
      <p:sp>
        <p:nvSpPr>
          <p:cNvPr id="4" name="TextBox 3">
            <a:extLst>
              <a:ext uri="{FF2B5EF4-FFF2-40B4-BE49-F238E27FC236}">
                <a16:creationId xmlns:a16="http://schemas.microsoft.com/office/drawing/2014/main" id="{C91A33C7-F7E0-F429-7740-227CBDBECD7B}"/>
              </a:ext>
            </a:extLst>
          </p:cNvPr>
          <p:cNvSpPr txBox="1"/>
          <p:nvPr/>
        </p:nvSpPr>
        <p:spPr>
          <a:xfrm>
            <a:off x="588263" y="6215199"/>
            <a:ext cx="9138364" cy="369332"/>
          </a:xfrm>
          <a:prstGeom prst="rect">
            <a:avLst/>
          </a:prstGeom>
          <a:noFill/>
        </p:spPr>
        <p:txBody>
          <a:bodyPr wrap="square">
            <a:spAutoFit/>
          </a:bodyPr>
          <a:lstStyle/>
          <a:p>
            <a:r>
              <a:rPr lang="en-US" dirty="0">
                <a:hlinkClick r:id="rId3"/>
              </a:rPr>
              <a:t>Using your data with Azure OpenAI Service - Azure OpenAI | Microsoft Learn</a:t>
            </a:r>
            <a:endParaRPr lang="en-US" dirty="0"/>
          </a:p>
        </p:txBody>
      </p:sp>
      <p:sp>
        <p:nvSpPr>
          <p:cNvPr id="10" name="Rectangle 9">
            <a:extLst>
              <a:ext uri="{FF2B5EF4-FFF2-40B4-BE49-F238E27FC236}">
                <a16:creationId xmlns:a16="http://schemas.microsoft.com/office/drawing/2014/main" id="{47E855CD-2BB0-590E-CDE6-5BC24BA704CD}"/>
              </a:ext>
            </a:extLst>
          </p:cNvPr>
          <p:cNvSpPr/>
          <p:nvPr/>
        </p:nvSpPr>
        <p:spPr bwMode="auto">
          <a:xfrm>
            <a:off x="2387151" y="3385372"/>
            <a:ext cx="3091157" cy="270793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0A389D43-3353-31FD-278B-60F2A8ADA3E0}"/>
              </a:ext>
            </a:extLst>
          </p:cNvPr>
          <p:cNvPicPr>
            <a:picLocks noChangeAspect="1"/>
          </p:cNvPicPr>
          <p:nvPr/>
        </p:nvPicPr>
        <p:blipFill>
          <a:blip r:embed="rId4"/>
          <a:stretch>
            <a:fillRect/>
          </a:stretch>
        </p:blipFill>
        <p:spPr>
          <a:xfrm>
            <a:off x="7975292" y="3149763"/>
            <a:ext cx="2952222" cy="1779422"/>
          </a:xfrm>
          <a:prstGeom prst="rect">
            <a:avLst/>
          </a:prstGeom>
        </p:spPr>
      </p:pic>
      <p:sp>
        <p:nvSpPr>
          <p:cNvPr id="9" name="TextBox 8">
            <a:extLst>
              <a:ext uri="{FF2B5EF4-FFF2-40B4-BE49-F238E27FC236}">
                <a16:creationId xmlns:a16="http://schemas.microsoft.com/office/drawing/2014/main" id="{92B33989-47E0-359D-4142-097D6035720B}"/>
              </a:ext>
            </a:extLst>
          </p:cNvPr>
          <p:cNvSpPr txBox="1"/>
          <p:nvPr/>
        </p:nvSpPr>
        <p:spPr>
          <a:xfrm>
            <a:off x="7761426" y="2505670"/>
            <a:ext cx="3701492" cy="646331"/>
          </a:xfrm>
          <a:prstGeom prst="rect">
            <a:avLst/>
          </a:prstGeom>
          <a:noFill/>
        </p:spPr>
        <p:txBody>
          <a:bodyPr wrap="square">
            <a:spAutoFit/>
          </a:bodyPr>
          <a:lstStyle/>
          <a:p>
            <a:r>
              <a:rPr lang="en-US" b="0" i="0" dirty="0">
                <a:solidFill>
                  <a:srgbClr val="161616"/>
                </a:solidFill>
                <a:effectLst/>
                <a:latin typeface="Segoe UI" panose="020B0502040204020203" pitchFamily="34" charset="0"/>
              </a:rPr>
              <a:t>Intermediate assets are created in the Azure AI Search resource:</a:t>
            </a:r>
            <a:endParaRPr lang="en-US" dirty="0"/>
          </a:p>
        </p:txBody>
      </p:sp>
    </p:spTree>
    <p:extLst>
      <p:ext uri="{BB962C8B-B14F-4D97-AF65-F5344CB8AC3E}">
        <p14:creationId xmlns:p14="http://schemas.microsoft.com/office/powerpoint/2010/main" val="1313077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F834328-4908-9613-E795-EB3332B4C1D0}"/>
              </a:ext>
            </a:extLst>
          </p:cNvPr>
          <p:cNvSpPr txBox="1"/>
          <p:nvPr/>
        </p:nvSpPr>
        <p:spPr>
          <a:xfrm>
            <a:off x="254899" y="1158417"/>
            <a:ext cx="6740664" cy="5478423"/>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https://sampleappaoaichat1.search.windows.net/$</a:t>
            </a:r>
            <a:r>
              <a:rPr lang="en-US" sz="1400" b="0" dirty="0" err="1">
                <a:solidFill>
                  <a:srgbClr val="0451A5"/>
                </a:solidFill>
                <a:effectLst/>
                <a:latin typeface="Consolas" panose="020B0609020204030204" pitchFamily="49" charset="0"/>
              </a:rPr>
              <a:t>metadata#indexers</a:t>
            </a:r>
            <a:r>
              <a:rPr lang="en-US" sz="1400" b="0" dirty="0">
                <a:solidFill>
                  <a:srgbClr val="0451A5"/>
                </a:solidFill>
                <a:effectLst/>
                <a:latin typeface="Consolas" panose="020B0609020204030204" pitchFamily="49" charset="0"/>
              </a:rPr>
              <a:t>/$entity"</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etag</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0x8DBE66618B186FB\""</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indexer"</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escription"</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dataSource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a:t>
            </a:r>
            <a:r>
              <a:rPr lang="en-US" sz="1400" b="0" dirty="0" err="1">
                <a:solidFill>
                  <a:srgbClr val="0451A5"/>
                </a:solidFill>
                <a:effectLst/>
                <a:latin typeface="Consolas" panose="020B0609020204030204" pitchFamily="49" charset="0"/>
              </a:rPr>
              <a:t>datasource</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killset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skillse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Index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index"</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isabled"</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fals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chedule"</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terval"</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PT30M"</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tartTi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2023-11-16T05:07:15.345Z"</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parameter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batchSiz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xFailedItem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xFailedItemsPerBatch</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base64EncodeKeys"</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configuration"</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indexedFileNameExtension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txt,.md,.html,.pdf,.docx,.pptx"</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dataToExtrac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contentAndMetadata</a:t>
            </a:r>
            <a:r>
              <a:rPr lang="en-US" sz="1400" b="0" dirty="0">
                <a:solidFill>
                  <a:srgbClr val="0451A5"/>
                </a:solidFill>
                <a:effectLst/>
                <a:latin typeface="Consolas" panose="020B0609020204030204" pitchFamily="49" charset="0"/>
              </a:rPr>
              <a: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p:txBody>
      </p:sp>
      <p:sp>
        <p:nvSpPr>
          <p:cNvPr id="6" name="TextBox 5">
            <a:extLst>
              <a:ext uri="{FF2B5EF4-FFF2-40B4-BE49-F238E27FC236}">
                <a16:creationId xmlns:a16="http://schemas.microsoft.com/office/drawing/2014/main" id="{24F985BC-9003-5B49-FD58-3EFB2572B82A}"/>
              </a:ext>
            </a:extLst>
          </p:cNvPr>
          <p:cNvSpPr txBox="1"/>
          <p:nvPr/>
        </p:nvSpPr>
        <p:spPr>
          <a:xfrm>
            <a:off x="6930827" y="1158417"/>
            <a:ext cx="6740664" cy="5262979"/>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fieldMapping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metadata_storage_path</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document_i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ppingFunction</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base64Encod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parameters"</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metadata_storage_name</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filenam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ppingFunction</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metadata_storage_path</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Field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url</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ppingFunction</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utputFieldMapping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cach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encryptionKey</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a:t>
            </a:r>
          </a:p>
        </p:txBody>
      </p:sp>
      <p:sp>
        <p:nvSpPr>
          <p:cNvPr id="8" name="Content Placeholder 7">
            <a:extLst>
              <a:ext uri="{FF2B5EF4-FFF2-40B4-BE49-F238E27FC236}">
                <a16:creationId xmlns:a16="http://schemas.microsoft.com/office/drawing/2014/main" id="{D56A5619-4BC5-6F64-D1E2-ACBB5CE8005D}"/>
              </a:ext>
            </a:extLst>
          </p:cNvPr>
          <p:cNvSpPr>
            <a:spLocks noGrp="1"/>
          </p:cNvSpPr>
          <p:nvPr>
            <p:ph sz="quarter" idx="10"/>
          </p:nvPr>
        </p:nvSpPr>
        <p:spPr>
          <a:xfrm>
            <a:off x="586581" y="352042"/>
            <a:ext cx="11018838" cy="430887"/>
          </a:xfrm>
        </p:spPr>
        <p:txBody>
          <a:bodyPr/>
          <a:lstStyle/>
          <a:p>
            <a:r>
              <a:rPr lang="en-US" dirty="0"/>
              <a:t>Indexer 1 – to get documents from Blob Storage</a:t>
            </a:r>
          </a:p>
        </p:txBody>
      </p:sp>
      <p:sp>
        <p:nvSpPr>
          <p:cNvPr id="2" name="Rectangle 1">
            <a:extLst>
              <a:ext uri="{FF2B5EF4-FFF2-40B4-BE49-F238E27FC236}">
                <a16:creationId xmlns:a16="http://schemas.microsoft.com/office/drawing/2014/main" id="{37E8F2BF-BCBB-CFB3-4651-8DEA4E525E23}"/>
              </a:ext>
            </a:extLst>
          </p:cNvPr>
          <p:cNvSpPr/>
          <p:nvPr/>
        </p:nvSpPr>
        <p:spPr bwMode="auto">
          <a:xfrm>
            <a:off x="254899" y="2435941"/>
            <a:ext cx="5563274" cy="760414"/>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9884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0049D27-0A75-1DC7-8098-8001808EE1F8}"/>
              </a:ext>
              <a:ext uri="{C183D7F6-B498-43B3-948B-1728B52AA6E4}">
                <adec:decorative xmlns:adec="http://schemas.microsoft.com/office/drawing/2017/decorative" val="1"/>
              </a:ext>
            </a:extLst>
          </p:cNvPr>
          <p:cNvPicPr>
            <a:picLocks noChangeAspect="1"/>
          </p:cNvPicPr>
          <p:nvPr/>
        </p:nvPicPr>
        <p:blipFill rotWithShape="1">
          <a:blip r:embed="rId2">
            <a:lum bright="100000"/>
            <a:alphaModFix amt="20000"/>
            <a:extLst>
              <a:ext uri="{96DAC541-7B7A-43D3-8B79-37D633B846F1}">
                <asvg:svgBlip xmlns:asvg="http://schemas.microsoft.com/office/drawing/2016/SVG/main" r:embed="rId3"/>
              </a:ext>
            </a:extLst>
          </a:blip>
          <a:srcRect l="1286" t="1286" r="1286" b="1286"/>
          <a:stretch/>
        </p:blipFill>
        <p:spPr>
          <a:xfrm>
            <a:off x="0" y="-1133464"/>
            <a:ext cx="14208369" cy="7991464"/>
          </a:xfrm>
          <a:prstGeom prst="rect">
            <a:avLst/>
          </a:prstGeom>
        </p:spPr>
      </p:pic>
      <p:sp>
        <p:nvSpPr>
          <p:cNvPr id="3" name="Rectangle: Top Corners Rounded 14">
            <a:extLst>
              <a:ext uri="{FF2B5EF4-FFF2-40B4-BE49-F238E27FC236}">
                <a16:creationId xmlns:a16="http://schemas.microsoft.com/office/drawing/2014/main" id="{C4FC6480-DA16-9E00-6B32-1B2AADF4AB02}"/>
              </a:ext>
              <a:ext uri="{C183D7F6-B498-43B3-948B-1728B52AA6E4}">
                <adec:decorative xmlns:adec="http://schemas.microsoft.com/office/drawing/2017/decorative" val="1"/>
              </a:ext>
            </a:extLst>
          </p:cNvPr>
          <p:cNvSpPr>
            <a:spLocks/>
          </p:cNvSpPr>
          <p:nvPr/>
        </p:nvSpPr>
        <p:spPr bwMode="hidden">
          <a:xfrm>
            <a:off x="-1" y="755373"/>
            <a:ext cx="12202294" cy="5575854"/>
          </a:xfrm>
          <a:prstGeom prst="rect">
            <a:avLst/>
          </a:prstGeom>
          <a:solidFill>
            <a:srgbClr val="091F2C"/>
          </a:solidFill>
          <a:ln>
            <a:noFill/>
            <a:headEnd type="none" w="med" len="med"/>
            <a:tailEnd type="none" w="med" len="med"/>
          </a:ln>
          <a:effectLst>
            <a:outerShdw blurRad="63500" sx="102000" sy="102000" algn="ctr" rotWithShape="0">
              <a:prstClr val="black">
                <a:alpha val="50332"/>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8960" tIns="0" rIns="568960" bIns="0" numCol="1" spcCol="0" rtlCol="0" fromWordArt="0" anchor="ctr" anchorCtr="0" forceAA="0" compatLnSpc="1">
            <a:prstTxWarp prst="textNoShape">
              <a:avLst/>
            </a:prstTxWarp>
            <a:noAutofit/>
          </a:bodyPr>
          <a:lstStyle/>
          <a:p>
            <a:pPr marL="0" marR="0" lvl="0" indent="0" algn="ctr" defTabSz="2901014" rtl="0" eaLnBrk="1" fontAlgn="base" latinLnBrk="0" hangingPunct="1">
              <a:lnSpc>
                <a:spcPct val="100000"/>
              </a:lnSpc>
              <a:spcBef>
                <a:spcPct val="0"/>
              </a:spcBef>
              <a:spcAft>
                <a:spcPct val="0"/>
              </a:spcAft>
              <a:buClrTx/>
              <a:buSzTx/>
              <a:buFontTx/>
              <a:buNone/>
              <a:tabLst/>
              <a:defRPr/>
            </a:pPr>
            <a:endParaRPr kumimoji="0" lang="en-US" sz="4356" b="0" i="0" u="none" strike="noStrike" kern="1200" cap="none" spc="0" normalizeH="0" baseline="0" noProof="0">
              <a:ln>
                <a:noFill/>
              </a:ln>
              <a:noFill/>
              <a:effectLst/>
              <a:uLnTx/>
              <a:uFillTx/>
              <a:latin typeface="Segoe UI Semibold"/>
              <a:ea typeface="+mn-ea"/>
              <a:cs typeface="Segoe UI" pitchFamily="34" charset="0"/>
            </a:endParaRPr>
          </a:p>
        </p:txBody>
      </p:sp>
      <p:sp>
        <p:nvSpPr>
          <p:cNvPr id="4" name="Title 5">
            <a:extLst>
              <a:ext uri="{FF2B5EF4-FFF2-40B4-BE49-F238E27FC236}">
                <a16:creationId xmlns:a16="http://schemas.microsoft.com/office/drawing/2014/main" id="{5F688365-1727-DA8A-3C80-5CFB5E12480A}"/>
              </a:ext>
            </a:extLst>
          </p:cNvPr>
          <p:cNvSpPr txBox="1">
            <a:spLocks/>
          </p:cNvSpPr>
          <p:nvPr/>
        </p:nvSpPr>
        <p:spPr>
          <a:xfrm>
            <a:off x="0" y="2566988"/>
            <a:ext cx="10890250" cy="860425"/>
          </a:xfrm>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400">
              <a:spcBef>
                <a:spcPts val="0"/>
              </a:spcBef>
              <a:defRPr/>
            </a:pPr>
            <a:r>
              <a:rPr lang="en-US" sz="4750" spc="0">
                <a:ln>
                  <a:noFill/>
                </a:ln>
                <a:solidFill>
                  <a:srgbClr val="8DC8E8"/>
                </a:solidFill>
                <a:latin typeface="Segoe UI Semibold"/>
                <a:cs typeface="Segoe UI"/>
              </a:rPr>
              <a:t>Azure AI Search</a:t>
            </a:r>
            <a:endParaRPr lang="en-US"/>
          </a:p>
        </p:txBody>
      </p:sp>
      <p:sp>
        <p:nvSpPr>
          <p:cNvPr id="5" name="TextBox 4" descr="Redefine collaboration&#10;">
            <a:extLst>
              <a:ext uri="{FF2B5EF4-FFF2-40B4-BE49-F238E27FC236}">
                <a16:creationId xmlns:a16="http://schemas.microsoft.com/office/drawing/2014/main" id="{F8612155-9418-01F9-1AE4-70193868178A}"/>
              </a:ext>
            </a:extLst>
          </p:cNvPr>
          <p:cNvSpPr txBox="1"/>
          <p:nvPr/>
        </p:nvSpPr>
        <p:spPr>
          <a:xfrm>
            <a:off x="542796" y="4025489"/>
            <a:ext cx="1605545" cy="9002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dirty="0">
                <a:ln>
                  <a:noFill/>
                </a:ln>
                <a:gradFill>
                  <a:gsLst>
                    <a:gs pos="0">
                      <a:srgbClr val="FFFFFF"/>
                    </a:gs>
                    <a:gs pos="74000">
                      <a:srgbClr val="FFFFFF"/>
                    </a:gs>
                  </a:gsLst>
                  <a:lin ang="10800000" scaled="1"/>
                </a:gradFill>
                <a:effectLst/>
                <a:uLnTx/>
                <a:uFillTx/>
                <a:latin typeface="Segoe UI Semibold"/>
                <a:ea typeface="+mn-ea"/>
                <a:cs typeface="Segoe UI"/>
              </a:rPr>
              <a:t>Feature-rich vector database</a:t>
            </a:r>
          </a:p>
        </p:txBody>
      </p:sp>
      <p:sp>
        <p:nvSpPr>
          <p:cNvPr id="6" name="TextBox 5" descr="Automate entire workflows&#10;">
            <a:extLst>
              <a:ext uri="{FF2B5EF4-FFF2-40B4-BE49-F238E27FC236}">
                <a16:creationId xmlns:a16="http://schemas.microsoft.com/office/drawing/2014/main" id="{B29F86C8-D083-362C-50EB-A879A692E032}"/>
              </a:ext>
            </a:extLst>
          </p:cNvPr>
          <p:cNvSpPr txBox="1"/>
          <p:nvPr/>
        </p:nvSpPr>
        <p:spPr>
          <a:xfrm>
            <a:off x="2512515" y="3949289"/>
            <a:ext cx="2014597" cy="92333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FFFFFF"/>
                    </a:gs>
                    <a:gs pos="74000">
                      <a:srgbClr val="FFFFFF"/>
                    </a:gs>
                  </a:gsLst>
                  <a:lin ang="10800000" scaled="1"/>
                </a:gradFill>
                <a:effectLst/>
                <a:uLnTx/>
                <a:uFillTx/>
                <a:latin typeface="Segoe UI Semibold"/>
                <a:ea typeface="+mn-ea"/>
                <a:cs typeface="Segoe UI"/>
              </a:rPr>
              <a:t>Ingest any data type, from any source</a:t>
            </a: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7" name="TextBox 6" descr="Secure DevSecOps&#10;">
            <a:extLst>
              <a:ext uri="{FF2B5EF4-FFF2-40B4-BE49-F238E27FC236}">
                <a16:creationId xmlns:a16="http://schemas.microsoft.com/office/drawing/2014/main" id="{07F25A35-7DDC-C462-B97E-3CAFE3BA5F57}"/>
              </a:ext>
            </a:extLst>
          </p:cNvPr>
          <p:cNvSpPr txBox="1"/>
          <p:nvPr/>
        </p:nvSpPr>
        <p:spPr>
          <a:xfrm>
            <a:off x="4887931" y="4025489"/>
            <a:ext cx="1979252" cy="9002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dirty="0">
                <a:ln>
                  <a:noFill/>
                </a:ln>
                <a:gradFill>
                  <a:gsLst>
                    <a:gs pos="0">
                      <a:srgbClr val="FFFFFF"/>
                    </a:gs>
                    <a:gs pos="74000">
                      <a:srgbClr val="FFFFFF"/>
                    </a:gs>
                  </a:gsLst>
                  <a:lin ang="10800000" scaled="1"/>
                </a:gradFill>
                <a:effectLst/>
                <a:uLnTx/>
                <a:uFillTx/>
                <a:latin typeface="Segoe UI Semibold"/>
                <a:ea typeface="+mn-ea"/>
                <a:cs typeface="Segoe UI"/>
              </a:rPr>
              <a:t>Seamless data &amp; platform integrations</a:t>
            </a:r>
            <a:endParaRPr kumimoji="0" lang="en-US" sz="1800" b="0" i="0" u="none" strike="noStrike" kern="1200" cap="none" spc="0" normalizeH="0" baseline="0" noProof="0" dirty="0">
              <a:ln>
                <a:noFill/>
              </a:ln>
              <a:solidFill>
                <a:srgbClr val="FFFFFF"/>
              </a:solidFill>
              <a:effectLst/>
              <a:uLnTx/>
              <a:uFillTx/>
              <a:latin typeface="Segoe UI"/>
              <a:ea typeface="+mn-ea"/>
              <a:cs typeface="Segoe Sans Text"/>
            </a:endParaRPr>
          </a:p>
        </p:txBody>
      </p:sp>
      <p:sp>
        <p:nvSpPr>
          <p:cNvPr id="8" name="TextBox 7" descr="Loved by 100M+ developers&#10;">
            <a:extLst>
              <a:ext uri="{FF2B5EF4-FFF2-40B4-BE49-F238E27FC236}">
                <a16:creationId xmlns:a16="http://schemas.microsoft.com/office/drawing/2014/main" id="{5EB51D3C-DFA3-2E5F-E3DA-159C61E13BE6}"/>
              </a:ext>
            </a:extLst>
          </p:cNvPr>
          <p:cNvSpPr txBox="1"/>
          <p:nvPr/>
        </p:nvSpPr>
        <p:spPr>
          <a:xfrm>
            <a:off x="6948762" y="4025489"/>
            <a:ext cx="2165074"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dirty="0">
                <a:ln>
                  <a:noFill/>
                </a:ln>
                <a:gradFill>
                  <a:gsLst>
                    <a:gs pos="0">
                      <a:srgbClr val="FFFFFF"/>
                    </a:gs>
                    <a:gs pos="74000">
                      <a:srgbClr val="FFFFFF"/>
                    </a:gs>
                  </a:gsLst>
                  <a:lin ang="10800000" scaled="1"/>
                </a:gradFill>
                <a:effectLst/>
                <a:uLnTx/>
                <a:uFillTx/>
                <a:latin typeface="Segoe UI Semibold"/>
                <a:ea typeface="+mn-ea"/>
                <a:cs typeface="Segoe UI"/>
              </a:rPr>
              <a:t>State-of-the-art search ranking</a:t>
            </a:r>
            <a:endParaRPr kumimoji="0" lang="en-US" sz="175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Box 8" descr="Used by &gt;90% of Fortune 100&#10;">
            <a:extLst>
              <a:ext uri="{FF2B5EF4-FFF2-40B4-BE49-F238E27FC236}">
                <a16:creationId xmlns:a16="http://schemas.microsoft.com/office/drawing/2014/main" id="{DD16AE56-522E-798A-C4EA-B61E9AE55AC2}"/>
              </a:ext>
            </a:extLst>
          </p:cNvPr>
          <p:cNvSpPr txBox="1"/>
          <p:nvPr/>
        </p:nvSpPr>
        <p:spPr>
          <a:xfrm>
            <a:off x="9461073" y="4025489"/>
            <a:ext cx="1787303" cy="90024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50" b="0" i="0" u="none" strike="noStrike" kern="1200" cap="none" spc="0" normalizeH="0" baseline="0" noProof="0" dirty="0">
                <a:ln>
                  <a:noFill/>
                </a:ln>
                <a:gradFill>
                  <a:gsLst>
                    <a:gs pos="0">
                      <a:srgbClr val="FFFFFF"/>
                    </a:gs>
                    <a:gs pos="74000">
                      <a:srgbClr val="FFFFFF"/>
                    </a:gs>
                  </a:gsLst>
                  <a:lin ang="10800000" scaled="1"/>
                </a:gradFill>
                <a:effectLst/>
                <a:uLnTx/>
                <a:uFillTx/>
                <a:latin typeface="Segoe UI Semibold"/>
                <a:ea typeface="+mn-ea"/>
                <a:cs typeface="Segoe UI"/>
              </a:rPr>
              <a:t>Enterprise ready foundation</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0" name="Straight Connector 9">
            <a:extLst>
              <a:ext uri="{FF2B5EF4-FFF2-40B4-BE49-F238E27FC236}">
                <a16:creationId xmlns:a16="http://schemas.microsoft.com/office/drawing/2014/main" id="{0E23CB35-744D-293D-A1FF-D297B3A692F8}"/>
              </a:ext>
              <a:ext uri="{C183D7F6-B498-43B3-948B-1728B52AA6E4}">
                <adec:decorative xmlns:adec="http://schemas.microsoft.com/office/drawing/2017/decorative" val="1"/>
              </a:ext>
            </a:extLst>
          </p:cNvPr>
          <p:cNvCxnSpPr>
            <a:cxnSpLocks/>
          </p:cNvCxnSpPr>
          <p:nvPr/>
        </p:nvCxnSpPr>
        <p:spPr>
          <a:xfrm>
            <a:off x="2330428" y="3898654"/>
            <a:ext cx="0" cy="900000"/>
          </a:xfrm>
          <a:prstGeom prst="line">
            <a:avLst/>
          </a:prstGeom>
          <a:noFill/>
          <a:ln w="12700" cap="rnd" cmpd="sng" algn="ctr">
            <a:solidFill>
              <a:srgbClr val="3A4953"/>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977F12FE-DE07-B2F5-7241-D98D7AE9FC84}"/>
              </a:ext>
              <a:ext uri="{C183D7F6-B498-43B3-948B-1728B52AA6E4}">
                <adec:decorative xmlns:adec="http://schemas.microsoft.com/office/drawing/2017/decorative" val="1"/>
              </a:ext>
            </a:extLst>
          </p:cNvPr>
          <p:cNvCxnSpPr>
            <a:cxnSpLocks/>
          </p:cNvCxnSpPr>
          <p:nvPr/>
        </p:nvCxnSpPr>
        <p:spPr>
          <a:xfrm>
            <a:off x="4700732" y="3898654"/>
            <a:ext cx="0" cy="900000"/>
          </a:xfrm>
          <a:prstGeom prst="line">
            <a:avLst/>
          </a:prstGeom>
          <a:noFill/>
          <a:ln w="12700" cap="rnd" cmpd="sng" algn="ctr">
            <a:solidFill>
              <a:srgbClr val="3A4953"/>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B9CC3F9E-4E31-0F74-61B7-385ACF582968}"/>
              </a:ext>
              <a:ext uri="{C183D7F6-B498-43B3-948B-1728B52AA6E4}">
                <adec:decorative xmlns:adec="http://schemas.microsoft.com/office/drawing/2017/decorative" val="1"/>
              </a:ext>
            </a:extLst>
          </p:cNvPr>
          <p:cNvCxnSpPr>
            <a:cxnSpLocks/>
          </p:cNvCxnSpPr>
          <p:nvPr/>
        </p:nvCxnSpPr>
        <p:spPr>
          <a:xfrm>
            <a:off x="6952942" y="3949454"/>
            <a:ext cx="0" cy="900000"/>
          </a:xfrm>
          <a:prstGeom prst="line">
            <a:avLst/>
          </a:prstGeom>
          <a:noFill/>
          <a:ln w="12700" cap="rnd" cmpd="sng" algn="ctr">
            <a:solidFill>
              <a:srgbClr val="3A4953"/>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E137DCFA-611F-1528-14A1-3EB621CC7E79}"/>
              </a:ext>
              <a:ext uri="{C183D7F6-B498-43B3-948B-1728B52AA6E4}">
                <adec:decorative xmlns:adec="http://schemas.microsoft.com/office/drawing/2017/decorative" val="1"/>
              </a:ext>
            </a:extLst>
          </p:cNvPr>
          <p:cNvCxnSpPr>
            <a:cxnSpLocks/>
          </p:cNvCxnSpPr>
          <p:nvPr/>
        </p:nvCxnSpPr>
        <p:spPr>
          <a:xfrm>
            <a:off x="9287456" y="3898654"/>
            <a:ext cx="0" cy="900000"/>
          </a:xfrm>
          <a:prstGeom prst="line">
            <a:avLst/>
          </a:prstGeom>
          <a:noFill/>
          <a:ln w="12700" cap="rnd" cmpd="sng" algn="ctr">
            <a:solidFill>
              <a:srgbClr val="3A4953"/>
            </a:solidFill>
            <a:prstDash val="solid"/>
            <a:headEnd type="none" w="lg" len="med"/>
            <a:tailEnd type="none" w="lg" len="med"/>
          </a:ln>
          <a:effectLst/>
        </p:spPr>
      </p:cxnSp>
      <p:pic>
        <p:nvPicPr>
          <p:cNvPr id="16" name="Graphic 15" descr="Binoculars with solid fill">
            <a:extLst>
              <a:ext uri="{FF2B5EF4-FFF2-40B4-BE49-F238E27FC236}">
                <a16:creationId xmlns:a16="http://schemas.microsoft.com/office/drawing/2014/main" id="{455388ED-7DC3-5F1B-3653-5B3BEB9317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33292" y="1649698"/>
            <a:ext cx="914400" cy="914400"/>
          </a:xfrm>
          <a:prstGeom prst="rect">
            <a:avLst/>
          </a:prstGeom>
        </p:spPr>
      </p:pic>
    </p:spTree>
    <p:extLst>
      <p:ext uri="{BB962C8B-B14F-4D97-AF65-F5344CB8AC3E}">
        <p14:creationId xmlns:p14="http://schemas.microsoft.com/office/powerpoint/2010/main" val="3710360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00"/>
                                  </p:stCondLst>
                                  <p:childTnLst>
                                    <p:animMotion origin="layout" path="M 0 4.44444E-6 L 0 0.01967 " pathEditMode="relative" rAng="0" ptsTypes="AA">
                                      <p:cBhvr>
                                        <p:cTn id="9" dur="500" spd="-100000" fill="hold"/>
                                        <p:tgtEl>
                                          <p:spTgt spid="4"/>
                                        </p:tgtEl>
                                        <p:attrNameLst>
                                          <p:attrName>ppt_x</p:attrName>
                                          <p:attrName>ppt_y</p:attrName>
                                        </p:attrNameLst>
                                      </p:cBhvr>
                                      <p:rCtr x="0" y="972"/>
                                    </p:animMotion>
                                  </p:childTnLst>
                                </p:cTn>
                              </p:par>
                              <p:par>
                                <p:cTn id="10" presetID="10" presetClass="entr" presetSubtype="0" fill="hold" grpId="0"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200"/>
                                  </p:stCondLst>
                                  <p:childTnLst>
                                    <p:animMotion origin="layout" path="M 2.29167E-6 2.22222E-6 L 2.29167E-6 0.01967 " pathEditMode="relative" rAng="0" ptsTypes="AA">
                                      <p:cBhvr>
                                        <p:cTn id="14" dur="500" spd="-100000" fill="hold"/>
                                        <p:tgtEl>
                                          <p:spTgt spid="5"/>
                                        </p:tgtEl>
                                        <p:attrNameLst>
                                          <p:attrName>ppt_x</p:attrName>
                                          <p:attrName>ppt_y</p:attrName>
                                        </p:attrNameLst>
                                      </p:cBhvr>
                                      <p:rCtr x="0" y="972"/>
                                    </p:animMotion>
                                  </p:childTnLst>
                                </p:cTn>
                              </p:par>
                              <p:par>
                                <p:cTn id="15" presetID="10" presetClass="entr" presetSubtype="0" fill="hold" grpId="0" nodeType="withEffect">
                                  <p:stCondLst>
                                    <p:cond delay="3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grpId="1" nodeType="withEffect">
                                  <p:stCondLst>
                                    <p:cond delay="300"/>
                                  </p:stCondLst>
                                  <p:childTnLst>
                                    <p:animMotion origin="layout" path="M -6.25E-7 2.22222E-6 L -6.25E-7 0.01967 " pathEditMode="relative" rAng="0" ptsTypes="AA">
                                      <p:cBhvr>
                                        <p:cTn id="19" dur="500" spd="-100000" fill="hold"/>
                                        <p:tgtEl>
                                          <p:spTgt spid="6"/>
                                        </p:tgtEl>
                                        <p:attrNameLst>
                                          <p:attrName>ppt_x</p:attrName>
                                          <p:attrName>ppt_y</p:attrName>
                                        </p:attrNameLst>
                                      </p:cBhvr>
                                      <p:rCtr x="0" y="972"/>
                                    </p:animMotion>
                                  </p:childTnLst>
                                </p:cTn>
                              </p:par>
                              <p:par>
                                <p:cTn id="20" presetID="10" presetClass="entr" presetSubtype="0" fill="hold" grpId="0" nodeType="withEffect">
                                  <p:stCondLst>
                                    <p:cond delay="4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grpId="1" nodeType="withEffect">
                                  <p:stCondLst>
                                    <p:cond delay="400"/>
                                  </p:stCondLst>
                                  <p:childTnLst>
                                    <p:animMotion origin="layout" path="M 2.70833E-6 2.22222E-6 L 2.70833E-6 0.01967 " pathEditMode="relative" rAng="0" ptsTypes="AA">
                                      <p:cBhvr>
                                        <p:cTn id="24" dur="500" spd="-100000" fill="hold"/>
                                        <p:tgtEl>
                                          <p:spTgt spid="7"/>
                                        </p:tgtEl>
                                        <p:attrNameLst>
                                          <p:attrName>ppt_x</p:attrName>
                                          <p:attrName>ppt_y</p:attrName>
                                        </p:attrNameLst>
                                      </p:cBhvr>
                                      <p:rCtr x="0" y="972"/>
                                    </p:animMotion>
                                  </p:childTnLst>
                                </p:cTn>
                              </p:par>
                              <p:par>
                                <p:cTn id="25" presetID="10" presetClass="entr" presetSubtype="0" fill="hold" grpId="0" nodeType="withEffect">
                                  <p:stCondLst>
                                    <p:cond delay="50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42" presetClass="path" presetSubtype="0" decel="100000" fill="hold" grpId="1" nodeType="withEffect">
                                  <p:stCondLst>
                                    <p:cond delay="500"/>
                                  </p:stCondLst>
                                  <p:childTnLst>
                                    <p:animMotion origin="layout" path="M -3.95833E-6 2.22222E-6 L -3.95833E-6 0.01967 " pathEditMode="relative" rAng="0" ptsTypes="AA">
                                      <p:cBhvr>
                                        <p:cTn id="29" dur="500" spd="-100000" fill="hold"/>
                                        <p:tgtEl>
                                          <p:spTgt spid="8"/>
                                        </p:tgtEl>
                                        <p:attrNameLst>
                                          <p:attrName>ppt_x</p:attrName>
                                          <p:attrName>ppt_y</p:attrName>
                                        </p:attrNameLst>
                                      </p:cBhvr>
                                      <p:rCtr x="0" y="972"/>
                                    </p:animMotion>
                                  </p:childTnLst>
                                </p:cTn>
                              </p:par>
                              <p:par>
                                <p:cTn id="30" presetID="10" presetClass="entr" presetSubtype="0" fill="hold" grpId="0" nodeType="withEffect">
                                  <p:stCondLst>
                                    <p:cond delay="6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600"/>
                                  </p:stCondLst>
                                  <p:childTnLst>
                                    <p:animMotion origin="layout" path="M 1.04167E-6 2.22222E-6 L 1.04167E-6 0.01967 " pathEditMode="relative" rAng="0" ptsTypes="AA">
                                      <p:cBhvr>
                                        <p:cTn id="34" dur="500" spd="-100000" fill="hold"/>
                                        <p:tgtEl>
                                          <p:spTgt spid="9"/>
                                        </p:tgtEl>
                                        <p:attrNameLst>
                                          <p:attrName>ppt_x</p:attrName>
                                          <p:attrName>ppt_y</p:attrName>
                                        </p:attrNameLst>
                                      </p:cBhvr>
                                      <p:rCtr x="0" y="972"/>
                                    </p:animMotion>
                                  </p:childTnLst>
                                </p:cTn>
                              </p:par>
                              <p:par>
                                <p:cTn id="35" presetID="10" presetClass="entr" presetSubtype="0" fill="hold" nodeType="withEffect">
                                  <p:stCondLst>
                                    <p:cond delay="6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10" presetClass="entr" presetSubtype="0" fill="hold" nodeType="withEffect">
                                  <p:stCondLst>
                                    <p:cond delay="6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10" presetClass="entr" presetSubtype="0" fill="hold" nodeType="withEffect">
                                  <p:stCondLst>
                                    <p:cond delay="6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10" presetClass="entr" presetSubtype="0" fill="hold" nodeType="withEffect">
                                  <p:stCondLst>
                                    <p:cond delay="6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p:bldP spid="6" grpId="1"/>
      <p:bldP spid="7" grpId="0"/>
      <p:bldP spid="7" grpId="1"/>
      <p:bldP spid="8" grpId="0"/>
      <p:bldP spid="8" grpId="1"/>
      <p:bldP spid="9" grpId="0"/>
      <p:bldP spid="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56A5619-4BC5-6F64-D1E2-ACBB5CE8005D}"/>
              </a:ext>
            </a:extLst>
          </p:cNvPr>
          <p:cNvSpPr>
            <a:spLocks noGrp="1"/>
          </p:cNvSpPr>
          <p:nvPr>
            <p:ph sz="quarter" idx="10"/>
          </p:nvPr>
        </p:nvSpPr>
        <p:spPr>
          <a:xfrm>
            <a:off x="586581" y="352042"/>
            <a:ext cx="11018838" cy="430887"/>
          </a:xfrm>
        </p:spPr>
        <p:txBody>
          <a:bodyPr/>
          <a:lstStyle/>
          <a:p>
            <a:r>
              <a:rPr lang="en-US" dirty="0"/>
              <a:t>Skillset for Indexer 1 call custom skill</a:t>
            </a:r>
          </a:p>
        </p:txBody>
      </p:sp>
      <p:sp>
        <p:nvSpPr>
          <p:cNvPr id="3" name="TextBox 2">
            <a:extLst>
              <a:ext uri="{FF2B5EF4-FFF2-40B4-BE49-F238E27FC236}">
                <a16:creationId xmlns:a16="http://schemas.microsoft.com/office/drawing/2014/main" id="{AA6E66AF-6842-C57E-147B-80A95B2C2DF9}"/>
              </a:ext>
            </a:extLst>
          </p:cNvPr>
          <p:cNvSpPr txBox="1"/>
          <p:nvPr/>
        </p:nvSpPr>
        <p:spPr>
          <a:xfrm>
            <a:off x="386092" y="1099553"/>
            <a:ext cx="5807013" cy="5693866"/>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https://sampleappaoaichat1.search.windows.net/$</a:t>
            </a:r>
            <a:r>
              <a:rPr lang="en-US" sz="1400" b="0" dirty="0" err="1">
                <a:solidFill>
                  <a:srgbClr val="0451A5"/>
                </a:solidFill>
                <a:effectLst/>
                <a:latin typeface="Consolas" panose="020B0609020204030204" pitchFamily="49" charset="0"/>
              </a:rPr>
              <a:t>metadata#skillsets</a:t>
            </a:r>
            <a:r>
              <a:rPr lang="en-US" sz="1400" b="0" dirty="0">
                <a:solidFill>
                  <a:srgbClr val="0451A5"/>
                </a:solidFill>
                <a:effectLst/>
                <a:latin typeface="Consolas" panose="020B0609020204030204" pitchFamily="49" charset="0"/>
              </a:rPr>
              <a:t>/$entity"</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etag</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0x8DBE661E629C603\""</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skillse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escription"</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kill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typ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Microsoft.Skills.Custom.WebApiSkill</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skillse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escription"</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contex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uri</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https://chat-with-your-data-solution-accelerator1.openai.azure.com/</a:t>
            </a:r>
            <a:r>
              <a:rPr lang="en-US" sz="1400" b="0" dirty="0" err="1">
                <a:solidFill>
                  <a:srgbClr val="0451A5"/>
                </a:solidFill>
                <a:effectLst/>
                <a:latin typeface="Consolas" panose="020B0609020204030204" pitchFamily="49" charset="0"/>
              </a:rPr>
              <a:t>openai</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chunks?api-version</a:t>
            </a:r>
            <a:r>
              <a:rPr lang="en-US" sz="1400" b="0" dirty="0">
                <a:solidFill>
                  <a:srgbClr val="0451A5"/>
                </a:solidFill>
                <a:effectLst/>
                <a:latin typeface="Consolas" panose="020B0609020204030204" pitchFamily="49" charset="0"/>
              </a:rPr>
              <a:t>=2023-03-31-preview"</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httpMethod</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POS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timeou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PT3M"</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batchSiz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98658"/>
                </a:solidFill>
                <a:effectLst/>
                <a:latin typeface="Consolas" panose="020B0609020204030204" pitchFamily="49" charset="0"/>
              </a:rPr>
              <a:t>1</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degreeOfParallelism</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98658"/>
                </a:solidFill>
                <a:effectLst/>
                <a:latin typeface="Consolas" panose="020B0609020204030204" pitchFamily="49" charset="0"/>
              </a:rPr>
              <a:t>1</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document_i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a:t>
            </a:r>
            <a:r>
              <a:rPr lang="en-US" sz="1400" b="0" dirty="0" err="1">
                <a:solidFill>
                  <a:srgbClr val="0451A5"/>
                </a:solidFill>
                <a:effectLst/>
                <a:latin typeface="Consolas" panose="020B0609020204030204" pitchFamily="49" charset="0"/>
              </a:rPr>
              <a:t>document_id</a:t>
            </a:r>
            <a:r>
              <a:rPr lang="en-US" sz="1400" b="0" dirty="0">
                <a:solidFill>
                  <a:srgbClr val="0451A5"/>
                </a:solidFill>
                <a:effectLst/>
                <a:latin typeface="Consolas" panose="020B0609020204030204" pitchFamily="49" charset="0"/>
              </a:rPr>
              <a: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p:txBody>
      </p:sp>
      <p:sp>
        <p:nvSpPr>
          <p:cNvPr id="7" name="TextBox 6">
            <a:extLst>
              <a:ext uri="{FF2B5EF4-FFF2-40B4-BE49-F238E27FC236}">
                <a16:creationId xmlns:a16="http://schemas.microsoft.com/office/drawing/2014/main" id="{B5B7FA1D-78C9-AB91-3529-3F6F002665C9}"/>
              </a:ext>
            </a:extLst>
          </p:cNvPr>
          <p:cNvSpPr txBox="1"/>
          <p:nvPr/>
        </p:nvSpPr>
        <p:spPr>
          <a:xfrm>
            <a:off x="6581523" y="233705"/>
            <a:ext cx="6740664" cy="6986528"/>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filenam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filename"</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fieldnam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conten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tex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out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chunks"</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chunks"</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httpHeader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riginal_request_id</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XXXXXX"</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riginal_internal_id</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xxxxxx</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num_token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1024"</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embedding_endpoin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https://chat-with-your-data-solution-accelerator1.openai.azure.com/</a:t>
            </a:r>
            <a:r>
              <a:rPr lang="en-US" sz="1400" b="0" dirty="0" err="1">
                <a:solidFill>
                  <a:srgbClr val="0451A5"/>
                </a:solidFill>
                <a:effectLst/>
                <a:latin typeface="Consolas" panose="020B0609020204030204" pitchFamily="49" charset="0"/>
              </a:rPr>
              <a:t>openai</a:t>
            </a:r>
            <a:r>
              <a:rPr lang="en-US" sz="1400" b="0" dirty="0">
                <a:solidFill>
                  <a:srgbClr val="0451A5"/>
                </a:solidFill>
                <a:effectLst/>
                <a:latin typeface="Consolas" panose="020B0609020204030204" pitchFamily="49" charset="0"/>
              </a:rPr>
              <a:t>/deployments/text-embedding-ada-002/</a:t>
            </a:r>
            <a:r>
              <a:rPr lang="en-US" sz="1400" b="0" dirty="0" err="1">
                <a:solidFill>
                  <a:srgbClr val="0451A5"/>
                </a:solidFill>
                <a:effectLst/>
                <a:latin typeface="Consolas" panose="020B0609020204030204" pitchFamily="49" charset="0"/>
              </a:rPr>
              <a:t>embeddings?api-version</a:t>
            </a:r>
            <a:r>
              <a:rPr lang="en-US" sz="1400" b="0" dirty="0">
                <a:solidFill>
                  <a:srgbClr val="0451A5"/>
                </a:solidFill>
                <a:effectLst/>
                <a:latin typeface="Consolas" panose="020B0609020204030204" pitchFamily="49" charset="0"/>
              </a:rPr>
              <a:t>=2023-03-31-preview"</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embedding_key</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xxxxxxx</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api</a:t>
            </a:r>
            <a:r>
              <a:rPr lang="en-US" sz="1400" b="0" dirty="0">
                <a:solidFill>
                  <a:srgbClr val="A31515"/>
                </a:solidFill>
                <a:effectLst/>
                <a:latin typeface="Consolas" panose="020B0609020204030204" pitchFamily="49" charset="0"/>
              </a:rPr>
              <a:t>-key"</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xxxxxxxx</a:t>
            </a:r>
            <a:r>
              <a:rPr lang="en-US" sz="1400" b="0" dirty="0">
                <a:solidFill>
                  <a:srgbClr val="0451A5"/>
                </a:solidFill>
                <a:effectLst/>
                <a:latin typeface="Consolas" panose="020B0609020204030204" pitchFamily="49" charset="0"/>
              </a:rPr>
              <a: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p:txBody>
      </p:sp>
      <p:sp>
        <p:nvSpPr>
          <p:cNvPr id="9" name="Rectangle 8">
            <a:extLst>
              <a:ext uri="{FF2B5EF4-FFF2-40B4-BE49-F238E27FC236}">
                <a16:creationId xmlns:a16="http://schemas.microsoft.com/office/drawing/2014/main" id="{5901A097-5754-FB09-736E-AE4A3D839122}"/>
              </a:ext>
            </a:extLst>
          </p:cNvPr>
          <p:cNvSpPr/>
          <p:nvPr/>
        </p:nvSpPr>
        <p:spPr bwMode="auto">
          <a:xfrm>
            <a:off x="141610" y="2646095"/>
            <a:ext cx="6291557" cy="663547"/>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E7F5BF8-3F60-2235-F0AF-721C93E46DB6}"/>
              </a:ext>
            </a:extLst>
          </p:cNvPr>
          <p:cNvSpPr/>
          <p:nvPr/>
        </p:nvSpPr>
        <p:spPr bwMode="auto">
          <a:xfrm>
            <a:off x="141609" y="3852047"/>
            <a:ext cx="6291557" cy="736137"/>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9290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56A5619-4BC5-6F64-D1E2-ACBB5CE8005D}"/>
              </a:ext>
            </a:extLst>
          </p:cNvPr>
          <p:cNvSpPr>
            <a:spLocks noGrp="1"/>
          </p:cNvSpPr>
          <p:nvPr>
            <p:ph sz="quarter" idx="10"/>
          </p:nvPr>
        </p:nvSpPr>
        <p:spPr>
          <a:xfrm>
            <a:off x="586581" y="352042"/>
            <a:ext cx="11018838" cy="430887"/>
          </a:xfrm>
        </p:spPr>
        <p:txBody>
          <a:bodyPr/>
          <a:lstStyle/>
          <a:p>
            <a:r>
              <a:rPr lang="en-US" dirty="0"/>
              <a:t>Skillset for Indexer 1 – sink output to knowledge store</a:t>
            </a:r>
          </a:p>
        </p:txBody>
      </p:sp>
      <p:sp>
        <p:nvSpPr>
          <p:cNvPr id="3" name="TextBox 2">
            <a:extLst>
              <a:ext uri="{FF2B5EF4-FFF2-40B4-BE49-F238E27FC236}">
                <a16:creationId xmlns:a16="http://schemas.microsoft.com/office/drawing/2014/main" id="{AA6E66AF-6842-C57E-147B-80A95B2C2DF9}"/>
              </a:ext>
            </a:extLst>
          </p:cNvPr>
          <p:cNvSpPr txBox="1"/>
          <p:nvPr/>
        </p:nvSpPr>
        <p:spPr>
          <a:xfrm>
            <a:off x="0" y="1018632"/>
            <a:ext cx="7268973" cy="5909310"/>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cognitiveService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knowledgeStor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torageConnectionString</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xxxxxxxxxxx</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dentity"</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projection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table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objec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torageContainer</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chunks"</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referenceKey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generatedKey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id"</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conten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conten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filepath</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filenam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p:txBody>
      </p:sp>
      <p:sp>
        <p:nvSpPr>
          <p:cNvPr id="4" name="TextBox 3">
            <a:extLst>
              <a:ext uri="{FF2B5EF4-FFF2-40B4-BE49-F238E27FC236}">
                <a16:creationId xmlns:a16="http://schemas.microsoft.com/office/drawing/2014/main" id="{074250B1-9DFB-E703-DE75-F1A598B267B6}"/>
              </a:ext>
            </a:extLst>
          </p:cNvPr>
          <p:cNvSpPr txBox="1"/>
          <p:nvPr/>
        </p:nvSpPr>
        <p:spPr>
          <a:xfrm>
            <a:off x="5110119" y="642157"/>
            <a:ext cx="7432535" cy="9571851"/>
          </a:xfrm>
          <a:prstGeom prst="rect">
            <a:avLst/>
          </a:prstGeom>
          <a:noFill/>
        </p:spPr>
        <p:txBody>
          <a:bodyPr wrap="square">
            <a:spAutoFit/>
          </a:bodyPr>
          <a:lstStyle/>
          <a:p>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titl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titl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url</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a:t>
            </a:r>
            <a:r>
              <a:rPr lang="en-US" sz="1400" b="0" dirty="0" err="1">
                <a:solidFill>
                  <a:srgbClr val="0451A5"/>
                </a:solidFill>
                <a:effectLst/>
                <a:latin typeface="Consolas" panose="020B0609020204030204" pitchFamily="49" charset="0"/>
              </a:rPr>
              <a:t>url</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chunk_i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a:t>
            </a:r>
            <a:r>
              <a:rPr lang="en-US" sz="1400" b="0" dirty="0" err="1">
                <a:solidFill>
                  <a:srgbClr val="0451A5"/>
                </a:solidFill>
                <a:effectLst/>
                <a:latin typeface="Consolas" panose="020B0609020204030204" pitchFamily="49" charset="0"/>
              </a:rPr>
              <a:t>chunk_i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last_update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a:t>
            </a:r>
            <a:r>
              <a:rPr lang="en-US" sz="1400" b="0" dirty="0" err="1">
                <a:solidFill>
                  <a:srgbClr val="0451A5"/>
                </a:solidFill>
                <a:effectLst/>
                <a:latin typeface="Consolas" panose="020B0609020204030204" pitchFamily="49" charset="0"/>
              </a:rPr>
              <a:t>last_updated</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contentVector</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ourc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ocument/content/chunks/*/</a:t>
            </a:r>
            <a:r>
              <a:rPr lang="en-US" sz="1400" b="0" dirty="0" err="1">
                <a:solidFill>
                  <a:srgbClr val="0451A5"/>
                </a:solidFill>
                <a:effectLst/>
                <a:latin typeface="Consolas" panose="020B0609020204030204" pitchFamily="49" charset="0"/>
              </a:rPr>
              <a:t>contentVector</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ource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put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file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parameter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ynthesizeGeneratedKey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true</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indexProjection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encryptionKey</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417866500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F834328-4908-9613-E795-EB3332B4C1D0}"/>
              </a:ext>
            </a:extLst>
          </p:cNvPr>
          <p:cNvSpPr txBox="1"/>
          <p:nvPr/>
        </p:nvSpPr>
        <p:spPr>
          <a:xfrm>
            <a:off x="740421" y="1037036"/>
            <a:ext cx="6740664" cy="6340197"/>
          </a:xfrm>
          <a:prstGeom prst="rect">
            <a:avLst/>
          </a:prstGeom>
          <a:noFill/>
        </p:spPr>
        <p:txBody>
          <a:bodyPr wrap="square">
            <a:spAutoFit/>
          </a:bodyPr>
          <a:lstStyle/>
          <a:p>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context</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https://sampleappaoaichat1.search.windows.net/$</a:t>
            </a:r>
            <a:r>
              <a:rPr lang="en-US" sz="1400" b="0" dirty="0" err="1">
                <a:solidFill>
                  <a:srgbClr val="0451A5"/>
                </a:solidFill>
                <a:effectLst/>
                <a:latin typeface="Consolas" panose="020B0609020204030204" pitchFamily="49" charset="0"/>
              </a:rPr>
              <a:t>metadata#indexers</a:t>
            </a:r>
            <a:r>
              <a:rPr lang="en-US" sz="1400" b="0" dirty="0">
                <a:solidFill>
                  <a:srgbClr val="0451A5"/>
                </a:solidFill>
                <a:effectLst/>
                <a:latin typeface="Consolas" panose="020B0609020204030204" pitchFamily="49" charset="0"/>
              </a:rPr>
              <a:t>/$entity"</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data.etag</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0x8DBE66617AE6DC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nam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indexer-chunk"</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escription"</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dataSource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a:t>
            </a:r>
            <a:r>
              <a:rPr lang="en-US" sz="1400" b="0" dirty="0" err="1">
                <a:solidFill>
                  <a:srgbClr val="0451A5"/>
                </a:solidFill>
                <a:effectLst/>
                <a:latin typeface="Consolas" panose="020B0609020204030204" pitchFamily="49" charset="0"/>
              </a:rPr>
              <a:t>datasource</a:t>
            </a:r>
            <a:r>
              <a:rPr lang="en-US" sz="1400" b="0" dirty="0">
                <a:solidFill>
                  <a:srgbClr val="0451A5"/>
                </a:solidFill>
                <a:effectLst/>
                <a:latin typeface="Consolas" panose="020B0609020204030204" pitchFamily="49" charset="0"/>
              </a:rPr>
              <a:t>-chunk"</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killset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targetIndexNa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data"</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disabled"</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false</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schedule"</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interval"</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PT30M"</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startTim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2023-11-16T05:07:15.65Z"</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parameters"</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batchSiz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xFailedItem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maxFailedItemsPerBatch</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base64EncodeKeys"</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configuration"</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parsingMode</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json</a:t>
            </a:r>
            <a:r>
              <a:rPr lang="en-US" sz="1400" b="0" dirty="0">
                <a:solidFill>
                  <a:srgbClr val="0451A5"/>
                </a:solidFill>
                <a:effectLst/>
                <a:latin typeface="Consolas" panose="020B0609020204030204" pitchFamily="49" charset="0"/>
              </a:rPr>
              <a:t>"</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indexedFileNameExtension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a:t>
            </a:r>
            <a:r>
              <a:rPr lang="en-US" sz="1400" b="0" dirty="0" err="1">
                <a:solidFill>
                  <a:srgbClr val="0451A5"/>
                </a:solidFill>
                <a:effectLst/>
                <a:latin typeface="Consolas" panose="020B0609020204030204" pitchFamily="49" charset="0"/>
              </a:rPr>
              <a:t>json</a:t>
            </a:r>
            <a:r>
              <a:rPr lang="en-US" sz="1400" b="0" dirty="0">
                <a:solidFill>
                  <a:srgbClr val="0451A5"/>
                </a:solidFill>
                <a:effectLst/>
                <a:latin typeface="Consolas" panose="020B0609020204030204" pitchFamily="49" charset="0"/>
              </a:rPr>
              <a:t>"</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fieldMapping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outputFieldMappings</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cache"</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r>
              <a:rPr lang="en-US" sz="1400" b="0" dirty="0">
                <a:solidFill>
                  <a:srgbClr val="000000"/>
                </a:solidFill>
                <a:effectLst/>
                <a:latin typeface="Consolas" panose="020B0609020204030204" pitchFamily="49" charset="0"/>
              </a:rPr>
              <a:t>,</a:t>
            </a:r>
          </a:p>
          <a:p>
            <a:r>
              <a:rPr lang="en-US" sz="1400" b="0" dirty="0">
                <a:solidFill>
                  <a:srgbClr val="000000"/>
                </a:solidFill>
                <a:effectLst/>
                <a:latin typeface="Consolas" panose="020B0609020204030204" pitchFamily="49" charset="0"/>
              </a:rPr>
              <a:t>  </a:t>
            </a:r>
            <a:r>
              <a:rPr lang="en-US" sz="1400" b="0" dirty="0">
                <a:solidFill>
                  <a:srgbClr val="A31515"/>
                </a:solidFill>
                <a:effectLst/>
                <a:latin typeface="Consolas" panose="020B0609020204030204" pitchFamily="49" charset="0"/>
              </a:rPr>
              <a:t>"</a:t>
            </a:r>
            <a:r>
              <a:rPr lang="en-US" sz="1400" b="0" dirty="0" err="1">
                <a:solidFill>
                  <a:srgbClr val="A31515"/>
                </a:solidFill>
                <a:effectLst/>
                <a:latin typeface="Consolas" panose="020B0609020204030204" pitchFamily="49" charset="0"/>
              </a:rPr>
              <a:t>encryptionKey</a:t>
            </a:r>
            <a:r>
              <a:rPr lang="en-US" sz="1400" b="0" dirty="0">
                <a:solidFill>
                  <a:srgbClr val="A31515"/>
                </a:solidFill>
                <a:effectLst/>
                <a:latin typeface="Consolas" panose="020B0609020204030204" pitchFamily="49" charset="0"/>
              </a:rPr>
              <a:t>"</a:t>
            </a:r>
            <a:r>
              <a:rPr lang="en-US" sz="1400" b="0" dirty="0">
                <a:solidFill>
                  <a:srgbClr val="000000"/>
                </a:solidFill>
                <a:effectLst/>
                <a:latin typeface="Consolas" panose="020B0609020204030204" pitchFamily="49" charset="0"/>
              </a:rPr>
              <a:t>: </a:t>
            </a:r>
            <a:r>
              <a:rPr lang="en-US" sz="1400" b="0" dirty="0">
                <a:solidFill>
                  <a:srgbClr val="0451A5"/>
                </a:solidFill>
                <a:effectLst/>
                <a:latin typeface="Consolas" panose="020B0609020204030204" pitchFamily="49" charset="0"/>
              </a:rPr>
              <a:t>null</a:t>
            </a:r>
            <a:endParaRPr lang="en-US" sz="1400" b="0" dirty="0">
              <a:solidFill>
                <a:srgbClr val="000000"/>
              </a:solidFill>
              <a:effectLst/>
              <a:latin typeface="Consolas" panose="020B0609020204030204" pitchFamily="49" charset="0"/>
            </a:endParaRPr>
          </a:p>
          <a:p>
            <a:r>
              <a:rPr lang="en-US" sz="1400" b="0" dirty="0">
                <a:solidFill>
                  <a:srgbClr val="000000"/>
                </a:solidFill>
                <a:effectLst/>
                <a:latin typeface="Consolas" panose="020B0609020204030204" pitchFamily="49" charset="0"/>
              </a:rPr>
              <a:t>}</a:t>
            </a:r>
          </a:p>
        </p:txBody>
      </p:sp>
      <p:sp>
        <p:nvSpPr>
          <p:cNvPr id="8" name="Content Placeholder 7">
            <a:extLst>
              <a:ext uri="{FF2B5EF4-FFF2-40B4-BE49-F238E27FC236}">
                <a16:creationId xmlns:a16="http://schemas.microsoft.com/office/drawing/2014/main" id="{D56A5619-4BC5-6F64-D1E2-ACBB5CE8005D}"/>
              </a:ext>
            </a:extLst>
          </p:cNvPr>
          <p:cNvSpPr>
            <a:spLocks noGrp="1"/>
          </p:cNvSpPr>
          <p:nvPr>
            <p:ph sz="quarter" idx="10"/>
          </p:nvPr>
        </p:nvSpPr>
        <p:spPr>
          <a:xfrm>
            <a:off x="586581" y="352042"/>
            <a:ext cx="11018838" cy="430887"/>
          </a:xfrm>
        </p:spPr>
        <p:txBody>
          <a:bodyPr/>
          <a:lstStyle/>
          <a:p>
            <a:r>
              <a:rPr lang="en-US" dirty="0"/>
              <a:t>Indexer 2 – load data from Knowledge Store</a:t>
            </a:r>
          </a:p>
        </p:txBody>
      </p:sp>
    </p:spTree>
    <p:extLst>
      <p:ext uri="{BB962C8B-B14F-4D97-AF65-F5344CB8AC3E}">
        <p14:creationId xmlns:p14="http://schemas.microsoft.com/office/powerpoint/2010/main" val="345336705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489AB-F8A3-0560-88D3-5B7A73A0FF94}"/>
              </a:ext>
            </a:extLst>
          </p:cNvPr>
          <p:cNvSpPr>
            <a:spLocks noGrp="1"/>
          </p:cNvSpPr>
          <p:nvPr>
            <p:ph type="title"/>
          </p:nvPr>
        </p:nvSpPr>
        <p:spPr/>
        <p:txBody>
          <a:bodyPr/>
          <a:lstStyle/>
          <a:p>
            <a:r>
              <a:rPr lang="en-US" dirty="0"/>
              <a:t>“Chat with your data” solution accelerator</a:t>
            </a:r>
          </a:p>
        </p:txBody>
      </p:sp>
      <p:sp>
        <p:nvSpPr>
          <p:cNvPr id="11" name="Content Placeholder 10">
            <a:extLst>
              <a:ext uri="{FF2B5EF4-FFF2-40B4-BE49-F238E27FC236}">
                <a16:creationId xmlns:a16="http://schemas.microsoft.com/office/drawing/2014/main" id="{47E33A0C-9C02-1CF1-1B7D-FE50045DFFF9}"/>
              </a:ext>
            </a:extLst>
          </p:cNvPr>
          <p:cNvSpPr>
            <a:spLocks noGrp="1"/>
          </p:cNvSpPr>
          <p:nvPr>
            <p:ph sz="quarter" idx="10"/>
          </p:nvPr>
        </p:nvSpPr>
        <p:spPr>
          <a:xfrm>
            <a:off x="584200" y="1435100"/>
            <a:ext cx="11018838" cy="1378839"/>
          </a:xfrm>
        </p:spPr>
        <p:txBody>
          <a:bodyPr/>
          <a:lstStyle/>
          <a:p>
            <a:r>
              <a:rPr lang="en-US" dirty="0"/>
              <a:t>Document upload auto triggers Azure Function to chunk the documents and add embeddings</a:t>
            </a:r>
          </a:p>
          <a:p>
            <a:r>
              <a:rPr lang="en-US" dirty="0"/>
              <a:t>Using Push mode to create index</a:t>
            </a:r>
          </a:p>
        </p:txBody>
      </p:sp>
      <p:sp>
        <p:nvSpPr>
          <p:cNvPr id="6" name="TextBox 5">
            <a:extLst>
              <a:ext uri="{FF2B5EF4-FFF2-40B4-BE49-F238E27FC236}">
                <a16:creationId xmlns:a16="http://schemas.microsoft.com/office/drawing/2014/main" id="{63360D40-8D3B-E75A-BCEB-D0339DAA0F1A}"/>
              </a:ext>
            </a:extLst>
          </p:cNvPr>
          <p:cNvSpPr txBox="1"/>
          <p:nvPr/>
        </p:nvSpPr>
        <p:spPr>
          <a:xfrm>
            <a:off x="240184" y="6400800"/>
            <a:ext cx="11711631" cy="369332"/>
          </a:xfrm>
          <a:prstGeom prst="rect">
            <a:avLst/>
          </a:prstGeom>
          <a:noFill/>
        </p:spPr>
        <p:txBody>
          <a:bodyPr wrap="square">
            <a:spAutoFit/>
          </a:bodyPr>
          <a:lstStyle/>
          <a:p>
            <a:r>
              <a:rPr lang="en-US" dirty="0">
                <a:hlinkClick r:id="rId2"/>
              </a:rPr>
              <a:t>Introducing the “Chat with your data” solution accelerator – now available on GitHub - Microsoft Community Hub</a:t>
            </a:r>
            <a:endParaRPr lang="en-US" dirty="0"/>
          </a:p>
        </p:txBody>
      </p:sp>
      <p:pic>
        <p:nvPicPr>
          <p:cNvPr id="2050" name="Picture 2" descr="A screenshot of the accelerator architecture.">
            <a:extLst>
              <a:ext uri="{FF2B5EF4-FFF2-40B4-BE49-F238E27FC236}">
                <a16:creationId xmlns:a16="http://schemas.microsoft.com/office/drawing/2014/main" id="{6D143CA5-F474-03F6-B635-BE0FCB1CCC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4524" y="2803651"/>
            <a:ext cx="8318612" cy="3597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03978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56ADEC-6E8B-661D-006A-3A33C10273AA}"/>
              </a:ext>
            </a:extLst>
          </p:cNvPr>
          <p:cNvPicPr>
            <a:picLocks noChangeAspect="1"/>
          </p:cNvPicPr>
          <p:nvPr/>
        </p:nvPicPr>
        <p:blipFill>
          <a:blip r:embed="rId2"/>
          <a:stretch>
            <a:fillRect/>
          </a:stretch>
        </p:blipFill>
        <p:spPr>
          <a:xfrm>
            <a:off x="0" y="184813"/>
            <a:ext cx="12192000" cy="6488373"/>
          </a:xfrm>
          <a:prstGeom prst="rect">
            <a:avLst/>
          </a:prstGeom>
        </p:spPr>
      </p:pic>
      <p:sp>
        <p:nvSpPr>
          <p:cNvPr id="5" name="Rectangle 4">
            <a:extLst>
              <a:ext uri="{FF2B5EF4-FFF2-40B4-BE49-F238E27FC236}">
                <a16:creationId xmlns:a16="http://schemas.microsoft.com/office/drawing/2014/main" id="{529ED7E2-49BB-FC94-09BE-5C7A0346F5FB}"/>
              </a:ext>
            </a:extLst>
          </p:cNvPr>
          <p:cNvSpPr/>
          <p:nvPr/>
        </p:nvSpPr>
        <p:spPr bwMode="auto">
          <a:xfrm>
            <a:off x="2905041" y="6109487"/>
            <a:ext cx="5648240" cy="323681"/>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2412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7F3A01-BD0A-FA09-D1C0-215005DB5C2F}"/>
              </a:ext>
            </a:extLst>
          </p:cNvPr>
          <p:cNvPicPr>
            <a:picLocks noChangeAspect="1"/>
          </p:cNvPicPr>
          <p:nvPr/>
        </p:nvPicPr>
        <p:blipFill>
          <a:blip r:embed="rId2"/>
          <a:stretch>
            <a:fillRect/>
          </a:stretch>
        </p:blipFill>
        <p:spPr>
          <a:xfrm>
            <a:off x="1625244" y="0"/>
            <a:ext cx="8941511" cy="6858000"/>
          </a:xfrm>
          <a:prstGeom prst="rect">
            <a:avLst/>
          </a:prstGeom>
        </p:spPr>
      </p:pic>
      <p:sp>
        <p:nvSpPr>
          <p:cNvPr id="5" name="Rectangle 4">
            <a:extLst>
              <a:ext uri="{FF2B5EF4-FFF2-40B4-BE49-F238E27FC236}">
                <a16:creationId xmlns:a16="http://schemas.microsoft.com/office/drawing/2014/main" id="{586332AA-B5C2-F8AD-730B-E639CDBFB659}"/>
              </a:ext>
            </a:extLst>
          </p:cNvPr>
          <p:cNvSpPr/>
          <p:nvPr/>
        </p:nvSpPr>
        <p:spPr bwMode="auto">
          <a:xfrm>
            <a:off x="5162719" y="5575412"/>
            <a:ext cx="5203178" cy="82538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30822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05784-96B8-9F93-C079-7886FF6BEE7C}"/>
              </a:ext>
            </a:extLst>
          </p:cNvPr>
          <p:cNvSpPr>
            <a:spLocks noGrp="1"/>
          </p:cNvSpPr>
          <p:nvPr>
            <p:ph type="title"/>
          </p:nvPr>
        </p:nvSpPr>
        <p:spPr>
          <a:xfrm>
            <a:off x="588263" y="457200"/>
            <a:ext cx="11018520" cy="553998"/>
          </a:xfrm>
        </p:spPr>
        <p:txBody>
          <a:bodyPr/>
          <a:lstStyle/>
          <a:p>
            <a:r>
              <a:rPr lang="en-US" dirty="0"/>
              <a:t>Azure AI Search architecture</a:t>
            </a:r>
          </a:p>
        </p:txBody>
      </p:sp>
      <p:sp>
        <p:nvSpPr>
          <p:cNvPr id="12" name="Arrow: Striped Right 11">
            <a:extLst>
              <a:ext uri="{FF2B5EF4-FFF2-40B4-BE49-F238E27FC236}">
                <a16:creationId xmlns:a16="http://schemas.microsoft.com/office/drawing/2014/main" id="{D4E4B754-F5B8-4043-B0E4-5D80548D305C}"/>
              </a:ext>
            </a:extLst>
          </p:cNvPr>
          <p:cNvSpPr/>
          <p:nvPr/>
        </p:nvSpPr>
        <p:spPr bwMode="auto">
          <a:xfrm>
            <a:off x="790034" y="5595360"/>
            <a:ext cx="10611933" cy="1016817"/>
          </a:xfrm>
          <a:prstGeom prst="striped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Ingest                         Enrich                                Explore</a:t>
            </a:r>
          </a:p>
        </p:txBody>
      </p:sp>
      <p:sp>
        <p:nvSpPr>
          <p:cNvPr id="41" name="Arrow: Pentagon 40">
            <a:extLst>
              <a:ext uri="{FF2B5EF4-FFF2-40B4-BE49-F238E27FC236}">
                <a16:creationId xmlns:a16="http://schemas.microsoft.com/office/drawing/2014/main" id="{933C32D9-205E-DE17-30FA-79DFAF5E6503}"/>
              </a:ext>
            </a:extLst>
          </p:cNvPr>
          <p:cNvSpPr/>
          <p:nvPr/>
        </p:nvSpPr>
        <p:spPr bwMode="auto">
          <a:xfrm>
            <a:off x="3549317" y="2566161"/>
            <a:ext cx="3824620" cy="1120531"/>
          </a:xfrm>
          <a:prstGeom prst="homePlat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Skillset: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Extensible enrichment</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pipeline</a:t>
            </a:r>
          </a:p>
        </p:txBody>
      </p:sp>
      <p:sp>
        <p:nvSpPr>
          <p:cNvPr id="42" name="Cylinder 41">
            <a:extLst>
              <a:ext uri="{FF2B5EF4-FFF2-40B4-BE49-F238E27FC236}">
                <a16:creationId xmlns:a16="http://schemas.microsoft.com/office/drawing/2014/main" id="{75B3BE95-0C70-949C-D23C-822636FAEB4F}"/>
              </a:ext>
            </a:extLst>
          </p:cNvPr>
          <p:cNvSpPr/>
          <p:nvPr/>
        </p:nvSpPr>
        <p:spPr bwMode="auto">
          <a:xfrm>
            <a:off x="514042" y="3308931"/>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3" name="Picture 42">
            <a:extLst>
              <a:ext uri="{FF2B5EF4-FFF2-40B4-BE49-F238E27FC236}">
                <a16:creationId xmlns:a16="http://schemas.microsoft.com/office/drawing/2014/main" id="{8174E12B-9437-2678-B5E5-251CF6522C2F}"/>
              </a:ext>
            </a:extLst>
          </p:cNvPr>
          <p:cNvPicPr>
            <a:picLocks noChangeAspect="1"/>
          </p:cNvPicPr>
          <p:nvPr/>
        </p:nvPicPr>
        <p:blipFill>
          <a:blip r:embed="rId3"/>
          <a:stretch>
            <a:fillRect/>
          </a:stretch>
        </p:blipFill>
        <p:spPr>
          <a:xfrm>
            <a:off x="7963553" y="2566161"/>
            <a:ext cx="1051046" cy="939462"/>
          </a:xfrm>
          <a:prstGeom prst="rect">
            <a:avLst/>
          </a:prstGeom>
        </p:spPr>
      </p:pic>
      <p:sp>
        <p:nvSpPr>
          <p:cNvPr id="44" name="Arrow: Pentagon 43">
            <a:extLst>
              <a:ext uri="{FF2B5EF4-FFF2-40B4-BE49-F238E27FC236}">
                <a16:creationId xmlns:a16="http://schemas.microsoft.com/office/drawing/2014/main" id="{E58AA9DC-8A82-66EE-DB1F-FF55D33E9FDB}"/>
              </a:ext>
            </a:extLst>
          </p:cNvPr>
          <p:cNvSpPr/>
          <p:nvPr/>
        </p:nvSpPr>
        <p:spPr bwMode="auto">
          <a:xfrm>
            <a:off x="9134205" y="2566161"/>
            <a:ext cx="1570114"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dexing for Search</a:t>
            </a:r>
          </a:p>
        </p:txBody>
      </p:sp>
      <p:sp>
        <p:nvSpPr>
          <p:cNvPr id="45" name="Cylinder 44">
            <a:extLst>
              <a:ext uri="{FF2B5EF4-FFF2-40B4-BE49-F238E27FC236}">
                <a16:creationId xmlns:a16="http://schemas.microsoft.com/office/drawing/2014/main" id="{957A4AB9-9EE9-8744-B1F7-87D3E32C7BFC}"/>
              </a:ext>
            </a:extLst>
          </p:cNvPr>
          <p:cNvSpPr/>
          <p:nvPr/>
        </p:nvSpPr>
        <p:spPr bwMode="auto">
          <a:xfrm>
            <a:off x="514042" y="3004719"/>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Arrow: Pentagon 45">
            <a:extLst>
              <a:ext uri="{FF2B5EF4-FFF2-40B4-BE49-F238E27FC236}">
                <a16:creationId xmlns:a16="http://schemas.microsoft.com/office/drawing/2014/main" id="{AACE3013-C1BD-5A0F-D3F1-A7EB7DF0D6F3}"/>
              </a:ext>
            </a:extLst>
          </p:cNvPr>
          <p:cNvSpPr/>
          <p:nvPr/>
        </p:nvSpPr>
        <p:spPr bwMode="auto">
          <a:xfrm>
            <a:off x="1688579" y="2566161"/>
            <a:ext cx="2539870" cy="1120531"/>
          </a:xfrm>
          <a:prstGeom prst="homePlate">
            <a:avLst/>
          </a:prstGeom>
          <a:solidFill>
            <a:srgbClr val="004B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ocument Cracking</a:t>
            </a:r>
          </a:p>
        </p:txBody>
      </p:sp>
      <p:sp>
        <p:nvSpPr>
          <p:cNvPr id="47" name="Text Placeholder 1">
            <a:extLst>
              <a:ext uri="{FF2B5EF4-FFF2-40B4-BE49-F238E27FC236}">
                <a16:creationId xmlns:a16="http://schemas.microsoft.com/office/drawing/2014/main" id="{82C87DBE-B1A0-754C-06F3-431CA711FFA2}"/>
              </a:ext>
            </a:extLst>
          </p:cNvPr>
          <p:cNvSpPr txBox="1">
            <a:spLocks/>
          </p:cNvSpPr>
          <p:nvPr/>
        </p:nvSpPr>
        <p:spPr>
          <a:xfrm>
            <a:off x="7007423" y="3731885"/>
            <a:ext cx="2205721"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notated</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ocuments</a:t>
            </a:r>
          </a:p>
        </p:txBody>
      </p:sp>
      <p:pic>
        <p:nvPicPr>
          <p:cNvPr id="48" name="Picture 47">
            <a:extLst>
              <a:ext uri="{FF2B5EF4-FFF2-40B4-BE49-F238E27FC236}">
                <a16:creationId xmlns:a16="http://schemas.microsoft.com/office/drawing/2014/main" id="{CA866A0A-4290-7827-D392-D977F381F625}"/>
              </a:ext>
            </a:extLst>
          </p:cNvPr>
          <p:cNvPicPr>
            <a:picLocks noChangeAspect="1"/>
          </p:cNvPicPr>
          <p:nvPr/>
        </p:nvPicPr>
        <p:blipFill>
          <a:blip r:embed="rId3"/>
          <a:stretch>
            <a:fillRect/>
          </a:stretch>
        </p:blipFill>
        <p:spPr>
          <a:xfrm>
            <a:off x="7730701" y="2672528"/>
            <a:ext cx="1051046" cy="939462"/>
          </a:xfrm>
          <a:prstGeom prst="rect">
            <a:avLst/>
          </a:prstGeom>
        </p:spPr>
      </p:pic>
      <p:pic>
        <p:nvPicPr>
          <p:cNvPr id="49" name="Picture 48">
            <a:extLst>
              <a:ext uri="{FF2B5EF4-FFF2-40B4-BE49-F238E27FC236}">
                <a16:creationId xmlns:a16="http://schemas.microsoft.com/office/drawing/2014/main" id="{72333A36-FDEF-4739-A7DE-E7F06263A6DB}"/>
              </a:ext>
            </a:extLst>
          </p:cNvPr>
          <p:cNvPicPr>
            <a:picLocks noChangeAspect="1"/>
          </p:cNvPicPr>
          <p:nvPr/>
        </p:nvPicPr>
        <p:blipFill>
          <a:blip r:embed="rId3"/>
          <a:stretch>
            <a:fillRect/>
          </a:stretch>
        </p:blipFill>
        <p:spPr>
          <a:xfrm>
            <a:off x="7485796" y="2784299"/>
            <a:ext cx="1051046" cy="939462"/>
          </a:xfrm>
          <a:prstGeom prst="rect">
            <a:avLst/>
          </a:prstGeom>
        </p:spPr>
      </p:pic>
      <p:sp>
        <p:nvSpPr>
          <p:cNvPr id="50" name="Text Placeholder 1">
            <a:extLst>
              <a:ext uri="{FF2B5EF4-FFF2-40B4-BE49-F238E27FC236}">
                <a16:creationId xmlns:a16="http://schemas.microsoft.com/office/drawing/2014/main" id="{1437B761-881B-71E0-A0F6-46CEA443C2DC}"/>
              </a:ext>
            </a:extLst>
          </p:cNvPr>
          <p:cNvSpPr txBox="1">
            <a:spLocks/>
          </p:cNvSpPr>
          <p:nvPr/>
        </p:nvSpPr>
        <p:spPr>
          <a:xfrm>
            <a:off x="194536" y="3761395"/>
            <a:ext cx="1419340" cy="755166"/>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Customer</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Data</a:t>
            </a:r>
          </a:p>
        </p:txBody>
      </p:sp>
      <p:sp>
        <p:nvSpPr>
          <p:cNvPr id="51" name="Cylinder 50">
            <a:extLst>
              <a:ext uri="{FF2B5EF4-FFF2-40B4-BE49-F238E27FC236}">
                <a16:creationId xmlns:a16="http://schemas.microsoft.com/office/drawing/2014/main" id="{FFB2F54E-D827-7554-80F1-BD042DAD616E}"/>
              </a:ext>
            </a:extLst>
          </p:cNvPr>
          <p:cNvSpPr/>
          <p:nvPr/>
        </p:nvSpPr>
        <p:spPr bwMode="auto">
          <a:xfrm>
            <a:off x="511453" y="2697735"/>
            <a:ext cx="896425" cy="373510"/>
          </a:xfrm>
          <a:prstGeom prst="ca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6284749E-09E6-5EA2-847C-AB79472B5370}"/>
              </a:ext>
            </a:extLst>
          </p:cNvPr>
          <p:cNvGrpSpPr/>
          <p:nvPr/>
        </p:nvGrpSpPr>
        <p:grpSpPr>
          <a:xfrm>
            <a:off x="4695144" y="1323520"/>
            <a:ext cx="1911810" cy="1074408"/>
            <a:chOff x="4238413" y="1170179"/>
            <a:chExt cx="1950146" cy="1095952"/>
          </a:xfrm>
        </p:grpSpPr>
        <p:grpSp>
          <p:nvGrpSpPr>
            <p:cNvPr id="53" name="Group 52">
              <a:extLst>
                <a:ext uri="{FF2B5EF4-FFF2-40B4-BE49-F238E27FC236}">
                  <a16:creationId xmlns:a16="http://schemas.microsoft.com/office/drawing/2014/main" id="{739838A7-A5AE-6926-ACF8-4E9A59221DF1}"/>
                </a:ext>
              </a:extLst>
            </p:cNvPr>
            <p:cNvGrpSpPr/>
            <p:nvPr/>
          </p:nvGrpSpPr>
          <p:grpSpPr>
            <a:xfrm>
              <a:off x="4512159" y="1170179"/>
              <a:ext cx="1676400" cy="890539"/>
              <a:chOff x="4160837" y="1350919"/>
              <a:chExt cx="1676400" cy="890539"/>
            </a:xfrm>
            <a:solidFill>
              <a:srgbClr val="004B50">
                <a:alpha val="62000"/>
              </a:srgbClr>
            </a:solidFill>
          </p:grpSpPr>
          <p:sp>
            <p:nvSpPr>
              <p:cNvPr id="62" name="Rectangle: Rounded Corners 61">
                <a:extLst>
                  <a:ext uri="{FF2B5EF4-FFF2-40B4-BE49-F238E27FC236}">
                    <a16:creationId xmlns:a16="http://schemas.microsoft.com/office/drawing/2014/main" id="{87F4E703-4E85-150C-FAFD-B9D598DBF397}"/>
                  </a:ext>
                </a:extLst>
              </p:cNvPr>
              <p:cNvSpPr/>
              <p:nvPr/>
            </p:nvSpPr>
            <p:spPr bwMode="auto">
              <a:xfrm>
                <a:off x="4160837" y="1350919"/>
                <a:ext cx="1676400" cy="609601"/>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AFA0A5F5-618F-9E37-5E8D-93E9ADFC869D}"/>
                  </a:ext>
                </a:extLst>
              </p:cNvPr>
              <p:cNvSpPr/>
              <p:nvPr/>
            </p:nvSpPr>
            <p:spPr bwMode="auto">
              <a:xfrm>
                <a:off x="4922837" y="2090463"/>
                <a:ext cx="152400" cy="150995"/>
              </a:xfrm>
              <a:prstGeom prst="ellipse">
                <a:avLst/>
              </a:prstGeom>
              <a:noFill/>
              <a:ln w="28575" cap="flat" cmpd="sng" algn="ctr">
                <a:solidFill>
                  <a:srgbClr val="004B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3BFEB219-724A-3335-6818-EA2A60E34EA0}"/>
                  </a:ext>
                </a:extLst>
              </p:cNvPr>
              <p:cNvCxnSpPr>
                <a:cxnSpLocks/>
                <a:stCxn id="63" idx="0"/>
                <a:endCxn id="62"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4" name="Group 53">
              <a:extLst>
                <a:ext uri="{FF2B5EF4-FFF2-40B4-BE49-F238E27FC236}">
                  <a16:creationId xmlns:a16="http://schemas.microsoft.com/office/drawing/2014/main" id="{829D1F42-81CA-B2A6-638B-D055CDB6BDA7}"/>
                </a:ext>
              </a:extLst>
            </p:cNvPr>
            <p:cNvGrpSpPr/>
            <p:nvPr/>
          </p:nvGrpSpPr>
          <p:grpSpPr>
            <a:xfrm>
              <a:off x="4375286" y="1266756"/>
              <a:ext cx="1676400" cy="890539"/>
              <a:chOff x="4160837" y="1350919"/>
              <a:chExt cx="1676400" cy="890539"/>
            </a:xfrm>
            <a:solidFill>
              <a:srgbClr val="0070C0">
                <a:alpha val="62000"/>
              </a:srgbClr>
            </a:solidFill>
          </p:grpSpPr>
          <p:sp>
            <p:nvSpPr>
              <p:cNvPr id="59" name="Rectangle: Rounded Corners 58">
                <a:extLst>
                  <a:ext uri="{FF2B5EF4-FFF2-40B4-BE49-F238E27FC236}">
                    <a16:creationId xmlns:a16="http://schemas.microsoft.com/office/drawing/2014/main" id="{804243C9-EED7-D338-EF91-B497F2A40559}"/>
                  </a:ext>
                </a:extLst>
              </p:cNvPr>
              <p:cNvSpPr/>
              <p:nvPr/>
            </p:nvSpPr>
            <p:spPr bwMode="auto">
              <a:xfrm>
                <a:off x="4160837" y="1350919"/>
                <a:ext cx="1676400" cy="609601"/>
              </a:xfrm>
              <a:prstGeom prst="roundRect">
                <a:avLst/>
              </a:prstGeom>
              <a:grpFill/>
              <a:ln w="952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Enricher</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5EF89B21-F629-5D31-CE52-8F9942ACACDF}"/>
                  </a:ext>
                </a:extLst>
              </p:cNvPr>
              <p:cNvSpPr/>
              <p:nvPr/>
            </p:nvSpPr>
            <p:spPr bwMode="auto">
              <a:xfrm>
                <a:off x="4922837" y="2090463"/>
                <a:ext cx="152400" cy="150995"/>
              </a:xfrm>
              <a:prstGeom prst="ellipse">
                <a:avLst/>
              </a:prstGeom>
              <a:noFill/>
              <a:ln w="28575" cap="flat" cmpd="sng" algn="ctr">
                <a:solidFill>
                  <a:srgbClr val="0070C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C44A10B8-3C44-0C26-8D47-A6958EE42B2C}"/>
                  </a:ext>
                </a:extLst>
              </p:cNvPr>
              <p:cNvCxnSpPr>
                <a:cxnSpLocks/>
                <a:stCxn id="60" idx="0"/>
                <a:endCxn id="59" idx="2"/>
              </p:cNvCxnSpPr>
              <p:nvPr/>
            </p:nvCxnSpPr>
            <p:spPr>
              <a:xfrm flipV="1">
                <a:off x="4999037" y="1960520"/>
                <a:ext cx="0" cy="129943"/>
              </a:xfrm>
              <a:prstGeom prst="line">
                <a:avLst/>
              </a:prstGeom>
              <a:grpFill/>
              <a:ln w="25400" cap="flat" cmpd="sng" algn="ctr">
                <a:solidFill>
                  <a:srgbClr val="0070C0"/>
                </a:solidFill>
                <a:prstDash val="solid"/>
                <a:headEnd type="none"/>
                <a:tailEnd type="none"/>
              </a:ln>
              <a:effectLst/>
            </p:spPr>
          </p:cxnSp>
        </p:grpSp>
        <p:grpSp>
          <p:nvGrpSpPr>
            <p:cNvPr id="55" name="Group 54">
              <a:extLst>
                <a:ext uri="{FF2B5EF4-FFF2-40B4-BE49-F238E27FC236}">
                  <a16:creationId xmlns:a16="http://schemas.microsoft.com/office/drawing/2014/main" id="{C330B84F-CFF1-6E33-8642-FB48194ADDEB}"/>
                </a:ext>
              </a:extLst>
            </p:cNvPr>
            <p:cNvGrpSpPr/>
            <p:nvPr/>
          </p:nvGrpSpPr>
          <p:grpSpPr>
            <a:xfrm>
              <a:off x="4238413" y="1375592"/>
              <a:ext cx="1676400" cy="890539"/>
              <a:chOff x="4160837" y="1350919"/>
              <a:chExt cx="1676400" cy="890539"/>
            </a:xfrm>
          </p:grpSpPr>
          <p:sp>
            <p:nvSpPr>
              <p:cNvPr id="56" name="Rectangle: Rounded Corners 55">
                <a:extLst>
                  <a:ext uri="{FF2B5EF4-FFF2-40B4-BE49-F238E27FC236}">
                    <a16:creationId xmlns:a16="http://schemas.microsoft.com/office/drawing/2014/main" id="{45943767-7C07-68EB-873B-7A92DF0190AA}"/>
                  </a:ext>
                </a:extLst>
              </p:cNvPr>
              <p:cNvSpPr/>
              <p:nvPr/>
            </p:nvSpPr>
            <p:spPr bwMode="auto">
              <a:xfrm>
                <a:off x="4160837" y="1350919"/>
                <a:ext cx="1676400" cy="609601"/>
              </a:xfrm>
              <a:prstGeom prst="round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gnitive Skill</a:t>
                </a:r>
              </a:p>
            </p:txBody>
          </p:sp>
          <p:sp>
            <p:nvSpPr>
              <p:cNvPr id="57" name="Oval 56">
                <a:extLst>
                  <a:ext uri="{FF2B5EF4-FFF2-40B4-BE49-F238E27FC236}">
                    <a16:creationId xmlns:a16="http://schemas.microsoft.com/office/drawing/2014/main" id="{32A1223D-70B6-D06A-EF1F-E503F0381529}"/>
                  </a:ext>
                </a:extLst>
              </p:cNvPr>
              <p:cNvSpPr/>
              <p:nvPr/>
            </p:nvSpPr>
            <p:spPr bwMode="auto">
              <a:xfrm>
                <a:off x="4922837" y="2090463"/>
                <a:ext cx="152400" cy="150995"/>
              </a:xfrm>
              <a:prstGeom prst="ellipse">
                <a:avLst/>
              </a:prstGeom>
              <a:noFill/>
              <a:ln w="28575" cap="flat" cmpd="sng" algn="ctr">
                <a:solidFill>
                  <a:srgbClr val="00205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C242BEB-4410-5E1C-0168-89892B0A6212}"/>
                  </a:ext>
                </a:extLst>
              </p:cNvPr>
              <p:cNvCxnSpPr>
                <a:cxnSpLocks/>
                <a:stCxn id="57" idx="0"/>
                <a:endCxn id="56" idx="2"/>
              </p:cNvCxnSpPr>
              <p:nvPr/>
            </p:nvCxnSpPr>
            <p:spPr>
              <a:xfrm flipV="1">
                <a:off x="4999037" y="1960520"/>
                <a:ext cx="0" cy="129943"/>
              </a:xfrm>
              <a:prstGeom prst="line">
                <a:avLst/>
              </a:prstGeom>
              <a:noFill/>
              <a:ln w="25400" cap="flat" cmpd="sng" algn="ctr">
                <a:solidFill>
                  <a:srgbClr val="002050"/>
                </a:solidFill>
                <a:prstDash val="solid"/>
                <a:headEnd type="none"/>
                <a:tailEnd type="none"/>
              </a:ln>
              <a:effectLst/>
            </p:spPr>
          </p:cxnSp>
        </p:grpSp>
      </p:grpSp>
      <p:grpSp>
        <p:nvGrpSpPr>
          <p:cNvPr id="65" name="Group 64">
            <a:extLst>
              <a:ext uri="{FF2B5EF4-FFF2-40B4-BE49-F238E27FC236}">
                <a16:creationId xmlns:a16="http://schemas.microsoft.com/office/drawing/2014/main" id="{0071C664-321E-1A4A-A74A-BC0970C0FD49}"/>
              </a:ext>
            </a:extLst>
          </p:cNvPr>
          <p:cNvGrpSpPr/>
          <p:nvPr/>
        </p:nvGrpSpPr>
        <p:grpSpPr>
          <a:xfrm>
            <a:off x="10226562" y="2566161"/>
            <a:ext cx="2320538" cy="1875698"/>
            <a:chOff x="2512468" y="3116262"/>
            <a:chExt cx="2367070" cy="1913309"/>
          </a:xfrm>
        </p:grpSpPr>
        <p:pic>
          <p:nvPicPr>
            <p:cNvPr id="66" name="Picture 65">
              <a:extLst>
                <a:ext uri="{FF2B5EF4-FFF2-40B4-BE49-F238E27FC236}">
                  <a16:creationId xmlns:a16="http://schemas.microsoft.com/office/drawing/2014/main" id="{6CC916A9-56FA-4AD8-8AF6-07F8D27A16E8}"/>
                </a:ext>
              </a:extLst>
            </p:cNvPr>
            <p:cNvPicPr>
              <a:picLocks noChangeAspect="1"/>
            </p:cNvPicPr>
            <p:nvPr/>
          </p:nvPicPr>
          <p:blipFill>
            <a:blip r:embed="rId4"/>
            <a:stretch>
              <a:fillRect/>
            </a:stretch>
          </p:blipFill>
          <p:spPr>
            <a:xfrm>
              <a:off x="3121809" y="3116262"/>
              <a:ext cx="1148072" cy="1140828"/>
            </a:xfrm>
            <a:prstGeom prst="rect">
              <a:avLst/>
            </a:prstGeom>
            <a:noFill/>
          </p:spPr>
        </p:pic>
        <p:sp>
          <p:nvSpPr>
            <p:cNvPr id="67" name="Text Placeholder 1">
              <a:extLst>
                <a:ext uri="{FF2B5EF4-FFF2-40B4-BE49-F238E27FC236}">
                  <a16:creationId xmlns:a16="http://schemas.microsoft.com/office/drawing/2014/main" id="{A4D8D8B1-AE38-C05B-646C-DAD3E8A40E97}"/>
                </a:ext>
              </a:extLst>
            </p:cNvPr>
            <p:cNvSpPr txBox="1">
              <a:spLocks/>
            </p:cNvSpPr>
            <p:nvPr/>
          </p:nvSpPr>
          <p:spPr>
            <a:xfrm>
              <a:off x="2512468" y="4259262"/>
              <a:ext cx="2367070" cy="770309"/>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ct val="20000"/>
                </a:spcBef>
                <a:spcAft>
                  <a:spcPts val="0"/>
                </a:spcAft>
                <a:buClrTx/>
                <a:buSzPct val="90000"/>
                <a:buFont typeface="Arial" pitchFamily="34" charset="0"/>
                <a:buNone/>
                <a:tabLst/>
                <a:defRPr/>
              </a:pP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earch</a:t>
              </a:r>
              <a:b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765"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Index</a:t>
              </a:r>
            </a:p>
          </p:txBody>
        </p:sp>
      </p:grpSp>
      <p:sp>
        <p:nvSpPr>
          <p:cNvPr id="3" name="Rectangle 2">
            <a:extLst>
              <a:ext uri="{FF2B5EF4-FFF2-40B4-BE49-F238E27FC236}">
                <a16:creationId xmlns:a16="http://schemas.microsoft.com/office/drawing/2014/main" id="{8A1D4F0C-0FEE-7AC2-8B3C-4F7A8E591A27}"/>
              </a:ext>
            </a:extLst>
          </p:cNvPr>
          <p:cNvSpPr/>
          <p:nvPr/>
        </p:nvSpPr>
        <p:spPr bwMode="auto">
          <a:xfrm>
            <a:off x="9051659" y="1148962"/>
            <a:ext cx="3014366" cy="429282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6221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cs typeface="Segoe UI"/>
              </a:rPr>
              <a:t>Querying Modes</a:t>
            </a:r>
          </a:p>
        </p:txBody>
      </p:sp>
      <p:sp>
        <p:nvSpPr>
          <p:cNvPr id="5" name="TextBox 4">
            <a:extLst>
              <a:ext uri="{FF2B5EF4-FFF2-40B4-BE49-F238E27FC236}">
                <a16:creationId xmlns:a16="http://schemas.microsoft.com/office/drawing/2014/main" id="{7F57A41F-E4FD-4BB9-9CB3-05E08E4D9E41}"/>
              </a:ext>
            </a:extLst>
          </p:cNvPr>
          <p:cNvSpPr txBox="1"/>
          <p:nvPr/>
        </p:nvSpPr>
        <p:spPr>
          <a:xfrm>
            <a:off x="353629" y="3154943"/>
            <a:ext cx="2866384" cy="4154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4"/>
                </a:solidFill>
                <a:effectLst/>
                <a:uLnTx/>
                <a:uFillTx/>
                <a:latin typeface="Segoe UI Semibold"/>
                <a:ea typeface="+mn-ea"/>
                <a:cs typeface="+mn-cs"/>
              </a:rPr>
              <a:t>Keyword</a:t>
            </a:r>
            <a:endParaRPr kumimoji="0" lang="en-US" sz="2000" b="1" i="0" u="none" strike="noStrike" kern="1200" cap="none" spc="0" normalizeH="0" baseline="0" noProof="0" dirty="0">
              <a:ln>
                <a:noFill/>
              </a:ln>
              <a:solidFill>
                <a:srgbClr val="0078D4"/>
              </a:solidFill>
              <a:effectLst/>
              <a:uLnTx/>
              <a:uFillTx/>
              <a:latin typeface="Segoe UI Semibold"/>
              <a:ea typeface="+mn-ea"/>
              <a:cs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78D4"/>
              </a:solidFill>
              <a:effectLst/>
              <a:uLnTx/>
              <a:uFillTx/>
              <a:latin typeface="Segoe UI"/>
              <a:ea typeface="+mn-ea"/>
              <a:cs typeface="Segoe UI Semibold"/>
            </a:endParaRPr>
          </a:p>
        </p:txBody>
      </p:sp>
      <p:sp>
        <p:nvSpPr>
          <p:cNvPr id="9" name="TextBox 8">
            <a:extLst>
              <a:ext uri="{FF2B5EF4-FFF2-40B4-BE49-F238E27FC236}">
                <a16:creationId xmlns:a16="http://schemas.microsoft.com/office/drawing/2014/main" id="{7E01C075-8F0F-44BA-B7FC-FEFD43BA7DDB}"/>
              </a:ext>
            </a:extLst>
          </p:cNvPr>
          <p:cNvSpPr txBox="1"/>
          <p:nvPr/>
        </p:nvSpPr>
        <p:spPr>
          <a:xfrm>
            <a:off x="627725" y="3596908"/>
            <a:ext cx="2466037" cy="1969770"/>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Exact keyword bas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Relevance via Boolean 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Ranking via BM25 probabilistic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8983983" y="3178027"/>
            <a:ext cx="2410367"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Semantic Ranking</a:t>
            </a:r>
            <a:endParaRPr kumimoji="0" lang="en-US" sz="1800" b="0" i="0" u="none" strike="noStrike" kern="1200" cap="none" spc="0" normalizeH="0" baseline="0" noProof="0" dirty="0">
              <a:ln>
                <a:noFill/>
              </a:ln>
              <a:solidFill>
                <a:srgbClr val="0078D4"/>
              </a:solidFill>
              <a:effectLst/>
              <a:uLnTx/>
              <a:uFillTx/>
              <a:latin typeface="Segoe UI"/>
              <a:ea typeface="+mn-ea"/>
              <a:cs typeface="Segoe UI"/>
            </a:endParaRPr>
          </a:p>
        </p:txBody>
      </p:sp>
      <p:sp>
        <p:nvSpPr>
          <p:cNvPr id="13" name="TextBox 12">
            <a:extLst>
              <a:ext uri="{FF2B5EF4-FFF2-40B4-BE49-F238E27FC236}">
                <a16:creationId xmlns:a16="http://schemas.microsoft.com/office/drawing/2014/main" id="{F54EF0EA-AA7E-43B4-AEC2-8D85140B3E61}"/>
              </a:ext>
            </a:extLst>
          </p:cNvPr>
          <p:cNvSpPr txBox="1"/>
          <p:nvPr/>
        </p:nvSpPr>
        <p:spPr>
          <a:xfrm>
            <a:off x="8983983" y="3619992"/>
            <a:ext cx="2793887" cy="2215991"/>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Segoe UI Semibold"/>
              </a:rPr>
              <a:t>F</a:t>
            </a:r>
            <a:r>
              <a:rPr kumimoji="0" lang="en-US" sz="1600" b="0" i="0" u="none" strike="noStrike" kern="1200" cap="none" spc="0" normalizeH="0" baseline="0" noProof="0" dirty="0" err="1">
                <a:ln>
                  <a:noFill/>
                </a:ln>
                <a:effectLst/>
                <a:uLnTx/>
                <a:uFillTx/>
                <a:latin typeface="Segoe UI Semibold"/>
                <a:ea typeface="+mn-ea"/>
                <a:cs typeface="+mn-cs"/>
              </a:rPr>
              <a:t>ormerly</a:t>
            </a:r>
            <a:r>
              <a:rPr kumimoji="0" lang="en-US" sz="1600" b="0" i="0" u="none" strike="noStrike" kern="1200" cap="none" spc="0" normalizeH="0" baseline="0" noProof="0" dirty="0">
                <a:ln>
                  <a:noFill/>
                </a:ln>
                <a:effectLst/>
                <a:uLnTx/>
                <a:uFillTx/>
                <a:latin typeface="Segoe UI Semibold"/>
                <a:ea typeface="+mn-ea"/>
                <a:cs typeface="+mn-cs"/>
              </a:rPr>
              <a:t> known as "semantic 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Segoe UI Semibold"/>
              </a:rPr>
              <a:t>U</a:t>
            </a:r>
            <a:r>
              <a:rPr kumimoji="0" lang="en-US" sz="1600" b="0" i="0" u="none" strike="noStrike" kern="1200" cap="none" spc="0" normalizeH="0" baseline="0" noProof="0" dirty="0" err="1">
                <a:ln>
                  <a:noFill/>
                </a:ln>
                <a:effectLst/>
                <a:uLnTx/>
                <a:uFillTx/>
                <a:latin typeface="Segoe UI Semibold"/>
                <a:ea typeface="+mn-ea"/>
                <a:cs typeface="+mn-cs"/>
              </a:rPr>
              <a:t>tilizes</a:t>
            </a:r>
            <a:r>
              <a:rPr kumimoji="0" lang="en-US" sz="1600" b="0" i="0" u="none" strike="noStrike" kern="1200" cap="none" spc="0" normalizeH="0" baseline="0" noProof="0" dirty="0">
                <a:ln>
                  <a:noFill/>
                </a:ln>
                <a:effectLst/>
                <a:uLnTx/>
                <a:uFillTx/>
                <a:latin typeface="Segoe UI Semibold"/>
                <a:ea typeface="+mn-ea"/>
                <a:cs typeface="+mn-cs"/>
              </a:rPr>
              <a:t> multi-lingual, deep learning models adapted from Microsoft B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Relevancy is based on the semantics of the user’s query and detects domain-specific patterns</a:t>
            </a:r>
          </a:p>
        </p:txBody>
      </p:sp>
      <p:sp>
        <p:nvSpPr>
          <p:cNvPr id="15" name="TextBox 14">
            <a:extLst>
              <a:ext uri="{FF2B5EF4-FFF2-40B4-BE49-F238E27FC236}">
                <a16:creationId xmlns:a16="http://schemas.microsoft.com/office/drawing/2014/main" id="{11027FF2-9D7A-4650-8A93-BEED488E00E7}"/>
              </a:ext>
            </a:extLst>
          </p:cNvPr>
          <p:cNvSpPr txBox="1"/>
          <p:nvPr/>
        </p:nvSpPr>
        <p:spPr>
          <a:xfrm>
            <a:off x="2938007" y="3178027"/>
            <a:ext cx="2648444"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Vector</a:t>
            </a:r>
            <a:endParaRPr kumimoji="0" lang="en-US" sz="1800" b="0" i="0" u="none" strike="noStrike" kern="1200" cap="none" spc="0" normalizeH="0" baseline="0" noProof="0" dirty="0">
              <a:ln>
                <a:noFill/>
              </a:ln>
              <a:solidFill>
                <a:srgbClr val="0078D4"/>
              </a:solidFill>
              <a:effectLst/>
              <a:uLnTx/>
              <a:uFillTx/>
              <a:latin typeface="Segoe UI"/>
              <a:ea typeface="+mn-ea"/>
              <a:cs typeface="Segoe UI"/>
            </a:endParaRPr>
          </a:p>
        </p:txBody>
      </p:sp>
      <p:sp>
        <p:nvSpPr>
          <p:cNvPr id="17" name="TextBox 16">
            <a:extLst>
              <a:ext uri="{FF2B5EF4-FFF2-40B4-BE49-F238E27FC236}">
                <a16:creationId xmlns:a16="http://schemas.microsoft.com/office/drawing/2014/main" id="{D6D25FCE-38AD-4057-8F8E-35480001FE09}"/>
              </a:ext>
            </a:extLst>
          </p:cNvPr>
          <p:cNvSpPr txBox="1"/>
          <p:nvPr/>
        </p:nvSpPr>
        <p:spPr>
          <a:xfrm>
            <a:off x="3276698" y="3653947"/>
            <a:ext cx="2265863" cy="492443"/>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Vector representation of your data</a:t>
            </a:r>
            <a:endParaRPr kumimoji="0" lang="en-US" sz="1600" b="0" i="0" u="none" strike="noStrike" kern="1200" cap="none" spc="0" normalizeH="0" baseline="0" noProof="0" dirty="0">
              <a:ln>
                <a:noFill/>
              </a:ln>
              <a:effectLst/>
              <a:uLnTx/>
              <a:uFillTx/>
              <a:latin typeface="Segoe UI Semibold"/>
              <a:ea typeface="+mn-ea"/>
              <a:cs typeface="Segoe UI Semibold"/>
            </a:endParaRPr>
          </a:p>
        </p:txBody>
      </p:sp>
      <p:sp>
        <p:nvSpPr>
          <p:cNvPr id="3" name="TextBox 2">
            <a:extLst>
              <a:ext uri="{FF2B5EF4-FFF2-40B4-BE49-F238E27FC236}">
                <a16:creationId xmlns:a16="http://schemas.microsoft.com/office/drawing/2014/main" id="{075C18FE-827C-4E6C-963E-028BF3D09200}"/>
              </a:ext>
            </a:extLst>
          </p:cNvPr>
          <p:cNvSpPr txBox="1"/>
          <p:nvPr/>
        </p:nvSpPr>
        <p:spPr>
          <a:xfrm>
            <a:off x="5922112" y="3173896"/>
            <a:ext cx="2487357"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Hybrid</a:t>
            </a:r>
            <a:endParaRPr kumimoji="0" lang="en-US" sz="1800" b="0" i="0" u="none" strike="noStrike" kern="1200" cap="none" spc="0" normalizeH="0" baseline="0" noProof="0" dirty="0">
              <a:ln>
                <a:noFill/>
              </a:ln>
              <a:solidFill>
                <a:srgbClr val="0078D4"/>
              </a:solidFill>
              <a:effectLst/>
              <a:uLnTx/>
              <a:uFillTx/>
              <a:latin typeface="Segoe UI"/>
              <a:ea typeface="+mn-ea"/>
              <a:cs typeface="+mn-cs"/>
            </a:endParaRPr>
          </a:p>
        </p:txBody>
      </p:sp>
      <p:sp>
        <p:nvSpPr>
          <p:cNvPr id="7" name="TextBox 6">
            <a:extLst>
              <a:ext uri="{FF2B5EF4-FFF2-40B4-BE49-F238E27FC236}">
                <a16:creationId xmlns:a16="http://schemas.microsoft.com/office/drawing/2014/main" id="{E239B9DF-D95D-40FD-AF64-8AF31F562523}"/>
              </a:ext>
            </a:extLst>
          </p:cNvPr>
          <p:cNvSpPr txBox="1"/>
          <p:nvPr/>
        </p:nvSpPr>
        <p:spPr>
          <a:xfrm>
            <a:off x="6006191" y="3596908"/>
            <a:ext cx="2466037" cy="1723549"/>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Uses power of vector and semant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Semibold"/>
                <a:ea typeface="+mn-ea"/>
                <a:cs typeface="+mn-cs"/>
              </a:rPr>
              <a:t>AI Search currently uses Reciprocal Rank Fusion (RRF) to produce a single result set</a:t>
            </a:r>
          </a:p>
        </p:txBody>
      </p:sp>
      <p:sp>
        <p:nvSpPr>
          <p:cNvPr id="19" name="Rounded Rectangle 18" descr="Public preview&#10;">
            <a:extLst>
              <a:ext uri="{FF2B5EF4-FFF2-40B4-BE49-F238E27FC236}">
                <a16:creationId xmlns:a16="http://schemas.microsoft.com/office/drawing/2014/main" id="{BFC49C40-60A4-005E-108B-1BE67D2CA712}"/>
              </a:ext>
            </a:extLst>
          </p:cNvPr>
          <p:cNvSpPr/>
          <p:nvPr/>
        </p:nvSpPr>
        <p:spPr bwMode="auto">
          <a:xfrm>
            <a:off x="9249817" y="5970171"/>
            <a:ext cx="2055114" cy="475428"/>
          </a:xfrm>
          <a:prstGeom prst="roundRect">
            <a:avLst>
              <a:gd name="adj" fmla="val 9671"/>
            </a:avLst>
          </a:prstGeom>
          <a:blipFill>
            <a:blip r:embed="rId3"/>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General Availability</a:t>
            </a:r>
          </a:p>
        </p:txBody>
      </p:sp>
      <p:sp>
        <p:nvSpPr>
          <p:cNvPr id="20" name="Rounded Rectangle 18" descr="Public preview&#10;">
            <a:extLst>
              <a:ext uri="{FF2B5EF4-FFF2-40B4-BE49-F238E27FC236}">
                <a16:creationId xmlns:a16="http://schemas.microsoft.com/office/drawing/2014/main" id="{05BD9C79-7743-C90B-D418-9C65CB84DAE9}"/>
              </a:ext>
            </a:extLst>
          </p:cNvPr>
          <p:cNvSpPr/>
          <p:nvPr/>
        </p:nvSpPr>
        <p:spPr bwMode="auto">
          <a:xfrm>
            <a:off x="3394653" y="4581793"/>
            <a:ext cx="2055114" cy="475428"/>
          </a:xfrm>
          <a:prstGeom prst="roundRect">
            <a:avLst>
              <a:gd name="adj" fmla="val 9671"/>
            </a:avLst>
          </a:prstGeom>
          <a:blipFill>
            <a:blip r:embed="rId3"/>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General Availability</a:t>
            </a:r>
          </a:p>
        </p:txBody>
      </p:sp>
      <p:sp>
        <p:nvSpPr>
          <p:cNvPr id="21" name="TextBox 20">
            <a:extLst>
              <a:ext uri="{FF2B5EF4-FFF2-40B4-BE49-F238E27FC236}">
                <a16:creationId xmlns:a16="http://schemas.microsoft.com/office/drawing/2014/main" id="{51894749-146B-07FA-A693-0DDEB720D515}"/>
              </a:ext>
            </a:extLst>
          </p:cNvPr>
          <p:cNvSpPr txBox="1"/>
          <p:nvPr/>
        </p:nvSpPr>
        <p:spPr>
          <a:xfrm>
            <a:off x="2627627" y="1219408"/>
            <a:ext cx="2866384"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bold"/>
                <a:ea typeface="+mn-ea"/>
                <a:cs typeface="+mn-cs"/>
              </a:rPr>
              <a:t>Retrieval</a:t>
            </a:r>
            <a:endParaRPr kumimoji="0" lang="en-US" sz="700" b="0" i="0" u="none" strike="noStrike" kern="1200" cap="none" spc="0" normalizeH="0" baseline="0" noProof="0" dirty="0">
              <a:ln>
                <a:noFill/>
              </a:ln>
              <a:effectLst/>
              <a:uLnTx/>
              <a:uFillTx/>
              <a:latin typeface="Segoe UI"/>
              <a:ea typeface="+mn-ea"/>
              <a:cs typeface="Segoe UI Semibold"/>
            </a:endParaRPr>
          </a:p>
        </p:txBody>
      </p:sp>
      <p:sp>
        <p:nvSpPr>
          <p:cNvPr id="22" name="TextBox 21">
            <a:extLst>
              <a:ext uri="{FF2B5EF4-FFF2-40B4-BE49-F238E27FC236}">
                <a16:creationId xmlns:a16="http://schemas.microsoft.com/office/drawing/2014/main" id="{8C4B6B5E-D85A-4BD3-A951-ADE3DB77AD66}"/>
              </a:ext>
            </a:extLst>
          </p:cNvPr>
          <p:cNvSpPr txBox="1"/>
          <p:nvPr/>
        </p:nvSpPr>
        <p:spPr>
          <a:xfrm>
            <a:off x="8740399" y="1281428"/>
            <a:ext cx="2866384"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bold"/>
                <a:ea typeface="+mn-ea"/>
                <a:cs typeface="+mn-cs"/>
              </a:rPr>
              <a:t>Ranking</a:t>
            </a:r>
            <a:endParaRPr kumimoji="0" lang="en-US" sz="700" b="0" i="0" u="none" strike="noStrike" kern="1200" cap="none" spc="0" normalizeH="0" baseline="0" noProof="0" dirty="0">
              <a:ln>
                <a:noFill/>
              </a:ln>
              <a:effectLst/>
              <a:uLnTx/>
              <a:uFillTx/>
              <a:latin typeface="Segoe UI"/>
              <a:ea typeface="+mn-ea"/>
              <a:cs typeface="Segoe UI Semibold"/>
            </a:endParaRPr>
          </a:p>
        </p:txBody>
      </p:sp>
      <p:sp>
        <p:nvSpPr>
          <p:cNvPr id="24" name="TextBox 23">
            <a:extLst>
              <a:ext uri="{FF2B5EF4-FFF2-40B4-BE49-F238E27FC236}">
                <a16:creationId xmlns:a16="http://schemas.microsoft.com/office/drawing/2014/main" id="{6E3EBB23-1E4D-75D8-73F2-1759136B8808}"/>
              </a:ext>
            </a:extLst>
          </p:cNvPr>
          <p:cNvSpPr txBox="1"/>
          <p:nvPr/>
        </p:nvSpPr>
        <p:spPr>
          <a:xfrm>
            <a:off x="797650" y="1569327"/>
            <a:ext cx="7311896" cy="1200329"/>
          </a:xfrm>
          <a:prstGeom prst="rect">
            <a:avLst/>
          </a:prstGeom>
          <a:noFill/>
        </p:spPr>
        <p:txBody>
          <a:bodyPr wrap="square">
            <a:spAutoFit/>
          </a:bodyPr>
          <a:lstStyle/>
          <a:p>
            <a:pPr marL="0" indent="0" algn="l">
              <a:buNone/>
            </a:pPr>
            <a:r>
              <a:rPr lang="en-US" sz="1800" b="0" i="0" dirty="0">
                <a:solidFill>
                  <a:srgbClr val="333333"/>
                </a:solidFill>
                <a:effectLst/>
                <a:latin typeface="SegoeUI"/>
              </a:rPr>
              <a:t>Often called </a:t>
            </a:r>
            <a:r>
              <a:rPr lang="en-US" sz="1800" b="1" i="0" dirty="0">
                <a:solidFill>
                  <a:srgbClr val="333333"/>
                </a:solidFill>
                <a:effectLst/>
                <a:latin typeface="SegoeUI"/>
              </a:rPr>
              <a:t>L1</a:t>
            </a:r>
            <a:r>
              <a:rPr lang="en-US" sz="1800" b="0" i="0" dirty="0">
                <a:solidFill>
                  <a:srgbClr val="333333"/>
                </a:solidFill>
                <a:effectLst/>
                <a:latin typeface="SegoeUI"/>
              </a:rPr>
              <a:t>, the goal is to quickly </a:t>
            </a:r>
            <a:r>
              <a:rPr lang="en-US" sz="1800" b="1" i="0" dirty="0">
                <a:solidFill>
                  <a:srgbClr val="333333"/>
                </a:solidFill>
                <a:effectLst/>
                <a:latin typeface="SegoeUI"/>
              </a:rPr>
              <a:t>find all the documents </a:t>
            </a:r>
            <a:r>
              <a:rPr lang="en-US" sz="1800" b="0" i="0" dirty="0">
                <a:solidFill>
                  <a:srgbClr val="333333"/>
                </a:solidFill>
                <a:effectLst/>
                <a:latin typeface="SegoeUI"/>
              </a:rPr>
              <a:t>from the index that satisfy the search criteria. These are scored to pick the top few (typically in the order of 50) to return to the user or to feed to the next layer. Azure Cognitive Search supports (3) different L1 modes:</a:t>
            </a:r>
          </a:p>
        </p:txBody>
      </p:sp>
      <p:sp>
        <p:nvSpPr>
          <p:cNvPr id="26" name="TextBox 25">
            <a:extLst>
              <a:ext uri="{FF2B5EF4-FFF2-40B4-BE49-F238E27FC236}">
                <a16:creationId xmlns:a16="http://schemas.microsoft.com/office/drawing/2014/main" id="{51385329-0537-25D3-5C7B-5917A973B576}"/>
              </a:ext>
            </a:extLst>
          </p:cNvPr>
          <p:cNvSpPr txBox="1"/>
          <p:nvPr/>
        </p:nvSpPr>
        <p:spPr>
          <a:xfrm>
            <a:off x="8472227" y="1625755"/>
            <a:ext cx="3674165" cy="1200329"/>
          </a:xfrm>
          <a:prstGeom prst="rect">
            <a:avLst/>
          </a:prstGeom>
          <a:noFill/>
        </p:spPr>
        <p:txBody>
          <a:bodyPr wrap="square">
            <a:spAutoFit/>
          </a:bodyPr>
          <a:lstStyle/>
          <a:p>
            <a:r>
              <a:rPr lang="en-US" dirty="0">
                <a:solidFill>
                  <a:srgbClr val="333333"/>
                </a:solidFill>
                <a:latin typeface="SegoeUI"/>
              </a:rPr>
              <a:t>A</a:t>
            </a:r>
            <a:r>
              <a:rPr lang="en-US" sz="1800" b="0" i="0" dirty="0">
                <a:solidFill>
                  <a:srgbClr val="333333"/>
                </a:solidFill>
                <a:effectLst/>
                <a:latin typeface="SegoeUI"/>
              </a:rPr>
              <a:t>lso called </a:t>
            </a:r>
            <a:r>
              <a:rPr lang="en-US" sz="1800" b="1" i="0" dirty="0">
                <a:solidFill>
                  <a:srgbClr val="333333"/>
                </a:solidFill>
                <a:effectLst/>
                <a:latin typeface="SegoeUI"/>
              </a:rPr>
              <a:t>L2</a:t>
            </a:r>
            <a:r>
              <a:rPr lang="en-US" sz="1800" b="0" i="0" dirty="0">
                <a:solidFill>
                  <a:srgbClr val="333333"/>
                </a:solidFill>
                <a:effectLst/>
                <a:latin typeface="SegoeUI"/>
              </a:rPr>
              <a:t>, takes </a:t>
            </a:r>
            <a:r>
              <a:rPr lang="en-US" sz="1800" b="1" i="0" dirty="0">
                <a:solidFill>
                  <a:srgbClr val="333333"/>
                </a:solidFill>
                <a:effectLst/>
                <a:latin typeface="SegoeUI"/>
              </a:rPr>
              <a:t>a subset of the top L1 results</a:t>
            </a:r>
            <a:r>
              <a:rPr lang="en-US" sz="1800" b="0" i="0" dirty="0">
                <a:solidFill>
                  <a:srgbClr val="333333"/>
                </a:solidFill>
                <a:effectLst/>
                <a:latin typeface="SegoeUI"/>
              </a:rPr>
              <a:t> and computes higher quality </a:t>
            </a:r>
            <a:r>
              <a:rPr lang="en-US" sz="1800" b="1" i="0" dirty="0">
                <a:solidFill>
                  <a:srgbClr val="333333"/>
                </a:solidFill>
                <a:effectLst/>
                <a:latin typeface="SegoeUI"/>
              </a:rPr>
              <a:t>relevance scores </a:t>
            </a:r>
            <a:r>
              <a:rPr lang="en-US" sz="1800" b="0" i="0" dirty="0">
                <a:solidFill>
                  <a:srgbClr val="333333"/>
                </a:solidFill>
                <a:effectLst/>
                <a:latin typeface="SegoeUI"/>
              </a:rPr>
              <a:t>to reorder the result set. </a:t>
            </a:r>
            <a:endParaRPr lang="en-US" dirty="0"/>
          </a:p>
        </p:txBody>
      </p:sp>
    </p:spTree>
    <p:extLst>
      <p:ext uri="{BB962C8B-B14F-4D97-AF65-F5344CB8AC3E}">
        <p14:creationId xmlns:p14="http://schemas.microsoft.com/office/powerpoint/2010/main" val="2159684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1.04167E-6 2.96296E-6 L 1.04167E-6 0.03541 " pathEditMode="relative" rAng="0" ptsTypes="AA">
                                      <p:cBhvr>
                                        <p:cTn id="9" dur="700" spd="-100000" fill="hold"/>
                                        <p:tgtEl>
                                          <p:spTgt spid="1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grpId="1" nodeType="withEffect">
                                  <p:stCondLst>
                                    <p:cond delay="0"/>
                                  </p:stCondLst>
                                  <p:childTnLst>
                                    <p:animMotion origin="layout" path="M -4.16667E-6 -3.7037E-6 L -4.16667E-6 0.03542 " pathEditMode="relative" rAng="0" ptsTypes="AA">
                                      <p:cBhvr>
                                        <p:cTn id="14" dur="700" spd="-100000" fill="hold"/>
                                        <p:tgtEl>
                                          <p:spTgt spid="2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254FF1D-83A6-726F-558B-B9DC1618A63F}"/>
              </a:ext>
            </a:extLst>
          </p:cNvPr>
          <p:cNvSpPr txBox="1">
            <a:spLocks/>
          </p:cNvSpPr>
          <p:nvPr/>
        </p:nvSpPr>
        <p:spPr>
          <a:xfrm>
            <a:off x="588263" y="457200"/>
            <a:ext cx="11018520" cy="80021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200" b="0" i="0" u="none" strike="noStrike" kern="1200" cap="none" spc="-50" normalizeH="0" baseline="0" noProof="0">
                <a:ln w="3175">
                  <a:noFill/>
                </a:ln>
                <a:solidFill>
                  <a:srgbClr val="FFFFFF"/>
                </a:solidFill>
                <a:effectLst/>
                <a:uLnTx/>
                <a:uFillTx/>
                <a:latin typeface="Segoe UI Semibold"/>
                <a:ea typeface="+mn-ea"/>
                <a:cs typeface="Segoe UI"/>
              </a:rPr>
              <a:t>Retrieval Basics</a:t>
            </a:r>
            <a:br>
              <a:rPr kumimoji="0" lang="fr-FR"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fr-FR" sz="2000" b="0" i="0" u="none" strike="noStrike" kern="1200" cap="none" spc="-50" normalizeH="0" baseline="0" noProof="0">
                <a:ln w="3175">
                  <a:noFill/>
                </a:ln>
                <a:solidFill>
                  <a:srgbClr val="50E6FF"/>
                </a:solidFill>
                <a:effectLst/>
                <a:uLnTx/>
                <a:uFillTx/>
                <a:latin typeface="Segoe UI Semibold"/>
                <a:ea typeface="+mn-ea"/>
                <a:cs typeface="Segoe UI"/>
              </a:rPr>
              <a:t>Traditional information retrieval</a:t>
            </a:r>
            <a:endParaRPr kumimoji="0" lang="fr-FR"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5" name="Content Placeholder 2">
            <a:extLst>
              <a:ext uri="{FF2B5EF4-FFF2-40B4-BE49-F238E27FC236}">
                <a16:creationId xmlns:a16="http://schemas.microsoft.com/office/drawing/2014/main" id="{714F45AC-4B65-8B8F-8E7D-E4CCDEB76D45}"/>
              </a:ext>
            </a:extLst>
          </p:cNvPr>
          <p:cNvSpPr txBox="1">
            <a:spLocks/>
          </p:cNvSpPr>
          <p:nvPr/>
        </p:nvSpPr>
        <p:spPr>
          <a:xfrm>
            <a:off x="573468" y="1714142"/>
            <a:ext cx="6930576" cy="37548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Query: </a:t>
            </a:r>
            <a:r>
              <a:rPr kumimoji="0" lang="en-US" sz="2000" b="0" i="0" u="none" strike="noStrike" kern="1200" cap="none" spc="0" normalizeH="0" baseline="0" noProof="0">
                <a:ln>
                  <a:noFill/>
                </a:ln>
                <a:solidFill>
                  <a:srgbClr val="FFFFFF"/>
                </a:solidFill>
                <a:effectLst/>
                <a:uLnTx/>
                <a:uFillTx/>
                <a:latin typeface="Segoe UI"/>
                <a:ea typeface="+mn-ea"/>
                <a:cs typeface="+mn-cs"/>
              </a:rPr>
              <a:t>Formal statement representing your information need (e.g., search string)</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Object: </a:t>
            </a:r>
            <a:r>
              <a:rPr kumimoji="0" lang="en-US" sz="2000" b="0" i="0" u="none" strike="noStrike" kern="1200" cap="none" spc="0" normalizeH="0" baseline="0" noProof="0">
                <a:ln>
                  <a:noFill/>
                </a:ln>
                <a:solidFill>
                  <a:srgbClr val="FFFFFF"/>
                </a:solidFill>
                <a:effectLst/>
                <a:uLnTx/>
                <a:uFillTx/>
                <a:latin typeface="Segoe UI"/>
                <a:ea typeface="+mn-ea"/>
                <a:cs typeface="+mn-cs"/>
              </a:rPr>
              <a:t>Entity within your content collection (e.g., document, image, audio)</a:t>
            </a: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Relevance: </a:t>
            </a:r>
            <a:r>
              <a:rPr kumimoji="0" lang="en-US" sz="2000" b="0" i="0" u="none" strike="noStrike" kern="1200" cap="none" spc="0" normalizeH="0" baseline="0" noProof="0">
                <a:ln>
                  <a:noFill/>
                </a:ln>
                <a:solidFill>
                  <a:srgbClr val="FFFFFF"/>
                </a:solidFill>
                <a:effectLst/>
                <a:uLnTx/>
                <a:uFillTx/>
                <a:latin typeface="Segoe UI"/>
                <a:ea typeface="+mn-ea"/>
                <a:cs typeface="+mn-cs"/>
              </a:rPr>
              <a:t>Quantitative measure of how well an object satisfies the intent of the query</a:t>
            </a: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Ranking: </a:t>
            </a:r>
            <a:r>
              <a:rPr kumimoji="0" lang="en-US" sz="2000" b="0" i="0" u="none" strike="noStrike" kern="1200" cap="none" spc="0" normalizeH="0" baseline="0" noProof="0">
                <a:ln>
                  <a:noFill/>
                </a:ln>
                <a:solidFill>
                  <a:srgbClr val="FFFFFF"/>
                </a:solidFill>
                <a:effectLst/>
                <a:uLnTx/>
                <a:uFillTx/>
                <a:latin typeface="Segoe UI"/>
                <a:ea typeface="+mn-ea"/>
                <a:cs typeface="+mn-cs"/>
              </a:rPr>
              <a:t>Ordered list of relevant results based on their desirability or relevance score</a:t>
            </a:r>
            <a:endParaRPr kumimoji="0" lang="en-US" sz="2000" b="0" i="0" u="none" strike="noStrike" kern="1200" cap="none" spc="0" normalizeH="0" baseline="0" noProof="0" dirty="0">
              <a:ln>
                <a:noFill/>
              </a:ln>
              <a:solidFill>
                <a:srgbClr val="FFFFFF"/>
              </a:solidFill>
              <a:effectLst/>
              <a:uLnTx/>
              <a:uFillTx/>
              <a:latin typeface="Segoe UI"/>
              <a:ea typeface="+mn-ea"/>
              <a:cs typeface="Segoe UI"/>
            </a:endParaRPr>
          </a:p>
        </p:txBody>
      </p:sp>
      <p:pic>
        <p:nvPicPr>
          <p:cNvPr id="6" name="Picture 5">
            <a:extLst>
              <a:ext uri="{FF2B5EF4-FFF2-40B4-BE49-F238E27FC236}">
                <a16:creationId xmlns:a16="http://schemas.microsoft.com/office/drawing/2014/main" id="{800985C0-606B-92AB-A37B-2A288F66BEC2}"/>
              </a:ext>
            </a:extLst>
          </p:cNvPr>
          <p:cNvPicPr>
            <a:picLocks noChangeAspect="1"/>
          </p:cNvPicPr>
          <p:nvPr/>
        </p:nvPicPr>
        <p:blipFill>
          <a:blip r:embed="rId2"/>
          <a:stretch>
            <a:fillRect/>
          </a:stretch>
        </p:blipFill>
        <p:spPr>
          <a:xfrm>
            <a:off x="7443694" y="1551562"/>
            <a:ext cx="4558705" cy="3754875"/>
          </a:xfrm>
          <a:prstGeom prst="rect">
            <a:avLst/>
          </a:prstGeom>
        </p:spPr>
      </p:pic>
    </p:spTree>
    <p:extLst>
      <p:ext uri="{BB962C8B-B14F-4D97-AF65-F5344CB8AC3E}">
        <p14:creationId xmlns:p14="http://schemas.microsoft.com/office/powerpoint/2010/main" val="409598300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B5AA3-9C74-8264-3584-D87FD6D8720F}"/>
              </a:ext>
            </a:extLst>
          </p:cNvPr>
          <p:cNvSpPr txBox="1">
            <a:spLocks/>
          </p:cNvSpPr>
          <p:nvPr/>
        </p:nvSpPr>
        <p:spPr>
          <a:xfrm>
            <a:off x="588263" y="457200"/>
            <a:ext cx="11018520" cy="80021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Keyword Search</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Search via Inverted Indexe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7DF6BD76-B7A6-E8E4-2D65-28C0A0FC00E1}"/>
              </a:ext>
            </a:extLst>
          </p:cNvPr>
          <p:cNvSpPr txBox="1"/>
          <p:nvPr/>
        </p:nvSpPr>
        <p:spPr>
          <a:xfrm>
            <a:off x="588263" y="1571625"/>
            <a:ext cx="3048000" cy="681038"/>
          </a:xfrm>
          <a:prstGeom prst="roundRect">
            <a:avLst/>
          </a:prstGeom>
          <a:solidFill>
            <a:srgbClr val="FFFFFF"/>
          </a:solidFill>
          <a:ln w="10795" cap="flat" cmpd="sng" algn="ctr">
            <a:solidFill>
              <a:srgbClr val="000000"/>
            </a:solidFill>
            <a:prstDash val="solid"/>
          </a:ln>
          <a:effectLst/>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Document 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pple orange banana”</a:t>
            </a:r>
          </a:p>
        </p:txBody>
      </p:sp>
      <p:sp>
        <p:nvSpPr>
          <p:cNvPr id="4" name="TextBox 3">
            <a:extLst>
              <a:ext uri="{FF2B5EF4-FFF2-40B4-BE49-F238E27FC236}">
                <a16:creationId xmlns:a16="http://schemas.microsoft.com/office/drawing/2014/main" id="{FA1B6ADF-8C3F-5F0F-E181-8643A6466918}"/>
              </a:ext>
            </a:extLst>
          </p:cNvPr>
          <p:cNvSpPr txBox="1"/>
          <p:nvPr/>
        </p:nvSpPr>
        <p:spPr>
          <a:xfrm>
            <a:off x="588263" y="2842022"/>
            <a:ext cx="3048000" cy="681038"/>
          </a:xfrm>
          <a:prstGeom prst="roundRect">
            <a:avLst/>
          </a:prstGeom>
          <a:solidFill>
            <a:srgbClr val="FFFFFF"/>
          </a:solidFill>
          <a:ln w="10795" cap="flat" cmpd="sng" algn="ctr">
            <a:solidFill>
              <a:srgbClr val="000000"/>
            </a:solidFill>
            <a:prstDash val="solid"/>
          </a:ln>
          <a:effectLst/>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Document 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orange apple grape”</a:t>
            </a:r>
          </a:p>
        </p:txBody>
      </p:sp>
      <p:sp>
        <p:nvSpPr>
          <p:cNvPr id="5" name="TextBox 4">
            <a:extLst>
              <a:ext uri="{FF2B5EF4-FFF2-40B4-BE49-F238E27FC236}">
                <a16:creationId xmlns:a16="http://schemas.microsoft.com/office/drawing/2014/main" id="{0043C8F3-1354-4736-6BDC-18FFA706F9B1}"/>
              </a:ext>
            </a:extLst>
          </p:cNvPr>
          <p:cNvSpPr txBox="1"/>
          <p:nvPr/>
        </p:nvSpPr>
        <p:spPr>
          <a:xfrm>
            <a:off x="588263" y="4112419"/>
            <a:ext cx="3048000" cy="681038"/>
          </a:xfrm>
          <a:prstGeom prst="roundRect">
            <a:avLst/>
          </a:prstGeom>
          <a:solidFill>
            <a:srgbClr val="FFFFFF"/>
          </a:solidFill>
          <a:ln w="10795" cap="flat" cmpd="sng" algn="ctr">
            <a:solidFill>
              <a:srgbClr val="000000"/>
            </a:solidFill>
            <a:prstDash val="solid"/>
          </a:ln>
          <a:effectLst/>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Document 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banana grape apple”</a:t>
            </a:r>
          </a:p>
        </p:txBody>
      </p:sp>
      <p:graphicFrame>
        <p:nvGraphicFramePr>
          <p:cNvPr id="6" name="Table 9">
            <a:extLst>
              <a:ext uri="{FF2B5EF4-FFF2-40B4-BE49-F238E27FC236}">
                <a16:creationId xmlns:a16="http://schemas.microsoft.com/office/drawing/2014/main" id="{4BC9BD12-7A74-242A-FCA7-E4A2F91FD9BB}"/>
              </a:ext>
            </a:extLst>
          </p:cNvPr>
          <p:cNvGraphicFramePr>
            <a:graphicFrameLocks noGrp="1"/>
          </p:cNvGraphicFramePr>
          <p:nvPr/>
        </p:nvGraphicFramePr>
        <p:xfrm>
          <a:off x="4152900" y="2252663"/>
          <a:ext cx="7297038" cy="1854200"/>
        </p:xfrm>
        <a:graphic>
          <a:graphicData uri="http://schemas.openxmlformats.org/drawingml/2006/table">
            <a:tbl>
              <a:tblPr firstRow="1" bandRow="1"/>
              <a:tblGrid>
                <a:gridCol w="2432346">
                  <a:extLst>
                    <a:ext uri="{9D8B030D-6E8A-4147-A177-3AD203B41FA5}">
                      <a16:colId xmlns:a16="http://schemas.microsoft.com/office/drawing/2014/main" val="266075839"/>
                    </a:ext>
                  </a:extLst>
                </a:gridCol>
                <a:gridCol w="2432346">
                  <a:extLst>
                    <a:ext uri="{9D8B030D-6E8A-4147-A177-3AD203B41FA5}">
                      <a16:colId xmlns:a16="http://schemas.microsoft.com/office/drawing/2014/main" val="2560889086"/>
                    </a:ext>
                  </a:extLst>
                </a:gridCol>
                <a:gridCol w="2432346">
                  <a:extLst>
                    <a:ext uri="{9D8B030D-6E8A-4147-A177-3AD203B41FA5}">
                      <a16:colId xmlns:a16="http://schemas.microsoft.com/office/drawing/2014/main" val="1007768163"/>
                    </a:ext>
                  </a:extLst>
                </a:gridCol>
              </a:tblGrid>
              <a:tr h="37084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dirty="0">
                          <a:solidFill>
                            <a:schemeClr val="bg1"/>
                          </a:solidFill>
                        </a:rPr>
                        <a:t>Term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E6FF"/>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dirty="0">
                          <a:solidFill>
                            <a:schemeClr val="bg1"/>
                          </a:solidFill>
                        </a:rPr>
                        <a:t>Freq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E6FF"/>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dirty="0">
                          <a:solidFill>
                            <a:schemeClr val="bg1"/>
                          </a:solidFill>
                        </a:rPr>
                        <a:t>Documents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E6FF"/>
                    </a:solidFill>
                  </a:tcPr>
                </a:tc>
                <a:extLst>
                  <a:ext uri="{0D108BD9-81ED-4DB2-BD59-A6C34878D82A}">
                    <a16:rowId xmlns:a16="http://schemas.microsoft.com/office/drawing/2014/main" val="211057080"/>
                  </a:ext>
                </a:extLst>
              </a:tr>
              <a:tr h="37084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apple</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1, 2, 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extLst>
                  <a:ext uri="{0D108BD9-81ED-4DB2-BD59-A6C34878D82A}">
                    <a16:rowId xmlns:a16="http://schemas.microsoft.com/office/drawing/2014/main" val="143603087"/>
                  </a:ext>
                </a:extLst>
              </a:tr>
              <a:tr h="37084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orang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1, 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extLst>
                  <a:ext uri="{0D108BD9-81ED-4DB2-BD59-A6C34878D82A}">
                    <a16:rowId xmlns:a16="http://schemas.microsoft.com/office/drawing/2014/main" val="484865448"/>
                  </a:ext>
                </a:extLst>
              </a:tr>
              <a:tr h="37084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banana</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1, 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40000"/>
                      </a:srgbClr>
                    </a:solidFill>
                  </a:tcPr>
                </a:tc>
                <a:extLst>
                  <a:ext uri="{0D108BD9-81ED-4DB2-BD59-A6C34878D82A}">
                    <a16:rowId xmlns:a16="http://schemas.microsoft.com/office/drawing/2014/main" val="3680048285"/>
                  </a:ext>
                </a:extLst>
              </a:tr>
              <a:tr h="37084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grap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dirty="0"/>
                        <a:t>2, 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0E6FF">
                        <a:tint val="20000"/>
                      </a:srgbClr>
                    </a:solidFill>
                  </a:tcPr>
                </a:tc>
                <a:extLst>
                  <a:ext uri="{0D108BD9-81ED-4DB2-BD59-A6C34878D82A}">
                    <a16:rowId xmlns:a16="http://schemas.microsoft.com/office/drawing/2014/main" val="425718598"/>
                  </a:ext>
                </a:extLst>
              </a:tr>
            </a:tbl>
          </a:graphicData>
        </a:graphic>
      </p:graphicFrame>
      <p:sp>
        <p:nvSpPr>
          <p:cNvPr id="7" name="Rectangle 6">
            <a:extLst>
              <a:ext uri="{FF2B5EF4-FFF2-40B4-BE49-F238E27FC236}">
                <a16:creationId xmlns:a16="http://schemas.microsoft.com/office/drawing/2014/main" id="{397CB8C6-5F4D-A034-B803-D68D12D488ED}"/>
              </a:ext>
              <a:ext uri="{C183D7F6-B498-43B3-948B-1728B52AA6E4}">
                <adec:decorative xmlns:adec="http://schemas.microsoft.com/office/drawing/2017/decorative" val="1"/>
              </a:ext>
            </a:extLst>
          </p:cNvPr>
          <p:cNvSpPr/>
          <p:nvPr/>
        </p:nvSpPr>
        <p:spPr bwMode="auto">
          <a:xfrm flipV="1">
            <a:off x="4152899" y="4168772"/>
            <a:ext cx="4850605" cy="161925"/>
          </a:xfrm>
          <a:prstGeom prst="rect">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EA2D0ED-F79A-4970-6EE5-2A784F392273}"/>
              </a:ext>
              <a:ext uri="{C183D7F6-B498-43B3-948B-1728B52AA6E4}">
                <adec:decorative xmlns:adec="http://schemas.microsoft.com/office/drawing/2017/decorative" val="1"/>
              </a:ext>
            </a:extLst>
          </p:cNvPr>
          <p:cNvSpPr/>
          <p:nvPr/>
        </p:nvSpPr>
        <p:spPr bwMode="auto">
          <a:xfrm>
            <a:off x="4117975" y="4127499"/>
            <a:ext cx="4903088" cy="88901"/>
          </a:xfrm>
          <a:prstGeom prst="rect">
            <a:avLst/>
          </a:prstGeom>
          <a:solidFill>
            <a:srgbClr val="000000"/>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59EF5FA0-53E1-DBD1-C4F6-B6D58D649856}"/>
              </a:ext>
              <a:ext uri="{C183D7F6-B498-43B3-948B-1728B52AA6E4}">
                <adec:decorative xmlns:adec="http://schemas.microsoft.com/office/drawing/2017/decorative" val="1"/>
              </a:ext>
            </a:extLst>
          </p:cNvPr>
          <p:cNvCxnSpPr>
            <a:cxnSpLocks/>
          </p:cNvCxnSpPr>
          <p:nvPr/>
        </p:nvCxnSpPr>
        <p:spPr>
          <a:xfrm>
            <a:off x="6581775" y="4328319"/>
            <a:ext cx="0" cy="95250"/>
          </a:xfrm>
          <a:prstGeom prst="line">
            <a:avLst/>
          </a:prstGeom>
          <a:noFill/>
          <a:ln w="9525" cap="flat" cmpd="sng" algn="ctr">
            <a:solidFill>
              <a:srgbClr val="FFFFFF"/>
            </a:solidFill>
            <a:prstDash val="solid"/>
            <a:headEnd type="none" w="lg" len="med"/>
            <a:tailEnd type="none" w="lg" len="med"/>
          </a:ln>
          <a:effectLst/>
        </p:spPr>
      </p:cxnSp>
      <p:sp>
        <p:nvSpPr>
          <p:cNvPr id="10" name="TextBox 9">
            <a:extLst>
              <a:ext uri="{FF2B5EF4-FFF2-40B4-BE49-F238E27FC236}">
                <a16:creationId xmlns:a16="http://schemas.microsoft.com/office/drawing/2014/main" id="{49E75404-4403-8EDE-E901-AF9EF749F9F7}"/>
              </a:ext>
            </a:extLst>
          </p:cNvPr>
          <p:cNvSpPr txBox="1"/>
          <p:nvPr/>
        </p:nvSpPr>
        <p:spPr>
          <a:xfrm>
            <a:off x="5367338" y="4397911"/>
            <a:ext cx="2428874"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Dictionary</a:t>
            </a:r>
          </a:p>
        </p:txBody>
      </p:sp>
      <p:sp>
        <p:nvSpPr>
          <p:cNvPr id="11" name="Rectangle 10">
            <a:extLst>
              <a:ext uri="{FF2B5EF4-FFF2-40B4-BE49-F238E27FC236}">
                <a16:creationId xmlns:a16="http://schemas.microsoft.com/office/drawing/2014/main" id="{56050556-3E0C-FBF3-A43E-F2FBF770009C}"/>
              </a:ext>
              <a:ext uri="{C183D7F6-B498-43B3-948B-1728B52AA6E4}">
                <adec:decorative xmlns:adec="http://schemas.microsoft.com/office/drawing/2017/decorative" val="1"/>
              </a:ext>
            </a:extLst>
          </p:cNvPr>
          <p:cNvSpPr/>
          <p:nvPr/>
        </p:nvSpPr>
        <p:spPr bwMode="auto">
          <a:xfrm flipV="1">
            <a:off x="9055987" y="4168774"/>
            <a:ext cx="2393951" cy="161925"/>
          </a:xfrm>
          <a:prstGeom prst="rect">
            <a:avLst/>
          </a:pr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BB4A322A-8CB4-6FF8-19CC-B0EB2C630EAB}"/>
              </a:ext>
              <a:ext uri="{C183D7F6-B498-43B3-948B-1728B52AA6E4}">
                <adec:decorative xmlns:adec="http://schemas.microsoft.com/office/drawing/2017/decorative" val="1"/>
              </a:ext>
            </a:extLst>
          </p:cNvPr>
          <p:cNvSpPr/>
          <p:nvPr/>
        </p:nvSpPr>
        <p:spPr bwMode="auto">
          <a:xfrm>
            <a:off x="8986138" y="4127499"/>
            <a:ext cx="2581275" cy="88901"/>
          </a:xfrm>
          <a:prstGeom prst="rect">
            <a:avLst/>
          </a:prstGeom>
          <a:solidFill>
            <a:srgbClr val="000000"/>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D253CB9F-E05A-CBF8-F6F7-9443B9A48A79}"/>
              </a:ext>
              <a:ext uri="{C183D7F6-B498-43B3-948B-1728B52AA6E4}">
                <adec:decorative xmlns:adec="http://schemas.microsoft.com/office/drawing/2017/decorative" val="1"/>
              </a:ext>
            </a:extLst>
          </p:cNvPr>
          <p:cNvCxnSpPr>
            <a:cxnSpLocks/>
            <a:stCxn id="11" idx="0"/>
          </p:cNvCxnSpPr>
          <p:nvPr/>
        </p:nvCxnSpPr>
        <p:spPr>
          <a:xfrm flipH="1">
            <a:off x="10235501" y="4330699"/>
            <a:ext cx="17462" cy="95251"/>
          </a:xfrm>
          <a:prstGeom prst="line">
            <a:avLst/>
          </a:prstGeom>
          <a:noFill/>
          <a:ln w="9525" cap="flat" cmpd="sng" algn="ctr">
            <a:solidFill>
              <a:srgbClr val="FFFFFF"/>
            </a:solidFill>
            <a:prstDash val="solid"/>
            <a:headEnd type="none" w="lg" len="med"/>
            <a:tailEnd type="none" w="lg" len="med"/>
          </a:ln>
          <a:effectLst/>
        </p:spPr>
      </p:cxnSp>
      <p:sp>
        <p:nvSpPr>
          <p:cNvPr id="14" name="TextBox 13">
            <a:extLst>
              <a:ext uri="{FF2B5EF4-FFF2-40B4-BE49-F238E27FC236}">
                <a16:creationId xmlns:a16="http://schemas.microsoft.com/office/drawing/2014/main" id="{33879219-8A25-7B54-5EE3-53C687A2BAD3}"/>
              </a:ext>
            </a:extLst>
          </p:cNvPr>
          <p:cNvSpPr txBox="1"/>
          <p:nvPr/>
        </p:nvSpPr>
        <p:spPr>
          <a:xfrm>
            <a:off x="9021064" y="4447917"/>
            <a:ext cx="2428874" cy="18466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Postings Lists</a:t>
            </a:r>
          </a:p>
        </p:txBody>
      </p:sp>
    </p:spTree>
    <p:extLst>
      <p:ext uri="{BB962C8B-B14F-4D97-AF65-F5344CB8AC3E}">
        <p14:creationId xmlns:p14="http://schemas.microsoft.com/office/powerpoint/2010/main" val="42277897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60A252-EE1B-1A39-1E2B-C79E52E49174}"/>
              </a:ext>
            </a:extLst>
          </p:cNvPr>
          <p:cNvSpPr>
            <a:spLocks noGrp="1"/>
          </p:cNvSpPr>
          <p:nvPr>
            <p:ph type="title"/>
          </p:nvPr>
        </p:nvSpPr>
        <p:spPr>
          <a:xfrm>
            <a:off x="588263" y="457200"/>
            <a:ext cx="11018520" cy="553998"/>
          </a:xfrm>
        </p:spPr>
        <p:txBody>
          <a:bodyPr/>
          <a:lstStyle/>
          <a:p>
            <a:r>
              <a:rPr lang="en-US" dirty="0"/>
              <a:t>Azure AI Search</a:t>
            </a:r>
          </a:p>
        </p:txBody>
      </p:sp>
      <p:sp>
        <p:nvSpPr>
          <p:cNvPr id="4" name="Content Placeholder 3">
            <a:extLst>
              <a:ext uri="{FF2B5EF4-FFF2-40B4-BE49-F238E27FC236}">
                <a16:creationId xmlns:a16="http://schemas.microsoft.com/office/drawing/2014/main" id="{3F49BF0D-8929-652F-159A-4237139D9508}"/>
              </a:ext>
            </a:extLst>
          </p:cNvPr>
          <p:cNvSpPr>
            <a:spLocks noGrp="1"/>
          </p:cNvSpPr>
          <p:nvPr>
            <p:ph sz="quarter" idx="10"/>
          </p:nvPr>
        </p:nvSpPr>
        <p:spPr>
          <a:xfrm>
            <a:off x="584200" y="1435100"/>
            <a:ext cx="11271195" cy="3422475"/>
          </a:xfrm>
        </p:spPr>
        <p:txBody>
          <a:bodyPr/>
          <a:lstStyle/>
          <a:p>
            <a:pPr lvl="0"/>
            <a:r>
              <a:rPr lang="en-US" sz="2600" dirty="0"/>
              <a:t>Formerly known as "Azure Cognitive Search"</a:t>
            </a:r>
          </a:p>
          <a:p>
            <a:pPr lvl="0"/>
            <a:r>
              <a:rPr lang="en-US" sz="2600" b="0" i="0" dirty="0">
                <a:solidFill>
                  <a:srgbClr val="161616"/>
                </a:solidFill>
                <a:effectLst/>
                <a:latin typeface="Segoe UI" panose="020B0502040204020203" pitchFamily="34" charset="0"/>
              </a:rPr>
              <a:t>cloud search service that gives developers infrastructure, APIs, and tools for building a rich search experience</a:t>
            </a:r>
          </a:p>
          <a:p>
            <a:r>
              <a:rPr lang="en-US" sz="2600" dirty="0"/>
              <a:t>Capabilities</a:t>
            </a:r>
          </a:p>
          <a:p>
            <a:pPr lvl="1"/>
            <a:r>
              <a:rPr lang="en-US" sz="1800" dirty="0"/>
              <a:t>A search engine for full text and vector search over a search index containing user-owned content</a:t>
            </a:r>
          </a:p>
          <a:p>
            <a:pPr lvl="1"/>
            <a:r>
              <a:rPr lang="en-US" sz="1800" dirty="0"/>
              <a:t>Rich indexing, with lexical analysis and optional AI enrichment for content extraction and transformation</a:t>
            </a:r>
          </a:p>
          <a:p>
            <a:pPr lvl="1"/>
            <a:r>
              <a:rPr lang="en-US" sz="1800" dirty="0"/>
              <a:t>Rich query syntax for vector queries, text search, fuzzy search, autocomplete, geo-search and more</a:t>
            </a:r>
          </a:p>
          <a:p>
            <a:pPr lvl="1"/>
            <a:r>
              <a:rPr lang="en-US" sz="1800" dirty="0"/>
              <a:t>Programmability through REST APIs and client libraries in Azure SDKs</a:t>
            </a:r>
          </a:p>
          <a:p>
            <a:pPr lvl="1"/>
            <a:r>
              <a:rPr lang="en-US" sz="1800" dirty="0"/>
              <a:t>Azure integration at the data layer, machine learning layer, and AI (Azure AI services)</a:t>
            </a:r>
          </a:p>
        </p:txBody>
      </p:sp>
      <p:pic>
        <p:nvPicPr>
          <p:cNvPr id="6" name="Picture 5">
            <a:extLst>
              <a:ext uri="{FF2B5EF4-FFF2-40B4-BE49-F238E27FC236}">
                <a16:creationId xmlns:a16="http://schemas.microsoft.com/office/drawing/2014/main" id="{FBD1E131-0356-B1F8-9E99-BB90CA719B6F}"/>
              </a:ext>
            </a:extLst>
          </p:cNvPr>
          <p:cNvPicPr>
            <a:picLocks noChangeAspect="1"/>
          </p:cNvPicPr>
          <p:nvPr/>
        </p:nvPicPr>
        <p:blipFill>
          <a:blip r:embed="rId2"/>
          <a:stretch>
            <a:fillRect/>
          </a:stretch>
        </p:blipFill>
        <p:spPr>
          <a:xfrm>
            <a:off x="1921379" y="5118869"/>
            <a:ext cx="8190476" cy="1523810"/>
          </a:xfrm>
          <a:prstGeom prst="rect">
            <a:avLst/>
          </a:prstGeom>
        </p:spPr>
      </p:pic>
    </p:spTree>
    <p:extLst>
      <p:ext uri="{BB962C8B-B14F-4D97-AF65-F5344CB8AC3E}">
        <p14:creationId xmlns:p14="http://schemas.microsoft.com/office/powerpoint/2010/main" val="218458110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905D4-9818-5BED-70D0-C52C5FD80B38}"/>
              </a:ext>
            </a:extLst>
          </p:cNvPr>
          <p:cNvSpPr txBox="1">
            <a:spLocks/>
          </p:cNvSpPr>
          <p:nvPr/>
        </p:nvSpPr>
        <p:spPr>
          <a:xfrm>
            <a:off x="588263" y="457200"/>
            <a:ext cx="11018520" cy="80021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Keyword Search</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Ranking &amp; Relevance in Traditional Search </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3" name="Content Placeholder 2">
            <a:extLst>
              <a:ext uri="{FF2B5EF4-FFF2-40B4-BE49-F238E27FC236}">
                <a16:creationId xmlns:a16="http://schemas.microsoft.com/office/drawing/2014/main" id="{FEED81F8-B959-EA93-C227-981A82C24DA8}"/>
              </a:ext>
            </a:extLst>
          </p:cNvPr>
          <p:cNvSpPr txBox="1">
            <a:spLocks/>
          </p:cNvSpPr>
          <p:nvPr/>
        </p:nvSpPr>
        <p:spPr>
          <a:xfrm>
            <a:off x="584199" y="1435100"/>
            <a:ext cx="5308601" cy="541071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1" i="0" u="none" strike="noStrike" kern="1200" cap="none" spc="0" normalizeH="0" baseline="0" noProof="0">
                <a:ln>
                  <a:noFill/>
                </a:ln>
                <a:solidFill>
                  <a:srgbClr val="FFFFFF"/>
                </a:solidFill>
                <a:effectLst/>
                <a:uLnTx/>
                <a:uFillTx/>
                <a:latin typeface="Segoe UI"/>
                <a:ea typeface="+mn-ea"/>
                <a:cs typeface="+mn-cs"/>
              </a:rPr>
              <a:t>Relevance</a:t>
            </a:r>
            <a:r>
              <a:rPr kumimoji="0" lang="en-US" sz="2400" b="0" i="0" u="none" strike="noStrike" kern="1200" cap="none" spc="0" normalizeH="0" baseline="0" noProof="0">
                <a:ln>
                  <a:noFill/>
                </a:ln>
                <a:solidFill>
                  <a:srgbClr val="FFFFFF"/>
                </a:solidFill>
                <a:effectLst/>
                <a:uLnTx/>
                <a:uFillTx/>
                <a:latin typeface="Segoe UI"/>
                <a:ea typeface="+mn-ea"/>
                <a:cs typeface="+mn-cs"/>
              </a:rPr>
              <a:t> via Boolean Search: Retrieve documents containing specific terms (e.g., "apples" AND "orang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1" i="0" u="none" strike="noStrike" kern="1200" cap="none" spc="0" normalizeH="0" baseline="0" noProof="0">
                <a:ln>
                  <a:noFill/>
                </a:ln>
                <a:solidFill>
                  <a:srgbClr val="FFFFFF"/>
                </a:solidFill>
                <a:effectLst/>
                <a:uLnTx/>
                <a:uFillTx/>
                <a:latin typeface="Segoe UI"/>
                <a:ea typeface="+mn-ea"/>
                <a:cs typeface="+mn-cs"/>
              </a:rPr>
              <a:t>Ranking</a:t>
            </a:r>
            <a:r>
              <a:rPr kumimoji="0" lang="en-US" sz="2400" b="0" i="0" u="none" strike="noStrike" kern="1200" cap="none" spc="0" normalizeH="0" baseline="0" noProof="0">
                <a:ln>
                  <a:noFill/>
                </a:ln>
                <a:solidFill>
                  <a:srgbClr val="FFFFFF"/>
                </a:solidFill>
                <a:effectLst/>
                <a:uLnTx/>
                <a:uFillTx/>
                <a:latin typeface="Segoe UI"/>
                <a:ea typeface="+mn-ea"/>
                <a:cs typeface="+mn-cs"/>
              </a:rPr>
              <a:t> via BM25: A ranking algorithm influenced by 3 key factors:</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erm Frequency (TF): </a:t>
            </a:r>
            <a:r>
              <a:rPr kumimoji="0" lang="en-US" sz="1800" b="0" i="0" u="none" strike="noStrike" kern="1200" cap="none" spc="0" normalizeH="0" baseline="0" noProof="0">
                <a:ln>
                  <a:noFill/>
                </a:ln>
                <a:solidFill>
                  <a:srgbClr val="FFFFFF"/>
                </a:solidFill>
                <a:effectLst/>
                <a:uLnTx/>
                <a:uFillTx/>
                <a:latin typeface="Segoe UI"/>
                <a:ea typeface="+mn-ea"/>
                <a:cs typeface="+mn-cs"/>
              </a:rPr>
              <a:t>More occurrences of the search term indicate higher relevance</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Inverse Document Frequency (IDF): </a:t>
            </a:r>
            <a:r>
              <a:rPr kumimoji="0" lang="en-US" sz="1800" b="0" i="0" u="none" strike="noStrike" kern="1200" cap="none" spc="0" normalizeH="0" baseline="0" noProof="0">
                <a:ln>
                  <a:noFill/>
                </a:ln>
                <a:solidFill>
                  <a:srgbClr val="FFFFFF"/>
                </a:solidFill>
                <a:effectLst/>
                <a:uLnTx/>
                <a:uFillTx/>
                <a:latin typeface="Segoe UI"/>
                <a:ea typeface="+mn-ea"/>
                <a:cs typeface="+mn-cs"/>
              </a:rPr>
              <a:t>The rarer a term across documents, the more important it is</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ield Length: </a:t>
            </a:r>
            <a:r>
              <a:rPr kumimoji="0" lang="en-US" sz="1800" b="0" i="0" u="none" strike="noStrike" kern="1200" cap="none" spc="0" normalizeH="0" baseline="0" noProof="0">
                <a:ln>
                  <a:noFill/>
                </a:ln>
                <a:solidFill>
                  <a:srgbClr val="FFFFFF"/>
                </a:solidFill>
                <a:effectLst/>
                <a:uLnTx/>
                <a:uFillTx/>
                <a:latin typeface="Segoe UI"/>
                <a:ea typeface="+mn-ea"/>
                <a:cs typeface="+mn-cs"/>
              </a:rPr>
              <a:t>Terms found in shorter fields (fewer words) are more likely to be relevant than terms in longer fields (more words)</a:t>
            </a:r>
            <a:endParaRPr kumimoji="0" lang="en-US" sz="1800" b="1" i="0" u="none" strike="noStrike" kern="1200" cap="none" spc="0" normalizeH="0" baseline="0" noProof="0">
              <a:ln>
                <a:noFill/>
              </a:ln>
              <a:solidFill>
                <a:srgbClr val="FFFFFF"/>
              </a:solidFill>
              <a:effectLst/>
              <a:uLnTx/>
              <a:uFillTx/>
              <a:latin typeface="Segoe UI"/>
              <a:ea typeface="+mn-ea"/>
              <a:cs typeface="+mn-cs"/>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000" b="0" i="1"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2" descr="machine learning - How do scoring and indexing work together in ...">
            <a:extLst>
              <a:ext uri="{FF2B5EF4-FFF2-40B4-BE49-F238E27FC236}">
                <a16:creationId xmlns:a16="http://schemas.microsoft.com/office/drawing/2014/main" id="{328D6CD0-DD82-3B99-5240-1F6830C2D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6827" y="3001759"/>
            <a:ext cx="5527675" cy="84951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1FE0017-849B-1943-F0A9-DAEC861F4F64}"/>
              </a:ext>
            </a:extLst>
          </p:cNvPr>
          <p:cNvSpPr txBox="1"/>
          <p:nvPr/>
        </p:nvSpPr>
        <p:spPr>
          <a:xfrm>
            <a:off x="7000874" y="3981450"/>
            <a:ext cx="3800475"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defRPr/>
            </a:pPr>
            <a:r>
              <a:rPr lang="en-US" sz="2000">
                <a:solidFill>
                  <a:srgbClr val="FFFFFF"/>
                </a:solidFill>
                <a:cs typeface="Segoe UI"/>
              </a:rPr>
              <a:t>BM25 formula</a:t>
            </a:r>
            <a:endParaRPr lang="en-US" sz="2000" err="1">
              <a:solidFill>
                <a:srgbClr val="FFFFFF"/>
              </a:solidFill>
              <a:cs typeface="Segoe UI"/>
            </a:endParaRPr>
          </a:p>
        </p:txBody>
      </p:sp>
    </p:spTree>
    <p:extLst>
      <p:ext uri="{BB962C8B-B14F-4D97-AF65-F5344CB8AC3E}">
        <p14:creationId xmlns:p14="http://schemas.microsoft.com/office/powerpoint/2010/main" val="44242398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07B00-A958-2569-FBC6-7E3CE6939585}"/>
              </a:ext>
            </a:extLst>
          </p:cNvPr>
          <p:cNvSpPr txBox="1">
            <a:spLocks/>
          </p:cNvSpPr>
          <p:nvPr/>
        </p:nvSpPr>
        <p:spPr>
          <a:xfrm>
            <a:off x="588263" y="457200"/>
            <a:ext cx="11018520" cy="129266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Combining Discrete and Semantic Representations for Optimal Recall</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Leveraging the Strengths of Lexical and Semantic Approaches in Retrieval</a:t>
            </a: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 name="Text Placeholder 2">
            <a:extLst>
              <a:ext uri="{FF2B5EF4-FFF2-40B4-BE49-F238E27FC236}">
                <a16:creationId xmlns:a16="http://schemas.microsoft.com/office/drawing/2014/main" id="{E3055146-D4AE-1EA2-7080-6FA97268A7D2}"/>
              </a:ext>
            </a:extLst>
          </p:cNvPr>
          <p:cNvSpPr txBox="1">
            <a:spLocks/>
          </p:cNvSpPr>
          <p:nvPr/>
        </p:nvSpPr>
        <p:spPr>
          <a:xfrm>
            <a:off x="584200" y="1941111"/>
            <a:ext cx="5219700"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200" b="1">
                <a:solidFill>
                  <a:srgbClr val="FFFFFF"/>
                </a:solidFill>
                <a:cs typeface="Segoe UI"/>
              </a:rPr>
              <a:t>Discrete (Lexical) Representations</a:t>
            </a:r>
          </a:p>
        </p:txBody>
      </p:sp>
      <p:sp>
        <p:nvSpPr>
          <p:cNvPr id="4" name="Text Placeholder 3">
            <a:extLst>
              <a:ext uri="{FF2B5EF4-FFF2-40B4-BE49-F238E27FC236}">
                <a16:creationId xmlns:a16="http://schemas.microsoft.com/office/drawing/2014/main" id="{0FA21A94-9EB6-057D-D08C-2207A4471407}"/>
              </a:ext>
            </a:extLst>
          </p:cNvPr>
          <p:cNvSpPr txBox="1">
            <a:spLocks/>
          </p:cNvSpPr>
          <p:nvPr/>
        </p:nvSpPr>
        <p:spPr>
          <a:xfrm>
            <a:off x="584200" y="2588811"/>
            <a:ext cx="5219700" cy="215443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Advantag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Exact matching</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Precise control and easy </a:t>
            </a:r>
            <a:r>
              <a:rPr kumimoji="0" lang="en-US" sz="1600" b="0" i="0" u="none" strike="noStrike" kern="1200" cap="none" spc="0" normalizeH="0" baseline="0" noProof="0" dirty="0" err="1">
                <a:ln>
                  <a:noFill/>
                </a:ln>
                <a:solidFill>
                  <a:srgbClr val="FFFFFF"/>
                </a:solidFill>
                <a:effectLst/>
                <a:uLnTx/>
                <a:uFillTx/>
                <a:latin typeface="Segoe UI"/>
                <a:ea typeface="+mn-ea"/>
                <a:cs typeface="+mn-cs"/>
              </a:rPr>
              <a:t>explainabilit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Limitations:</a:t>
            </a:r>
            <a:endParaRPr kumimoji="0" lang="en-US" sz="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Struggle to capture nuances in language </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Limited understanding of conceptual similarity</a:t>
            </a: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 </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a:extLst>
              <a:ext uri="{FF2B5EF4-FFF2-40B4-BE49-F238E27FC236}">
                <a16:creationId xmlns:a16="http://schemas.microsoft.com/office/drawing/2014/main" id="{0A4318C2-6E6F-7827-F837-A925D686A050}"/>
              </a:ext>
            </a:extLst>
          </p:cNvPr>
          <p:cNvSpPr txBox="1">
            <a:spLocks/>
          </p:cNvSpPr>
          <p:nvPr/>
        </p:nvSpPr>
        <p:spPr>
          <a:xfrm>
            <a:off x="6397625" y="1941111"/>
            <a:ext cx="5219700" cy="338554"/>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200" b="1">
                <a:solidFill>
                  <a:srgbClr val="FFFFFF"/>
                </a:solidFill>
                <a:cs typeface="Segoe UI"/>
              </a:rPr>
              <a:t>Dense (Vector) Representations</a:t>
            </a:r>
          </a:p>
        </p:txBody>
      </p:sp>
      <p:sp>
        <p:nvSpPr>
          <p:cNvPr id="6" name="Text Placeholder 5">
            <a:extLst>
              <a:ext uri="{FF2B5EF4-FFF2-40B4-BE49-F238E27FC236}">
                <a16:creationId xmlns:a16="http://schemas.microsoft.com/office/drawing/2014/main" id="{BB132D93-EF8D-E2DD-C953-A9000B7D1FBB}"/>
              </a:ext>
            </a:extLst>
          </p:cNvPr>
          <p:cNvSpPr txBox="1">
            <a:spLocks/>
          </p:cNvSpPr>
          <p:nvPr/>
        </p:nvSpPr>
        <p:spPr>
          <a:xfrm>
            <a:off x="6397625" y="2588811"/>
            <a:ext cx="5219700" cy="2154436"/>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dvantag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apture conceptual similarity</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Better understanding of language nuance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Limitations:</a:t>
            </a:r>
            <a:endParaRPr kumimoji="0" lang="en-US" sz="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Not built to match exact terms </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Reduced </a:t>
            </a:r>
            <a:r>
              <a:rPr kumimoji="0" lang="en-US" sz="1600" b="0" i="0" u="none" strike="noStrike" kern="1200" cap="none" spc="0" normalizeH="0" baseline="0" noProof="0" err="1">
                <a:ln>
                  <a:noFill/>
                </a:ln>
                <a:solidFill>
                  <a:srgbClr val="FFFFFF"/>
                </a:solidFill>
                <a:effectLst/>
                <a:uLnTx/>
                <a:uFillTx/>
                <a:latin typeface="Segoe UI"/>
                <a:ea typeface="+mn-ea"/>
                <a:cs typeface="+mn-cs"/>
              </a:rPr>
              <a:t>explainability</a:t>
            </a:r>
            <a:r>
              <a:rPr kumimoji="0" lang="en-US" sz="1600" b="0" i="0" u="none" strike="noStrike" kern="1200" cap="none" spc="0" normalizeH="0" baseline="0" noProof="0">
                <a:ln>
                  <a:noFill/>
                </a:ln>
                <a:solidFill>
                  <a:srgbClr val="FFFFFF"/>
                </a:solidFill>
                <a:effectLst/>
                <a:uLnTx/>
                <a:uFillTx/>
                <a:latin typeface="Segoe UI"/>
                <a:ea typeface="+mn-ea"/>
                <a:cs typeface="+mn-cs"/>
              </a:rPr>
              <a:t> compared to discrete </a:t>
            </a:r>
          </a:p>
        </p:txBody>
      </p:sp>
      <p:sp>
        <p:nvSpPr>
          <p:cNvPr id="7" name="TextBox 6">
            <a:extLst>
              <a:ext uri="{FF2B5EF4-FFF2-40B4-BE49-F238E27FC236}">
                <a16:creationId xmlns:a16="http://schemas.microsoft.com/office/drawing/2014/main" id="{8EAD893A-C719-0ADC-D617-31E0A5F67228}"/>
              </a:ext>
            </a:extLst>
          </p:cNvPr>
          <p:cNvSpPr txBox="1"/>
          <p:nvPr/>
        </p:nvSpPr>
        <p:spPr>
          <a:xfrm>
            <a:off x="584200" y="5785247"/>
            <a:ext cx="11115675" cy="61555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rPr>
              <a:t>Bottom Line: </a:t>
            </a:r>
            <a:r>
              <a:rPr kumimoji="0" lang="en-US" sz="2000" b="0" i="0" u="none" strike="noStrike" kern="0" cap="none" spc="0" normalizeH="0" baseline="0" noProof="0">
                <a:ln>
                  <a:noFill/>
                </a:ln>
                <a:solidFill>
                  <a:srgbClr val="FFFFFF"/>
                </a:solidFill>
                <a:effectLst/>
                <a:uLnTx/>
                <a:uFillTx/>
              </a:rPr>
              <a:t>Achieve optimal recall by </a:t>
            </a:r>
            <a:r>
              <a:rPr lang="en-US" sz="2000" spc="-50" dirty="0">
                <a:ln w="3175">
                  <a:noFill/>
                </a:ln>
                <a:solidFill>
                  <a:srgbClr val="50E6FF"/>
                </a:solidFill>
                <a:latin typeface="Segoe UI Semibold"/>
                <a:cs typeface="Segoe UI"/>
              </a:rPr>
              <a:t>leveraging the strengths of both discrete and semantic representations </a:t>
            </a:r>
            <a:r>
              <a:rPr kumimoji="0" lang="en-US" sz="2000" b="0" i="0" u="none" strike="noStrike" kern="0" cap="none" spc="0" normalizeH="0" baseline="0" noProof="0">
                <a:ln>
                  <a:noFill/>
                </a:ln>
                <a:solidFill>
                  <a:srgbClr val="FFFFFF"/>
                </a:solidFill>
                <a:effectLst/>
                <a:uLnTx/>
                <a:uFillTx/>
              </a:rPr>
              <a:t>for a comprehensive understanding of language</a:t>
            </a:r>
          </a:p>
        </p:txBody>
      </p:sp>
    </p:spTree>
    <p:extLst>
      <p:ext uri="{BB962C8B-B14F-4D97-AF65-F5344CB8AC3E}">
        <p14:creationId xmlns:p14="http://schemas.microsoft.com/office/powerpoint/2010/main" val="75126770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1D332BF-7FBA-62BD-4E2B-A87B80F8C595}"/>
              </a:ext>
            </a:extLst>
          </p:cNvPr>
          <p:cNvSpPr txBox="1">
            <a:spLocks/>
          </p:cNvSpPr>
          <p:nvPr/>
        </p:nvSpPr>
        <p:spPr>
          <a:xfrm>
            <a:off x="426424" y="435824"/>
            <a:ext cx="11336039" cy="4431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200" b="0" kern="1200" cap="none" spc="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w="3175">
                  <a:noFill/>
                </a:ln>
                <a:solidFill>
                  <a:sysClr val="window" lastClr="FFFFFF"/>
                </a:solidFill>
                <a:effectLst/>
                <a:uLnTx/>
                <a:uFillTx/>
                <a:latin typeface="Segoe UI Semibold"/>
                <a:ea typeface="+mn-ea"/>
                <a:cs typeface="Segoe UI" pitchFamily="34" charset="0"/>
              </a:rPr>
              <a:t>What is RAG?</a:t>
            </a:r>
            <a:endParaRPr kumimoji="0" lang="en-US" sz="3200" b="0" i="0" u="none" strike="noStrike" kern="1200" cap="none" spc="0" normalizeH="0" baseline="0" noProof="0" dirty="0">
              <a:ln w="3175">
                <a:noFill/>
              </a:ln>
              <a:solidFill>
                <a:sysClr val="window" lastClr="FFFFFF"/>
              </a:solidFill>
              <a:effectLst/>
              <a:uLnTx/>
              <a:uFillTx/>
              <a:latin typeface="Segoe UI Semibold"/>
              <a:ea typeface="+mn-ea"/>
              <a:cs typeface="Segoe UI" pitchFamily="34" charset="0"/>
            </a:endParaRPr>
          </a:p>
        </p:txBody>
      </p:sp>
      <p:sp>
        <p:nvSpPr>
          <p:cNvPr id="6" name="Title 1">
            <a:extLst>
              <a:ext uri="{FF2B5EF4-FFF2-40B4-BE49-F238E27FC236}">
                <a16:creationId xmlns:a16="http://schemas.microsoft.com/office/drawing/2014/main" id="{A33C3015-BA37-077A-F27D-D52F5091E866}"/>
              </a:ext>
            </a:extLst>
          </p:cNvPr>
          <p:cNvSpPr txBox="1">
            <a:spLocks/>
          </p:cNvSpPr>
          <p:nvPr/>
        </p:nvSpPr>
        <p:spPr>
          <a:xfrm>
            <a:off x="1281561" y="1777259"/>
            <a:ext cx="10141815" cy="86177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400">
              <a:spcBef>
                <a:spcPts val="0"/>
              </a:spcBef>
              <a:defRPr/>
            </a:pPr>
            <a:r>
              <a:rPr sz="2800" b="0">
                <a:solidFill>
                  <a:srgbClr val="C00000"/>
                </a:solidFill>
                <a:cs typeface="Segoe UI"/>
              </a:rPr>
              <a:t>Problem: Generative AI doesn’t have context for your data - and it doesn't know your data</a:t>
            </a:r>
          </a:p>
        </p:txBody>
      </p:sp>
      <p:pic>
        <p:nvPicPr>
          <p:cNvPr id="7" name="Picture 6">
            <a:extLst>
              <a:ext uri="{FF2B5EF4-FFF2-40B4-BE49-F238E27FC236}">
                <a16:creationId xmlns:a16="http://schemas.microsoft.com/office/drawing/2014/main" id="{39BCDE5A-FC6D-6803-37B9-29E51829C9E1}"/>
              </a:ext>
            </a:extLst>
          </p:cNvPr>
          <p:cNvPicPr>
            <a:picLocks noChangeAspect="1"/>
          </p:cNvPicPr>
          <p:nvPr/>
        </p:nvPicPr>
        <p:blipFill>
          <a:blip r:embed="rId2"/>
          <a:stretch>
            <a:fillRect/>
          </a:stretch>
        </p:blipFill>
        <p:spPr>
          <a:xfrm>
            <a:off x="3164304" y="3001855"/>
            <a:ext cx="6700459" cy="2079113"/>
          </a:xfrm>
          <a:prstGeom prst="rect">
            <a:avLst/>
          </a:prstGeom>
        </p:spPr>
      </p:pic>
    </p:spTree>
    <p:extLst>
      <p:ext uri="{BB962C8B-B14F-4D97-AF65-F5344CB8AC3E}">
        <p14:creationId xmlns:p14="http://schemas.microsoft.com/office/powerpoint/2010/main" val="182134277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descr="Straight arrow">
            <a:extLst>
              <a:ext uri="{FF2B5EF4-FFF2-40B4-BE49-F238E27FC236}">
                <a16:creationId xmlns:a16="http://schemas.microsoft.com/office/drawing/2014/main" id="{D1757F27-14BE-71E7-A88B-0376339A062F}"/>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Anatomy of RAG Component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4" name="Straight Arrow Connector 3">
            <a:extLst>
              <a:ext uri="{FF2B5EF4-FFF2-40B4-BE49-F238E27FC236}">
                <a16:creationId xmlns:a16="http://schemas.microsoft.com/office/drawing/2014/main" id="{5C25E5A7-EAD9-A7BD-F24B-35EEAEF7460F}"/>
              </a:ext>
              <a:ext uri="{C183D7F6-B498-43B3-948B-1728B52AA6E4}">
                <adec:decorative xmlns:adec="http://schemas.microsoft.com/office/drawing/2017/decorative" val="1"/>
              </a:ext>
            </a:extLst>
          </p:cNvPr>
          <p:cNvCxnSpPr>
            <a:cxnSpLocks/>
          </p:cNvCxnSpPr>
          <p:nvPr/>
        </p:nvCxnSpPr>
        <p:spPr>
          <a:xfrm flipV="1">
            <a:off x="6416756" y="1874988"/>
            <a:ext cx="884032" cy="688035"/>
          </a:xfrm>
          <a:prstGeom prst="straightConnector1">
            <a:avLst/>
          </a:prstGeom>
          <a:noFill/>
          <a:ln w="12700" cap="flat" cmpd="sng" algn="ctr">
            <a:solidFill>
              <a:srgbClr val="091F2C"/>
            </a:solidFill>
            <a:prstDash val="solid"/>
            <a:headEnd type="none"/>
            <a:tailEnd type="triangle"/>
          </a:ln>
          <a:effectLst/>
        </p:spPr>
      </p:cxnSp>
      <p:cxnSp>
        <p:nvCxnSpPr>
          <p:cNvPr id="5" name="Straight Arrow Connector 4">
            <a:extLst>
              <a:ext uri="{FF2B5EF4-FFF2-40B4-BE49-F238E27FC236}">
                <a16:creationId xmlns:a16="http://schemas.microsoft.com/office/drawing/2014/main" id="{4582561A-33FB-D1B7-8F0A-C0513403ED10}"/>
              </a:ext>
              <a:ext uri="{C183D7F6-B498-43B3-948B-1728B52AA6E4}">
                <adec:decorative xmlns:adec="http://schemas.microsoft.com/office/drawing/2017/decorative" val="1"/>
              </a:ext>
            </a:extLst>
          </p:cNvPr>
          <p:cNvCxnSpPr>
            <a:cxnSpLocks/>
          </p:cNvCxnSpPr>
          <p:nvPr/>
        </p:nvCxnSpPr>
        <p:spPr>
          <a:xfrm>
            <a:off x="6422850" y="2922477"/>
            <a:ext cx="888348" cy="718397"/>
          </a:xfrm>
          <a:prstGeom prst="straightConnector1">
            <a:avLst/>
          </a:prstGeom>
          <a:noFill/>
          <a:ln w="12700" cap="flat" cmpd="sng" algn="ctr">
            <a:solidFill>
              <a:srgbClr val="091F2C"/>
            </a:solidFill>
            <a:prstDash val="solid"/>
            <a:headEnd type="none"/>
            <a:tailEnd type="triangle"/>
          </a:ln>
          <a:effectLst/>
        </p:spPr>
      </p:cxnSp>
      <p:cxnSp>
        <p:nvCxnSpPr>
          <p:cNvPr id="6" name="Straight Arrow Connector 5">
            <a:extLst>
              <a:ext uri="{FF2B5EF4-FFF2-40B4-BE49-F238E27FC236}">
                <a16:creationId xmlns:a16="http://schemas.microsoft.com/office/drawing/2014/main" id="{3CF92B14-5B4F-42A7-F98C-213D7AF5CC0F}"/>
              </a:ext>
              <a:ext uri="{C183D7F6-B498-43B3-948B-1728B52AA6E4}">
                <adec:decorative xmlns:adec="http://schemas.microsoft.com/office/drawing/2017/decorative" val="1"/>
              </a:ext>
            </a:extLst>
          </p:cNvPr>
          <p:cNvCxnSpPr>
            <a:cxnSpLocks/>
          </p:cNvCxnSpPr>
          <p:nvPr/>
        </p:nvCxnSpPr>
        <p:spPr>
          <a:xfrm rot="10800000" flipH="1">
            <a:off x="4734739" y="2534816"/>
            <a:ext cx="430042" cy="0"/>
          </a:xfrm>
          <a:prstGeom prst="straightConnector1">
            <a:avLst/>
          </a:prstGeom>
          <a:noFill/>
          <a:ln w="12700" cap="flat" cmpd="sng" algn="ctr">
            <a:solidFill>
              <a:srgbClr val="091F2C"/>
            </a:solidFill>
            <a:prstDash val="solid"/>
            <a:headEnd type="none"/>
            <a:tailEnd type="triangle"/>
          </a:ln>
          <a:effectLst/>
        </p:spPr>
      </p:cxnSp>
      <p:grpSp>
        <p:nvGrpSpPr>
          <p:cNvPr id="7" name="Group 6">
            <a:extLst>
              <a:ext uri="{FF2B5EF4-FFF2-40B4-BE49-F238E27FC236}">
                <a16:creationId xmlns:a16="http://schemas.microsoft.com/office/drawing/2014/main" id="{51B8AC75-6CE3-5FBB-95F1-15847D42C3FD}"/>
              </a:ext>
              <a:ext uri="{C183D7F6-B498-43B3-948B-1728B52AA6E4}">
                <adec:decorative xmlns:adec="http://schemas.microsoft.com/office/drawing/2017/decorative" val="1"/>
              </a:ext>
            </a:extLst>
          </p:cNvPr>
          <p:cNvGrpSpPr/>
          <p:nvPr/>
        </p:nvGrpSpPr>
        <p:grpSpPr>
          <a:xfrm>
            <a:off x="3133918" y="1639057"/>
            <a:ext cx="1974741" cy="1707538"/>
            <a:chOff x="2360911" y="2455812"/>
            <a:chExt cx="1974741" cy="1707538"/>
          </a:xfrm>
        </p:grpSpPr>
        <p:sp>
          <p:nvSpPr>
            <p:cNvPr id="8" name="Left Brace 7">
              <a:extLst>
                <a:ext uri="{FF2B5EF4-FFF2-40B4-BE49-F238E27FC236}">
                  <a16:creationId xmlns:a16="http://schemas.microsoft.com/office/drawing/2014/main" id="{C991B387-CE80-FEEA-EE36-8F5E3139F4F8}"/>
                </a:ext>
              </a:extLst>
            </p:cNvPr>
            <p:cNvSpPr/>
            <p:nvPr/>
          </p:nvSpPr>
          <p:spPr>
            <a:xfrm>
              <a:off x="2637973" y="2455812"/>
              <a:ext cx="257797" cy="1634997"/>
            </a:xfrm>
            <a:prstGeom prst="leftBrace">
              <a:avLst/>
            </a:prstGeom>
            <a:noFill/>
            <a:ln w="9525" cap="flat" cmpd="sng" algn="ctr">
              <a:solidFill>
                <a:srgbClr val="FFFFFF"/>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4F8690D8-5170-3BDA-C4A1-B96725179658}"/>
                </a:ext>
              </a:extLst>
            </p:cNvPr>
            <p:cNvGrpSpPr/>
            <p:nvPr/>
          </p:nvGrpSpPr>
          <p:grpSpPr>
            <a:xfrm>
              <a:off x="2360911" y="2520702"/>
              <a:ext cx="1974741" cy="1642648"/>
              <a:chOff x="2360911" y="2520702"/>
              <a:chExt cx="1974741" cy="1642648"/>
            </a:xfrm>
          </p:grpSpPr>
          <p:cxnSp>
            <p:nvCxnSpPr>
              <p:cNvPr id="10" name="Straight Arrow Connector 9">
                <a:extLst>
                  <a:ext uri="{FF2B5EF4-FFF2-40B4-BE49-F238E27FC236}">
                    <a16:creationId xmlns:a16="http://schemas.microsoft.com/office/drawing/2014/main" id="{647BA942-6537-324E-A583-0730DEE18C15}"/>
                  </a:ext>
                  <a:ext uri="{C183D7F6-B498-43B3-948B-1728B52AA6E4}">
                    <adec:decorative xmlns:adec="http://schemas.microsoft.com/office/drawing/2017/decorative" val="1"/>
                  </a:ext>
                </a:extLst>
              </p:cNvPr>
              <p:cNvCxnSpPr>
                <a:cxnSpLocks/>
              </p:cNvCxnSpPr>
              <p:nvPr/>
            </p:nvCxnSpPr>
            <p:spPr>
              <a:xfrm rot="10800000" flipH="1">
                <a:off x="2639863" y="3354958"/>
                <a:ext cx="430042" cy="0"/>
              </a:xfrm>
              <a:prstGeom prst="straightConnector1">
                <a:avLst/>
              </a:prstGeom>
              <a:noFill/>
              <a:ln w="12700" cap="flat" cmpd="sng" algn="ctr">
                <a:solidFill>
                  <a:srgbClr val="091F2C"/>
                </a:solidFill>
                <a:prstDash val="solid"/>
                <a:headEnd type="none"/>
                <a:tailEnd type="triangle"/>
              </a:ln>
              <a:effectLst/>
            </p:spPr>
          </p:cxnSp>
          <p:cxnSp>
            <p:nvCxnSpPr>
              <p:cNvPr id="11" name="Straight Arrow Connector 10">
                <a:extLst>
                  <a:ext uri="{FF2B5EF4-FFF2-40B4-BE49-F238E27FC236}">
                    <a16:creationId xmlns:a16="http://schemas.microsoft.com/office/drawing/2014/main" id="{024E6ACF-1A4C-1278-B8E6-6F6E1184B449}"/>
                  </a:ext>
                </a:extLst>
              </p:cNvPr>
              <p:cNvCxnSpPr>
                <a:cxnSpLocks/>
                <a:endCxn id="8" idx="1"/>
              </p:cNvCxnSpPr>
              <p:nvPr/>
            </p:nvCxnSpPr>
            <p:spPr>
              <a:xfrm flipV="1">
                <a:off x="2360911" y="3273311"/>
                <a:ext cx="277062" cy="1792"/>
              </a:xfrm>
              <a:prstGeom prst="straightConnector1">
                <a:avLst/>
              </a:prstGeom>
              <a:noFill/>
              <a:ln w="9525" cap="flat" cmpd="sng" algn="ctr">
                <a:solidFill>
                  <a:srgbClr val="FFFFFF"/>
                </a:solidFill>
                <a:prstDash val="solid"/>
                <a:headEnd type="none" w="lg" len="med"/>
                <a:tailEnd type="triangle"/>
              </a:ln>
              <a:effectLst/>
            </p:spPr>
          </p:cxnSp>
          <p:grpSp>
            <p:nvGrpSpPr>
              <p:cNvPr id="12" name="Group 11">
                <a:extLst>
                  <a:ext uri="{FF2B5EF4-FFF2-40B4-BE49-F238E27FC236}">
                    <a16:creationId xmlns:a16="http://schemas.microsoft.com/office/drawing/2014/main" id="{73BD6E60-EC5E-1CE5-4E6C-4B50AA42220B}"/>
                  </a:ext>
                </a:extLst>
              </p:cNvPr>
              <p:cNvGrpSpPr/>
              <p:nvPr/>
            </p:nvGrpSpPr>
            <p:grpSpPr>
              <a:xfrm>
                <a:off x="2890634" y="2520702"/>
                <a:ext cx="1043338" cy="1642648"/>
                <a:chOff x="4359240" y="2721000"/>
                <a:chExt cx="1043338" cy="1642648"/>
              </a:xfrm>
            </p:grpSpPr>
            <p:grpSp>
              <p:nvGrpSpPr>
                <p:cNvPr id="18" name="Group 17">
                  <a:extLst>
                    <a:ext uri="{FF2B5EF4-FFF2-40B4-BE49-F238E27FC236}">
                      <a16:creationId xmlns:a16="http://schemas.microsoft.com/office/drawing/2014/main" id="{26AC1563-708E-0B62-D9EC-002B72BE2039}"/>
                    </a:ext>
                  </a:extLst>
                </p:cNvPr>
                <p:cNvGrpSpPr/>
                <p:nvPr/>
              </p:nvGrpSpPr>
              <p:grpSpPr>
                <a:xfrm>
                  <a:off x="4359240" y="2721000"/>
                  <a:ext cx="234010" cy="1503359"/>
                  <a:chOff x="4359240" y="2721000"/>
                  <a:chExt cx="234010" cy="1503359"/>
                </a:xfrm>
              </p:grpSpPr>
              <p:pic>
                <p:nvPicPr>
                  <p:cNvPr id="24" name="Picture 23">
                    <a:extLst>
                      <a:ext uri="{FF2B5EF4-FFF2-40B4-BE49-F238E27FC236}">
                        <a16:creationId xmlns:a16="http://schemas.microsoft.com/office/drawing/2014/main" id="{37603EF8-E4C9-0055-6FEF-DEA01CCF4139}"/>
                      </a:ext>
                    </a:extLst>
                  </p:cNvPr>
                  <p:cNvPicPr>
                    <a:picLocks noChangeAspect="1"/>
                  </p:cNvPicPr>
                  <p:nvPr/>
                </p:nvPicPr>
                <p:blipFill>
                  <a:blip r:embed="rId2"/>
                  <a:stretch>
                    <a:fillRect/>
                  </a:stretch>
                </p:blipFill>
                <p:spPr>
                  <a:xfrm>
                    <a:off x="4359240" y="2721000"/>
                    <a:ext cx="234010" cy="283649"/>
                  </a:xfrm>
                  <a:prstGeom prst="rect">
                    <a:avLst/>
                  </a:prstGeom>
                </p:spPr>
              </p:pic>
              <p:pic>
                <p:nvPicPr>
                  <p:cNvPr id="25" name="Picture 24">
                    <a:extLst>
                      <a:ext uri="{FF2B5EF4-FFF2-40B4-BE49-F238E27FC236}">
                        <a16:creationId xmlns:a16="http://schemas.microsoft.com/office/drawing/2014/main" id="{8AC63C66-F62F-7F35-21D1-E1D9D1503F66}"/>
                      </a:ext>
                    </a:extLst>
                  </p:cNvPr>
                  <p:cNvPicPr>
                    <a:picLocks noChangeAspect="1"/>
                  </p:cNvPicPr>
                  <p:nvPr/>
                </p:nvPicPr>
                <p:blipFill>
                  <a:blip r:embed="rId2"/>
                  <a:stretch>
                    <a:fillRect/>
                  </a:stretch>
                </p:blipFill>
                <p:spPr>
                  <a:xfrm>
                    <a:off x="4359240" y="3136335"/>
                    <a:ext cx="234010" cy="283649"/>
                  </a:xfrm>
                  <a:prstGeom prst="rect">
                    <a:avLst/>
                  </a:prstGeom>
                </p:spPr>
              </p:pic>
              <p:pic>
                <p:nvPicPr>
                  <p:cNvPr id="26" name="Picture 25">
                    <a:extLst>
                      <a:ext uri="{FF2B5EF4-FFF2-40B4-BE49-F238E27FC236}">
                        <a16:creationId xmlns:a16="http://schemas.microsoft.com/office/drawing/2014/main" id="{33D94845-0440-E761-8DDA-64A738FA41CA}"/>
                      </a:ext>
                    </a:extLst>
                  </p:cNvPr>
                  <p:cNvPicPr>
                    <a:picLocks noChangeAspect="1"/>
                  </p:cNvPicPr>
                  <p:nvPr/>
                </p:nvPicPr>
                <p:blipFill>
                  <a:blip r:embed="rId2"/>
                  <a:stretch>
                    <a:fillRect/>
                  </a:stretch>
                </p:blipFill>
                <p:spPr>
                  <a:xfrm>
                    <a:off x="4359240" y="3533751"/>
                    <a:ext cx="234010" cy="283649"/>
                  </a:xfrm>
                  <a:prstGeom prst="rect">
                    <a:avLst/>
                  </a:prstGeom>
                </p:spPr>
              </p:pic>
              <p:pic>
                <p:nvPicPr>
                  <p:cNvPr id="27" name="Picture 26">
                    <a:extLst>
                      <a:ext uri="{FF2B5EF4-FFF2-40B4-BE49-F238E27FC236}">
                        <a16:creationId xmlns:a16="http://schemas.microsoft.com/office/drawing/2014/main" id="{A5C2DC2A-3BEC-1075-DA90-A40CF914E163}"/>
                      </a:ext>
                    </a:extLst>
                  </p:cNvPr>
                  <p:cNvPicPr>
                    <a:picLocks noChangeAspect="1"/>
                  </p:cNvPicPr>
                  <p:nvPr/>
                </p:nvPicPr>
                <p:blipFill>
                  <a:blip r:embed="rId2"/>
                  <a:stretch>
                    <a:fillRect/>
                  </a:stretch>
                </p:blipFill>
                <p:spPr>
                  <a:xfrm>
                    <a:off x="4359240" y="3940710"/>
                    <a:ext cx="234010" cy="283649"/>
                  </a:xfrm>
                  <a:prstGeom prst="rect">
                    <a:avLst/>
                  </a:prstGeom>
                </p:spPr>
              </p:pic>
            </p:grpSp>
            <p:grpSp>
              <p:nvGrpSpPr>
                <p:cNvPr id="19" name="Group 18">
                  <a:extLst>
                    <a:ext uri="{FF2B5EF4-FFF2-40B4-BE49-F238E27FC236}">
                      <a16:creationId xmlns:a16="http://schemas.microsoft.com/office/drawing/2014/main" id="{3B86CEB9-0B72-F205-9A10-8E8E521E86DC}"/>
                    </a:ext>
                  </a:extLst>
                </p:cNvPr>
                <p:cNvGrpSpPr/>
                <p:nvPr/>
              </p:nvGrpSpPr>
              <p:grpSpPr>
                <a:xfrm>
                  <a:off x="4655436" y="2738919"/>
                  <a:ext cx="747142" cy="1624729"/>
                  <a:chOff x="4655436" y="2738919"/>
                  <a:chExt cx="747142" cy="1624729"/>
                </a:xfrm>
              </p:grpSpPr>
              <p:sp>
                <p:nvSpPr>
                  <p:cNvPr id="20" name="TextBox 19">
                    <a:extLst>
                      <a:ext uri="{FF2B5EF4-FFF2-40B4-BE49-F238E27FC236}">
                        <a16:creationId xmlns:a16="http://schemas.microsoft.com/office/drawing/2014/main" id="{CF76A172-C03A-D1D6-D7E6-CCBB11BB7BC9}"/>
                      </a:ext>
                      <a:ext uri="{C183D7F6-B498-43B3-948B-1728B52AA6E4}">
                        <adec:decorative xmlns:adec="http://schemas.microsoft.com/office/drawing/2017/decorative" val="1"/>
                      </a:ext>
                    </a:extLst>
                  </p:cNvPr>
                  <p:cNvSpPr txBox="1"/>
                  <p:nvPr/>
                </p:nvSpPr>
                <p:spPr>
                  <a:xfrm>
                    <a:off x="4655436" y="2738919"/>
                    <a:ext cx="7471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ection 1</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21" name="TextBox 20">
                    <a:extLst>
                      <a:ext uri="{FF2B5EF4-FFF2-40B4-BE49-F238E27FC236}">
                        <a16:creationId xmlns:a16="http://schemas.microsoft.com/office/drawing/2014/main" id="{65F123FA-3F59-8313-DE9F-B0F89C755047}"/>
                      </a:ext>
                      <a:ext uri="{C183D7F6-B498-43B3-948B-1728B52AA6E4}">
                        <adec:decorative xmlns:adec="http://schemas.microsoft.com/office/drawing/2017/decorative" val="1"/>
                      </a:ext>
                    </a:extLst>
                  </p:cNvPr>
                  <p:cNvSpPr txBox="1"/>
                  <p:nvPr/>
                </p:nvSpPr>
                <p:spPr>
                  <a:xfrm>
                    <a:off x="4655436" y="3136335"/>
                    <a:ext cx="7471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ection 2</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09FA9F79-D185-58E2-DC2D-FC3582364C69}"/>
                      </a:ext>
                      <a:ext uri="{C183D7F6-B498-43B3-948B-1728B52AA6E4}">
                        <adec:decorative xmlns:adec="http://schemas.microsoft.com/office/drawing/2017/decorative" val="1"/>
                      </a:ext>
                    </a:extLst>
                  </p:cNvPr>
                  <p:cNvSpPr txBox="1"/>
                  <p:nvPr/>
                </p:nvSpPr>
                <p:spPr>
                  <a:xfrm>
                    <a:off x="4655436" y="3543294"/>
                    <a:ext cx="7471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ection 3</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23" name="TextBox 22">
                    <a:extLst>
                      <a:ext uri="{FF2B5EF4-FFF2-40B4-BE49-F238E27FC236}">
                        <a16:creationId xmlns:a16="http://schemas.microsoft.com/office/drawing/2014/main" id="{4D7FAF7D-E448-B130-83FF-A509D25F0945}"/>
                      </a:ext>
                      <a:ext uri="{C183D7F6-B498-43B3-948B-1728B52AA6E4}">
                        <adec:decorative xmlns:adec="http://schemas.microsoft.com/office/drawing/2017/decorative" val="1"/>
                      </a:ext>
                    </a:extLst>
                  </p:cNvPr>
                  <p:cNvSpPr txBox="1"/>
                  <p:nvPr/>
                </p:nvSpPr>
                <p:spPr>
                  <a:xfrm>
                    <a:off x="4655436" y="3963538"/>
                    <a:ext cx="74714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ection 4</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grpSp>
          </p:grpSp>
          <p:grpSp>
            <p:nvGrpSpPr>
              <p:cNvPr id="13" name="Group 12">
                <a:extLst>
                  <a:ext uri="{FF2B5EF4-FFF2-40B4-BE49-F238E27FC236}">
                    <a16:creationId xmlns:a16="http://schemas.microsoft.com/office/drawing/2014/main" id="{F0DFB330-13FD-F78F-BF4C-5D30FF8FD50E}"/>
                  </a:ext>
                </a:extLst>
              </p:cNvPr>
              <p:cNvGrpSpPr/>
              <p:nvPr/>
            </p:nvGrpSpPr>
            <p:grpSpPr>
              <a:xfrm>
                <a:off x="3858209" y="2653976"/>
                <a:ext cx="477443" cy="1228260"/>
                <a:chOff x="5500990" y="2854274"/>
                <a:chExt cx="477443" cy="1228260"/>
              </a:xfrm>
            </p:grpSpPr>
            <p:cxnSp>
              <p:nvCxnSpPr>
                <p:cNvPr id="14" name="Straight Arrow Connector 13">
                  <a:extLst>
                    <a:ext uri="{FF2B5EF4-FFF2-40B4-BE49-F238E27FC236}">
                      <a16:creationId xmlns:a16="http://schemas.microsoft.com/office/drawing/2014/main" id="{A55EDC03-4B95-24B0-10B8-02C2253EA438}"/>
                    </a:ext>
                  </a:extLst>
                </p:cNvPr>
                <p:cNvCxnSpPr>
                  <a:cxnSpLocks/>
                </p:cNvCxnSpPr>
                <p:nvPr/>
              </p:nvCxnSpPr>
              <p:spPr>
                <a:xfrm>
                  <a:off x="5500990" y="2854274"/>
                  <a:ext cx="477443" cy="0"/>
                </a:xfrm>
                <a:prstGeom prst="straightConnector1">
                  <a:avLst/>
                </a:prstGeom>
                <a:noFill/>
                <a:ln w="9525" cap="flat" cmpd="sng" algn="ctr">
                  <a:solidFill>
                    <a:srgbClr val="FFFFFF"/>
                  </a:solidFill>
                  <a:prstDash val="solid"/>
                  <a:headEnd type="none" w="lg" len="med"/>
                  <a:tailEnd type="triangle"/>
                </a:ln>
                <a:effectLst/>
              </p:spPr>
            </p:cxnSp>
            <p:cxnSp>
              <p:nvCxnSpPr>
                <p:cNvPr id="15" name="Straight Arrow Connector 14">
                  <a:extLst>
                    <a:ext uri="{FF2B5EF4-FFF2-40B4-BE49-F238E27FC236}">
                      <a16:creationId xmlns:a16="http://schemas.microsoft.com/office/drawing/2014/main" id="{DC0BA384-F9C7-F3E9-87BE-F8363B941C5F}"/>
                    </a:ext>
                  </a:extLst>
                </p:cNvPr>
                <p:cNvCxnSpPr>
                  <a:cxnSpLocks/>
                </p:cNvCxnSpPr>
                <p:nvPr/>
              </p:nvCxnSpPr>
              <p:spPr>
                <a:xfrm>
                  <a:off x="5500990" y="3278159"/>
                  <a:ext cx="477443" cy="0"/>
                </a:xfrm>
                <a:prstGeom prst="straightConnector1">
                  <a:avLst/>
                </a:prstGeom>
                <a:noFill/>
                <a:ln w="9525" cap="flat" cmpd="sng" algn="ctr">
                  <a:solidFill>
                    <a:srgbClr val="FFFFFF"/>
                  </a:solidFill>
                  <a:prstDash val="solid"/>
                  <a:headEnd type="none" w="lg" len="med"/>
                  <a:tailEnd type="triangle"/>
                </a:ln>
                <a:effectLst/>
              </p:spPr>
            </p:cxnSp>
            <p:cxnSp>
              <p:nvCxnSpPr>
                <p:cNvPr id="16" name="Straight Arrow Connector 15">
                  <a:extLst>
                    <a:ext uri="{FF2B5EF4-FFF2-40B4-BE49-F238E27FC236}">
                      <a16:creationId xmlns:a16="http://schemas.microsoft.com/office/drawing/2014/main" id="{47E436EC-3F6B-A712-BBC5-1D67EC106B07}"/>
                    </a:ext>
                  </a:extLst>
                </p:cNvPr>
                <p:cNvCxnSpPr>
                  <a:cxnSpLocks/>
                </p:cNvCxnSpPr>
                <p:nvPr/>
              </p:nvCxnSpPr>
              <p:spPr>
                <a:xfrm>
                  <a:off x="5500990" y="3683665"/>
                  <a:ext cx="477443" cy="0"/>
                </a:xfrm>
                <a:prstGeom prst="straightConnector1">
                  <a:avLst/>
                </a:prstGeom>
                <a:noFill/>
                <a:ln w="9525" cap="flat" cmpd="sng" algn="ctr">
                  <a:solidFill>
                    <a:srgbClr val="FFFFFF"/>
                  </a:solidFill>
                  <a:prstDash val="solid"/>
                  <a:headEnd type="none" w="lg" len="med"/>
                  <a:tailEnd type="triangle"/>
                </a:ln>
                <a:effectLst/>
              </p:spPr>
            </p:cxnSp>
            <p:cxnSp>
              <p:nvCxnSpPr>
                <p:cNvPr id="17" name="Straight Arrow Connector 16">
                  <a:extLst>
                    <a:ext uri="{FF2B5EF4-FFF2-40B4-BE49-F238E27FC236}">
                      <a16:creationId xmlns:a16="http://schemas.microsoft.com/office/drawing/2014/main" id="{6636402D-EB24-73F2-77BA-2597B47087A9}"/>
                    </a:ext>
                  </a:extLst>
                </p:cNvPr>
                <p:cNvCxnSpPr>
                  <a:cxnSpLocks/>
                </p:cNvCxnSpPr>
                <p:nvPr/>
              </p:nvCxnSpPr>
              <p:spPr>
                <a:xfrm>
                  <a:off x="5500990" y="4082534"/>
                  <a:ext cx="477443" cy="0"/>
                </a:xfrm>
                <a:prstGeom prst="straightConnector1">
                  <a:avLst/>
                </a:prstGeom>
                <a:noFill/>
                <a:ln w="9525" cap="flat" cmpd="sng" algn="ctr">
                  <a:solidFill>
                    <a:srgbClr val="FFFFFF"/>
                  </a:solidFill>
                  <a:prstDash val="solid"/>
                  <a:headEnd type="none" w="lg" len="med"/>
                  <a:tailEnd type="triangle"/>
                </a:ln>
                <a:effectLst/>
              </p:spPr>
            </p:cxnSp>
          </p:grpSp>
        </p:grpSp>
      </p:grpSp>
      <p:grpSp>
        <p:nvGrpSpPr>
          <p:cNvPr id="28" name="Group 27" descr="User Application.">
            <a:extLst>
              <a:ext uri="{FF2B5EF4-FFF2-40B4-BE49-F238E27FC236}">
                <a16:creationId xmlns:a16="http://schemas.microsoft.com/office/drawing/2014/main" id="{EF299E9D-48C5-4B5B-5EA0-3240E863B381}"/>
              </a:ext>
            </a:extLst>
          </p:cNvPr>
          <p:cNvGrpSpPr/>
          <p:nvPr/>
        </p:nvGrpSpPr>
        <p:grpSpPr>
          <a:xfrm>
            <a:off x="9942610" y="1375947"/>
            <a:ext cx="853119" cy="1195991"/>
            <a:chOff x="3177969" y="1745260"/>
            <a:chExt cx="853119" cy="1195991"/>
          </a:xfrm>
        </p:grpSpPr>
        <p:grpSp>
          <p:nvGrpSpPr>
            <p:cNvPr id="29" name="Group 28">
              <a:extLst>
                <a:ext uri="{FF2B5EF4-FFF2-40B4-BE49-F238E27FC236}">
                  <a16:creationId xmlns:a16="http://schemas.microsoft.com/office/drawing/2014/main" id="{427AC657-E40E-BB03-71D4-611971EF2746}"/>
                </a:ext>
              </a:extLst>
            </p:cNvPr>
            <p:cNvGrpSpPr/>
            <p:nvPr/>
          </p:nvGrpSpPr>
          <p:grpSpPr>
            <a:xfrm>
              <a:off x="3333399" y="1868733"/>
              <a:ext cx="542945" cy="599304"/>
              <a:chOff x="4791177" y="2725299"/>
              <a:chExt cx="583305" cy="643849"/>
            </a:xfrm>
          </p:grpSpPr>
          <p:grpSp>
            <p:nvGrpSpPr>
              <p:cNvPr id="32" name="Group 31">
                <a:extLst>
                  <a:ext uri="{FF2B5EF4-FFF2-40B4-BE49-F238E27FC236}">
                    <a16:creationId xmlns:a16="http://schemas.microsoft.com/office/drawing/2014/main" id="{AE756FDD-7550-E400-94F2-DFE50EEBFA8E}"/>
                  </a:ext>
                </a:extLst>
              </p:cNvPr>
              <p:cNvGrpSpPr/>
              <p:nvPr/>
            </p:nvGrpSpPr>
            <p:grpSpPr>
              <a:xfrm>
                <a:off x="4869000" y="2981621"/>
                <a:ext cx="505482" cy="387527"/>
                <a:chOff x="4764224" y="2905396"/>
                <a:chExt cx="614227" cy="470896"/>
              </a:xfrm>
            </p:grpSpPr>
            <p:grpSp>
              <p:nvGrpSpPr>
                <p:cNvPr id="36" name="Group 35">
                  <a:extLst>
                    <a:ext uri="{FF2B5EF4-FFF2-40B4-BE49-F238E27FC236}">
                      <a16:creationId xmlns:a16="http://schemas.microsoft.com/office/drawing/2014/main" id="{4573ABC6-E951-4CE5-E7EE-2EE585AE0C3C}"/>
                    </a:ext>
                  </a:extLst>
                </p:cNvPr>
                <p:cNvGrpSpPr/>
                <p:nvPr/>
              </p:nvGrpSpPr>
              <p:grpSpPr>
                <a:xfrm>
                  <a:off x="4764224" y="2988149"/>
                  <a:ext cx="347088" cy="388143"/>
                  <a:chOff x="1175042" y="1972326"/>
                  <a:chExt cx="147106" cy="164506"/>
                </a:xfrm>
                <a:solidFill>
                  <a:srgbClr val="409AE1"/>
                </a:solidFill>
              </p:grpSpPr>
              <p:sp>
                <p:nvSpPr>
                  <p:cNvPr id="41" name="Freeform 5">
                    <a:extLst>
                      <a:ext uri="{FF2B5EF4-FFF2-40B4-BE49-F238E27FC236}">
                        <a16:creationId xmlns:a16="http://schemas.microsoft.com/office/drawing/2014/main" id="{D83659CF-6E7C-7230-28BA-ADA83FD0AAEB}"/>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C5B4E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42" name="Oval 41">
                    <a:extLst>
                      <a:ext uri="{FF2B5EF4-FFF2-40B4-BE49-F238E27FC236}">
                        <a16:creationId xmlns:a16="http://schemas.microsoft.com/office/drawing/2014/main" id="{4CBB3886-7D43-5C77-DCB9-7318A325ADB6}"/>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rgbClr val="C5B4E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A13F8C51-936D-22E0-B413-B6C502EE8B43}"/>
                    </a:ext>
                  </a:extLst>
                </p:cNvPr>
                <p:cNvGrpSpPr/>
                <p:nvPr/>
              </p:nvGrpSpPr>
              <p:grpSpPr>
                <a:xfrm>
                  <a:off x="5031363" y="2905396"/>
                  <a:ext cx="347088" cy="388143"/>
                  <a:chOff x="1175042" y="1972326"/>
                  <a:chExt cx="147106" cy="164506"/>
                </a:xfrm>
              </p:grpSpPr>
              <p:sp>
                <p:nvSpPr>
                  <p:cNvPr id="39" name="Freeform 5">
                    <a:extLst>
                      <a:ext uri="{FF2B5EF4-FFF2-40B4-BE49-F238E27FC236}">
                        <a16:creationId xmlns:a16="http://schemas.microsoft.com/office/drawing/2014/main" id="{56AAD174-FBC6-CB02-CC79-76D08CF1D29D}"/>
                      </a:ext>
                      <a:ext uri="{C183D7F6-B498-43B3-948B-1728B52AA6E4}">
                        <adec:decorative xmlns:adec="http://schemas.microsoft.com/office/drawing/2017/decorative" val="1"/>
                      </a:ext>
                    </a:extLst>
                  </p:cNvPr>
                  <p:cNvSpPr>
                    <a:spLocks/>
                  </p:cNvSpPr>
                  <p:nvPr/>
                </p:nvSpPr>
                <p:spPr bwMode="auto">
                  <a:xfrm>
                    <a:off x="1175042" y="2061697"/>
                    <a:ext cx="147106" cy="75135"/>
                  </a:xfrm>
                  <a:custGeom>
                    <a:avLst/>
                    <a:gdLst>
                      <a:gd name="T0" fmla="*/ 117 w 151"/>
                      <a:gd name="T1" fmla="*/ 0 h 77"/>
                      <a:gd name="T2" fmla="*/ 35 w 151"/>
                      <a:gd name="T3" fmla="*/ 0 h 77"/>
                      <a:gd name="T4" fmla="*/ 0 w 151"/>
                      <a:gd name="T5" fmla="*/ 35 h 77"/>
                      <a:gd name="T6" fmla="*/ 0 w 151"/>
                      <a:gd name="T7" fmla="*/ 77 h 77"/>
                      <a:gd name="T8" fmla="*/ 151 w 151"/>
                      <a:gd name="T9" fmla="*/ 77 h 77"/>
                      <a:gd name="T10" fmla="*/ 151 w 151"/>
                      <a:gd name="T11" fmla="*/ 35 h 77"/>
                      <a:gd name="T12" fmla="*/ 117 w 151"/>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1" h="77">
                        <a:moveTo>
                          <a:pt x="117" y="0"/>
                        </a:moveTo>
                        <a:cubicBezTo>
                          <a:pt x="35" y="0"/>
                          <a:pt x="35" y="0"/>
                          <a:pt x="35" y="0"/>
                        </a:cubicBezTo>
                        <a:cubicBezTo>
                          <a:pt x="16" y="0"/>
                          <a:pt x="0" y="16"/>
                          <a:pt x="0" y="35"/>
                        </a:cubicBezTo>
                        <a:cubicBezTo>
                          <a:pt x="0" y="77"/>
                          <a:pt x="0" y="77"/>
                          <a:pt x="0" y="77"/>
                        </a:cubicBezTo>
                        <a:cubicBezTo>
                          <a:pt x="151" y="77"/>
                          <a:pt x="151" y="77"/>
                          <a:pt x="151" y="77"/>
                        </a:cubicBezTo>
                        <a:cubicBezTo>
                          <a:pt x="151" y="35"/>
                          <a:pt x="151" y="35"/>
                          <a:pt x="151" y="35"/>
                        </a:cubicBezTo>
                        <a:cubicBezTo>
                          <a:pt x="151" y="16"/>
                          <a:pt x="136" y="0"/>
                          <a:pt x="117" y="0"/>
                        </a:cubicBezTo>
                        <a:close/>
                      </a:path>
                    </a:pathLst>
                  </a:custGeom>
                  <a:solidFill>
                    <a:srgbClr val="C5B4E3">
                      <a:lumMod val="60000"/>
                      <a:lumOff val="4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40" name="Oval 39">
                    <a:extLst>
                      <a:ext uri="{FF2B5EF4-FFF2-40B4-BE49-F238E27FC236}">
                        <a16:creationId xmlns:a16="http://schemas.microsoft.com/office/drawing/2014/main" id="{E8188A4B-045F-D504-4405-6906C81C5CBE}"/>
                      </a:ext>
                      <a:ext uri="{C183D7F6-B498-43B3-948B-1728B52AA6E4}">
                        <adec:decorative xmlns:adec="http://schemas.microsoft.com/office/drawing/2017/decorative" val="1"/>
                      </a:ext>
                    </a:extLst>
                  </p:cNvPr>
                  <p:cNvSpPr>
                    <a:spLocks noChangeArrowheads="1"/>
                  </p:cNvSpPr>
                  <p:nvPr/>
                </p:nvSpPr>
                <p:spPr bwMode="auto">
                  <a:xfrm>
                    <a:off x="1212214" y="1972326"/>
                    <a:ext cx="72762" cy="71971"/>
                  </a:xfrm>
                  <a:prstGeom prst="ellipse">
                    <a:avLst/>
                  </a:prstGeom>
                  <a:solidFill>
                    <a:srgbClr val="C5B4E3">
                      <a:lumMod val="60000"/>
                      <a:lumOff val="4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sp>
              <p:nvSpPr>
                <p:cNvPr id="38" name="Freeform 28">
                  <a:extLst>
                    <a:ext uri="{FF2B5EF4-FFF2-40B4-BE49-F238E27FC236}">
                      <a16:creationId xmlns:a16="http://schemas.microsoft.com/office/drawing/2014/main" id="{7E015E5E-6733-0B2C-043D-5A80DB80DCB7}"/>
                    </a:ext>
                    <a:ext uri="{C183D7F6-B498-43B3-948B-1728B52AA6E4}">
                      <adec:decorative xmlns:adec="http://schemas.microsoft.com/office/drawing/2017/decorative" val="1"/>
                    </a:ext>
                  </a:extLst>
                </p:cNvPr>
                <p:cNvSpPr>
                  <a:spLocks/>
                </p:cNvSpPr>
                <p:nvPr/>
              </p:nvSpPr>
              <p:spPr bwMode="auto">
                <a:xfrm>
                  <a:off x="5031302" y="3198875"/>
                  <a:ext cx="82025" cy="94508"/>
                </a:xfrm>
                <a:custGeom>
                  <a:avLst/>
                  <a:gdLst>
                    <a:gd name="T0" fmla="*/ 23 w 23"/>
                    <a:gd name="T1" fmla="*/ 22 h 27"/>
                    <a:gd name="T2" fmla="*/ 1 w 23"/>
                    <a:gd name="T3" fmla="*/ 0 h 27"/>
                    <a:gd name="T4" fmla="*/ 0 w 23"/>
                    <a:gd name="T5" fmla="*/ 0 h 27"/>
                    <a:gd name="T6" fmla="*/ 0 w 23"/>
                    <a:gd name="T7" fmla="*/ 27 h 27"/>
                    <a:gd name="T8" fmla="*/ 23 w 23"/>
                    <a:gd name="T9" fmla="*/ 27 h 27"/>
                    <a:gd name="T10" fmla="*/ 23 w 23"/>
                    <a:gd name="T11" fmla="*/ 22 h 27"/>
                  </a:gdLst>
                  <a:ahLst/>
                  <a:cxnLst>
                    <a:cxn ang="0">
                      <a:pos x="T0" y="T1"/>
                    </a:cxn>
                    <a:cxn ang="0">
                      <a:pos x="T2" y="T3"/>
                    </a:cxn>
                    <a:cxn ang="0">
                      <a:pos x="T4" y="T5"/>
                    </a:cxn>
                    <a:cxn ang="0">
                      <a:pos x="T6" y="T7"/>
                    </a:cxn>
                    <a:cxn ang="0">
                      <a:pos x="T8" y="T9"/>
                    </a:cxn>
                    <a:cxn ang="0">
                      <a:pos x="T10" y="T11"/>
                    </a:cxn>
                  </a:cxnLst>
                  <a:rect l="0" t="0" r="r" b="b"/>
                  <a:pathLst>
                    <a:path w="23" h="27">
                      <a:moveTo>
                        <a:pt x="23" y="22"/>
                      </a:moveTo>
                      <a:cubicBezTo>
                        <a:pt x="23" y="10"/>
                        <a:pt x="14" y="0"/>
                        <a:pt x="1" y="0"/>
                      </a:cubicBezTo>
                      <a:cubicBezTo>
                        <a:pt x="1" y="0"/>
                        <a:pt x="0" y="0"/>
                        <a:pt x="0" y="0"/>
                      </a:cubicBezTo>
                      <a:cubicBezTo>
                        <a:pt x="0" y="26"/>
                        <a:pt x="0" y="27"/>
                        <a:pt x="0" y="27"/>
                      </a:cubicBezTo>
                      <a:cubicBezTo>
                        <a:pt x="8" y="27"/>
                        <a:pt x="16" y="27"/>
                        <a:pt x="23" y="27"/>
                      </a:cubicBezTo>
                      <a:cubicBezTo>
                        <a:pt x="23" y="22"/>
                        <a:pt x="23" y="22"/>
                        <a:pt x="23" y="22"/>
                      </a:cubicBezTo>
                      <a:close/>
                    </a:path>
                  </a:pathLst>
                </a:custGeom>
                <a:solidFill>
                  <a:srgbClr val="4CB1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531D4253-1040-B621-1E03-2B4471722457}"/>
                  </a:ext>
                </a:extLst>
              </p:cNvPr>
              <p:cNvGrpSpPr/>
              <p:nvPr/>
            </p:nvGrpSpPr>
            <p:grpSpPr>
              <a:xfrm>
                <a:off x="4791177" y="2725299"/>
                <a:ext cx="324620" cy="292851"/>
                <a:chOff x="4764983" y="2720537"/>
                <a:chExt cx="324620" cy="292851"/>
              </a:xfrm>
            </p:grpSpPr>
            <p:sp>
              <p:nvSpPr>
                <p:cNvPr id="34" name="Rectangle: Rounded Corners 33">
                  <a:extLst>
                    <a:ext uri="{FF2B5EF4-FFF2-40B4-BE49-F238E27FC236}">
                      <a16:creationId xmlns:a16="http://schemas.microsoft.com/office/drawing/2014/main" id="{9141B508-FABA-D9FA-3663-F4F9CFC95601}"/>
                    </a:ext>
                    <a:ext uri="{C183D7F6-B498-43B3-948B-1728B52AA6E4}">
                      <adec:decorative xmlns:adec="http://schemas.microsoft.com/office/drawing/2017/decorative" val="1"/>
                    </a:ext>
                  </a:extLst>
                </p:cNvPr>
                <p:cNvSpPr/>
                <p:nvPr/>
              </p:nvSpPr>
              <p:spPr bwMode="auto">
                <a:xfrm>
                  <a:off x="4764983" y="2720537"/>
                  <a:ext cx="324620" cy="238440"/>
                </a:xfrm>
                <a:prstGeom prst="roundRect">
                  <a:avLst>
                    <a:gd name="adj" fmla="val 23959"/>
                  </a:avLst>
                </a:prstGeom>
                <a:solidFill>
                  <a:srgbClr val="4CB1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128">
                  <a:extLst>
                    <a:ext uri="{FF2B5EF4-FFF2-40B4-BE49-F238E27FC236}">
                      <a16:creationId xmlns:a16="http://schemas.microsoft.com/office/drawing/2014/main" id="{B8DDB973-0C7D-7AA0-324B-491647DAA4FE}"/>
                    </a:ext>
                    <a:ext uri="{C183D7F6-B498-43B3-948B-1728B52AA6E4}">
                      <adec:decorative xmlns:adec="http://schemas.microsoft.com/office/drawing/2017/decorative" val="1"/>
                    </a:ext>
                  </a:extLst>
                </p:cNvPr>
                <p:cNvSpPr/>
                <p:nvPr/>
              </p:nvSpPr>
              <p:spPr bwMode="auto">
                <a:xfrm>
                  <a:off x="4978226" y="2902011"/>
                  <a:ext cx="111377" cy="111377"/>
                </a:xfrm>
                <a:custGeom>
                  <a:avLst/>
                  <a:gdLst>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259812 h 259812"/>
                    <a:gd name="connsiteX4" fmla="*/ 0 w 259812"/>
                    <a:gd name="connsiteY4" fmla="*/ 0 h 259812"/>
                    <a:gd name="connsiteX0" fmla="*/ 0 w 259812"/>
                    <a:gd name="connsiteY0" fmla="*/ 0 h 259812"/>
                    <a:gd name="connsiteX1" fmla="*/ 259812 w 259812"/>
                    <a:gd name="connsiteY1" fmla="*/ 0 h 259812"/>
                    <a:gd name="connsiteX2" fmla="*/ 259812 w 259812"/>
                    <a:gd name="connsiteY2" fmla="*/ 259812 h 259812"/>
                    <a:gd name="connsiteX3" fmla="*/ 0 w 259812"/>
                    <a:gd name="connsiteY3" fmla="*/ 0 h 259812"/>
                  </a:gdLst>
                  <a:ahLst/>
                  <a:cxnLst>
                    <a:cxn ang="0">
                      <a:pos x="connsiteX0" y="connsiteY0"/>
                    </a:cxn>
                    <a:cxn ang="0">
                      <a:pos x="connsiteX1" y="connsiteY1"/>
                    </a:cxn>
                    <a:cxn ang="0">
                      <a:pos x="connsiteX2" y="connsiteY2"/>
                    </a:cxn>
                    <a:cxn ang="0">
                      <a:pos x="connsiteX3" y="connsiteY3"/>
                    </a:cxn>
                  </a:cxnLst>
                  <a:rect l="l" t="t" r="r" b="b"/>
                  <a:pathLst>
                    <a:path w="259812" h="259812">
                      <a:moveTo>
                        <a:pt x="0" y="0"/>
                      </a:moveTo>
                      <a:lnTo>
                        <a:pt x="259812" y="0"/>
                      </a:lnTo>
                      <a:lnTo>
                        <a:pt x="259812" y="259812"/>
                      </a:lnTo>
                      <a:lnTo>
                        <a:pt x="0" y="0"/>
                      </a:lnTo>
                      <a:close/>
                    </a:path>
                  </a:pathLst>
                </a:custGeom>
                <a:solidFill>
                  <a:srgbClr val="00BCF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0" name="TextBox 29">
              <a:extLst>
                <a:ext uri="{FF2B5EF4-FFF2-40B4-BE49-F238E27FC236}">
                  <a16:creationId xmlns:a16="http://schemas.microsoft.com/office/drawing/2014/main" id="{1B2D2E06-E8F1-C75C-9878-18A3A425E931}"/>
                </a:ext>
                <a:ext uri="{C183D7F6-B498-43B3-948B-1728B52AA6E4}">
                  <adec:decorative xmlns:adec="http://schemas.microsoft.com/office/drawing/2017/decorative" val="1"/>
                </a:ext>
              </a:extLst>
            </p:cNvPr>
            <p:cNvSpPr txBox="1"/>
            <p:nvPr/>
          </p:nvSpPr>
          <p:spPr>
            <a:xfrm>
              <a:off x="3177969" y="2541141"/>
              <a:ext cx="853119" cy="4001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Us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Application</a:t>
              </a:r>
            </a:p>
          </p:txBody>
        </p:sp>
        <p:sp>
          <p:nvSpPr>
            <p:cNvPr id="31" name="TextBox 30">
              <a:extLst>
                <a:ext uri="{FF2B5EF4-FFF2-40B4-BE49-F238E27FC236}">
                  <a16:creationId xmlns:a16="http://schemas.microsoft.com/office/drawing/2014/main" id="{4C8C0BA8-002E-C8E0-AAC8-56370AC07998}"/>
                </a:ext>
              </a:extLst>
            </p:cNvPr>
            <p:cNvSpPr txBox="1"/>
            <p:nvPr/>
          </p:nvSpPr>
          <p:spPr>
            <a:xfrm>
              <a:off x="3302475" y="1745260"/>
              <a:ext cx="302159"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a:ln>
                    <a:noFill/>
                  </a:ln>
                  <a:solidFill>
                    <a:prstClr val="white"/>
                  </a:solidFill>
                  <a:effectLst/>
                  <a:uLnTx/>
                  <a:uFillTx/>
                </a:rPr>
                <a:t>?</a:t>
              </a:r>
            </a:p>
          </p:txBody>
        </p:sp>
      </p:grpSp>
      <p:grpSp>
        <p:nvGrpSpPr>
          <p:cNvPr id="43" name="Group 42">
            <a:extLst>
              <a:ext uri="{FF2B5EF4-FFF2-40B4-BE49-F238E27FC236}">
                <a16:creationId xmlns:a16="http://schemas.microsoft.com/office/drawing/2014/main" id="{06979642-1CBF-0B94-E62D-C8643F7C5671}"/>
              </a:ext>
              <a:ext uri="{C183D7F6-B498-43B3-948B-1728B52AA6E4}">
                <adec:decorative xmlns:adec="http://schemas.microsoft.com/office/drawing/2017/decorative" val="1"/>
              </a:ext>
            </a:extLst>
          </p:cNvPr>
          <p:cNvGrpSpPr/>
          <p:nvPr/>
        </p:nvGrpSpPr>
        <p:grpSpPr>
          <a:xfrm>
            <a:off x="7095128" y="2900966"/>
            <a:ext cx="1343296" cy="1587513"/>
            <a:chOff x="6757083" y="3648148"/>
            <a:chExt cx="1343296" cy="1587513"/>
          </a:xfrm>
        </p:grpSpPr>
        <p:cxnSp>
          <p:nvCxnSpPr>
            <p:cNvPr id="44" name="Connector: Elbow 43">
              <a:extLst>
                <a:ext uri="{FF2B5EF4-FFF2-40B4-BE49-F238E27FC236}">
                  <a16:creationId xmlns:a16="http://schemas.microsoft.com/office/drawing/2014/main" id="{EB66FEEA-0A18-D809-B1F7-C1F6EDC79DAB}"/>
                </a:ext>
              </a:extLst>
            </p:cNvPr>
            <p:cNvCxnSpPr>
              <a:cxnSpLocks/>
              <a:stCxn id="68" idx="2"/>
              <a:endCxn id="57" idx="1"/>
            </p:cNvCxnSpPr>
            <p:nvPr/>
          </p:nvCxnSpPr>
          <p:spPr>
            <a:xfrm rot="16200000" flipH="1">
              <a:off x="6976654" y="3428577"/>
              <a:ext cx="904154" cy="1343296"/>
            </a:xfrm>
            <a:prstGeom prst="bentConnector2">
              <a:avLst/>
            </a:prstGeom>
            <a:noFill/>
            <a:ln w="12700" cap="flat" cmpd="sng" algn="ctr">
              <a:solidFill>
                <a:srgbClr val="FFFFFF"/>
              </a:solidFill>
              <a:prstDash val="solid"/>
              <a:headEnd type="none"/>
              <a:tailEnd type="triangle"/>
            </a:ln>
            <a:effectLst/>
          </p:spPr>
        </p:cxnSp>
        <p:grpSp>
          <p:nvGrpSpPr>
            <p:cNvPr id="45" name="Group 44">
              <a:extLst>
                <a:ext uri="{FF2B5EF4-FFF2-40B4-BE49-F238E27FC236}">
                  <a16:creationId xmlns:a16="http://schemas.microsoft.com/office/drawing/2014/main" id="{4DD98730-640D-EBA0-A368-D889EC3399B2}"/>
                </a:ext>
              </a:extLst>
            </p:cNvPr>
            <p:cNvGrpSpPr/>
            <p:nvPr/>
          </p:nvGrpSpPr>
          <p:grpSpPr>
            <a:xfrm>
              <a:off x="6911811" y="4511847"/>
              <a:ext cx="1020464" cy="723814"/>
              <a:chOff x="9026845" y="3398614"/>
              <a:chExt cx="1020464" cy="723814"/>
            </a:xfrm>
          </p:grpSpPr>
          <p:sp>
            <p:nvSpPr>
              <p:cNvPr id="46" name="TextBox 45">
                <a:extLst>
                  <a:ext uri="{FF2B5EF4-FFF2-40B4-BE49-F238E27FC236}">
                    <a16:creationId xmlns:a16="http://schemas.microsoft.com/office/drawing/2014/main" id="{5C7A6E84-EBA5-F12B-A61E-A8CFEE8C6B37}"/>
                  </a:ext>
                  <a:ext uri="{C183D7F6-B498-43B3-948B-1728B52AA6E4}">
                    <adec:decorative xmlns:adec="http://schemas.microsoft.com/office/drawing/2017/decorative" val="1"/>
                  </a:ext>
                </a:extLst>
              </p:cNvPr>
              <p:cNvSpPr txBox="1"/>
              <p:nvPr/>
            </p:nvSpPr>
            <p:spPr>
              <a:xfrm>
                <a:off x="9026845" y="3398614"/>
                <a:ext cx="1020464"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N-Relevant Sections</a:t>
                </a:r>
              </a:p>
            </p:txBody>
          </p:sp>
          <p:pic>
            <p:nvPicPr>
              <p:cNvPr id="47" name="Picture 46">
                <a:extLst>
                  <a:ext uri="{FF2B5EF4-FFF2-40B4-BE49-F238E27FC236}">
                    <a16:creationId xmlns:a16="http://schemas.microsoft.com/office/drawing/2014/main" id="{F3390E6D-1C9F-74F0-7EDE-B583A0430CBC}"/>
                  </a:ext>
                </a:extLst>
              </p:cNvPr>
              <p:cNvPicPr>
                <a:picLocks noChangeAspect="1"/>
              </p:cNvPicPr>
              <p:nvPr/>
            </p:nvPicPr>
            <p:blipFill>
              <a:blip r:embed="rId2"/>
              <a:stretch>
                <a:fillRect/>
              </a:stretch>
            </p:blipFill>
            <p:spPr>
              <a:xfrm>
                <a:off x="9144753" y="3831073"/>
                <a:ext cx="234010" cy="283649"/>
              </a:xfrm>
              <a:prstGeom prst="rect">
                <a:avLst/>
              </a:prstGeom>
            </p:spPr>
          </p:pic>
          <p:pic>
            <p:nvPicPr>
              <p:cNvPr id="48" name="Picture 47">
                <a:extLst>
                  <a:ext uri="{FF2B5EF4-FFF2-40B4-BE49-F238E27FC236}">
                    <a16:creationId xmlns:a16="http://schemas.microsoft.com/office/drawing/2014/main" id="{48C682A9-9DDB-39FC-2A26-9F511DE4D620}"/>
                  </a:ext>
                </a:extLst>
              </p:cNvPr>
              <p:cNvPicPr>
                <a:picLocks noChangeAspect="1"/>
              </p:cNvPicPr>
              <p:nvPr/>
            </p:nvPicPr>
            <p:blipFill>
              <a:blip r:embed="rId2"/>
              <a:stretch>
                <a:fillRect/>
              </a:stretch>
            </p:blipFill>
            <p:spPr>
              <a:xfrm>
                <a:off x="9455132" y="3833764"/>
                <a:ext cx="234010" cy="283649"/>
              </a:xfrm>
              <a:prstGeom prst="rect">
                <a:avLst/>
              </a:prstGeom>
            </p:spPr>
          </p:pic>
          <p:pic>
            <p:nvPicPr>
              <p:cNvPr id="49" name="Picture 48">
                <a:extLst>
                  <a:ext uri="{FF2B5EF4-FFF2-40B4-BE49-F238E27FC236}">
                    <a16:creationId xmlns:a16="http://schemas.microsoft.com/office/drawing/2014/main" id="{C94A2789-3A05-E3DC-F7EE-2AC7221AEBE2}"/>
                  </a:ext>
                </a:extLst>
              </p:cNvPr>
              <p:cNvPicPr>
                <a:picLocks noChangeAspect="1"/>
              </p:cNvPicPr>
              <p:nvPr/>
            </p:nvPicPr>
            <p:blipFill>
              <a:blip r:embed="rId2"/>
              <a:stretch>
                <a:fillRect/>
              </a:stretch>
            </p:blipFill>
            <p:spPr>
              <a:xfrm>
                <a:off x="9776829" y="3838779"/>
                <a:ext cx="234010" cy="283649"/>
              </a:xfrm>
              <a:prstGeom prst="rect">
                <a:avLst/>
              </a:prstGeom>
            </p:spPr>
          </p:pic>
        </p:grpSp>
      </p:grpSp>
      <p:grpSp>
        <p:nvGrpSpPr>
          <p:cNvPr id="50" name="Group 49">
            <a:extLst>
              <a:ext uri="{FF2B5EF4-FFF2-40B4-BE49-F238E27FC236}">
                <a16:creationId xmlns:a16="http://schemas.microsoft.com/office/drawing/2014/main" id="{AFB3FCB1-7F44-75AB-3D73-7CC532EAC430}"/>
              </a:ext>
              <a:ext uri="{C183D7F6-B498-43B3-948B-1728B52AA6E4}">
                <adec:decorative xmlns:adec="http://schemas.microsoft.com/office/drawing/2017/decorative" val="1"/>
              </a:ext>
            </a:extLst>
          </p:cNvPr>
          <p:cNvGrpSpPr/>
          <p:nvPr/>
        </p:nvGrpSpPr>
        <p:grpSpPr>
          <a:xfrm>
            <a:off x="10122421" y="2571938"/>
            <a:ext cx="1248405" cy="1794596"/>
            <a:chOff x="9993533" y="3299240"/>
            <a:chExt cx="1248405" cy="1794596"/>
          </a:xfrm>
        </p:grpSpPr>
        <p:sp>
          <p:nvSpPr>
            <p:cNvPr id="51" name="TextBox 50">
              <a:extLst>
                <a:ext uri="{FF2B5EF4-FFF2-40B4-BE49-F238E27FC236}">
                  <a16:creationId xmlns:a16="http://schemas.microsoft.com/office/drawing/2014/main" id="{8718EEBB-1B1A-20A4-DEA7-39CA17585498}"/>
                </a:ext>
                <a:ext uri="{C183D7F6-B498-43B3-948B-1728B52AA6E4}">
                  <adec:decorative xmlns:adec="http://schemas.microsoft.com/office/drawing/2017/decorative" val="1"/>
                </a:ext>
              </a:extLst>
            </p:cNvPr>
            <p:cNvSpPr txBox="1"/>
            <p:nvPr/>
          </p:nvSpPr>
          <p:spPr>
            <a:xfrm>
              <a:off x="10008908" y="4385950"/>
              <a:ext cx="1233030" cy="70788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Respon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ummariz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Q&amp;A,  references, </a:t>
              </a:r>
              <a:b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b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etc.</a:t>
              </a:r>
            </a:p>
          </p:txBody>
        </p:sp>
        <p:cxnSp>
          <p:nvCxnSpPr>
            <p:cNvPr id="52" name="Connector: Elbow 51">
              <a:extLst>
                <a:ext uri="{FF2B5EF4-FFF2-40B4-BE49-F238E27FC236}">
                  <a16:creationId xmlns:a16="http://schemas.microsoft.com/office/drawing/2014/main" id="{3D6B112C-BF46-5468-E441-1B57CF094AFA}"/>
                </a:ext>
              </a:extLst>
            </p:cNvPr>
            <p:cNvCxnSpPr>
              <a:cxnSpLocks/>
            </p:cNvCxnSpPr>
            <p:nvPr/>
          </p:nvCxnSpPr>
          <p:spPr>
            <a:xfrm flipV="1">
              <a:off x="9993533" y="3299240"/>
              <a:ext cx="236812" cy="1229315"/>
            </a:xfrm>
            <a:prstGeom prst="bentConnector2">
              <a:avLst/>
            </a:prstGeom>
            <a:noFill/>
            <a:ln w="12700" cap="flat" cmpd="sng" algn="ctr">
              <a:solidFill>
                <a:srgbClr val="FFFFFF"/>
              </a:solidFill>
              <a:prstDash val="solid"/>
              <a:headEnd type="none"/>
              <a:tailEnd type="triangle"/>
            </a:ln>
            <a:effectLst/>
          </p:spPr>
        </p:cxnSp>
      </p:grpSp>
      <p:grpSp>
        <p:nvGrpSpPr>
          <p:cNvPr id="53" name="Group 52" descr="Graphic">
            <a:extLst>
              <a:ext uri="{FF2B5EF4-FFF2-40B4-BE49-F238E27FC236}">
                <a16:creationId xmlns:a16="http://schemas.microsoft.com/office/drawing/2014/main" id="{59F7C2B1-D80A-55D5-F4B2-08043D6F403C}"/>
              </a:ext>
            </a:extLst>
          </p:cNvPr>
          <p:cNvGrpSpPr/>
          <p:nvPr/>
        </p:nvGrpSpPr>
        <p:grpSpPr>
          <a:xfrm>
            <a:off x="5171205" y="2022085"/>
            <a:ext cx="1338596" cy="852002"/>
            <a:chOff x="4252381" y="2650069"/>
            <a:chExt cx="1338596" cy="852002"/>
          </a:xfrm>
        </p:grpSpPr>
        <p:pic>
          <p:nvPicPr>
            <p:cNvPr id="54" name="Picture 53">
              <a:extLst>
                <a:ext uri="{FF2B5EF4-FFF2-40B4-BE49-F238E27FC236}">
                  <a16:creationId xmlns:a16="http://schemas.microsoft.com/office/drawing/2014/main" id="{FD151EE5-110F-5C9D-2EF2-B5EF05E79366}"/>
                </a:ext>
              </a:extLst>
            </p:cNvPr>
            <p:cNvPicPr>
              <a:picLocks noChangeAspect="1"/>
            </p:cNvPicPr>
            <p:nvPr/>
          </p:nvPicPr>
          <p:blipFill>
            <a:blip r:embed="rId3"/>
            <a:stretch>
              <a:fillRect/>
            </a:stretch>
          </p:blipFill>
          <p:spPr>
            <a:xfrm>
              <a:off x="4659742" y="2650069"/>
              <a:ext cx="523875" cy="395288"/>
            </a:xfrm>
            <a:prstGeom prst="rect">
              <a:avLst/>
            </a:prstGeom>
          </p:spPr>
        </p:pic>
        <p:sp>
          <p:nvSpPr>
            <p:cNvPr id="55" name="Rectangle 54">
              <a:extLst>
                <a:ext uri="{FF2B5EF4-FFF2-40B4-BE49-F238E27FC236}">
                  <a16:creationId xmlns:a16="http://schemas.microsoft.com/office/drawing/2014/main" id="{70319140-F8F1-51CE-B8B1-607F0FB17A46}"/>
                </a:ext>
              </a:extLst>
            </p:cNvPr>
            <p:cNvSpPr/>
            <p:nvPr/>
          </p:nvSpPr>
          <p:spPr bwMode="auto">
            <a:xfrm>
              <a:off x="4252381" y="2937301"/>
              <a:ext cx="1338596" cy="564770"/>
            </a:xfrm>
            <a:prstGeom prst="rect">
              <a:avLst/>
            </a:prstGeom>
            <a:noFill/>
            <a:ln>
              <a:noFill/>
            </a:ln>
          </p:spPr>
          <p:txBody>
            <a:bodyPr wrap="square" lIns="0" tIns="219456" rIns="0" bIns="0" rtlCol="0" anchor="t">
              <a:spAutoFit/>
            </a:bodyPr>
            <a:lstStyle/>
            <a:p>
              <a:pPr algn="ctr" defTabSz="896042" fontAlgn="base">
                <a:lnSpc>
                  <a:spcPct val="90000"/>
                </a:lnSpc>
                <a:spcBef>
                  <a:spcPts val="300"/>
                </a:spcBef>
                <a:defRPr/>
              </a:pPr>
              <a:r>
                <a:rPr lang="en-US" sz="1100" kern="0">
                  <a:solidFill>
                    <a:srgbClr val="FFFFFF"/>
                  </a:solidFill>
                  <a:latin typeface="Segoe UI Semibold"/>
                </a:rPr>
                <a:t>Azure Cognitive</a:t>
              </a:r>
            </a:p>
            <a:p>
              <a:pPr algn="ctr" defTabSz="896042" fontAlgn="base">
                <a:lnSpc>
                  <a:spcPct val="90000"/>
                </a:lnSpc>
                <a:spcBef>
                  <a:spcPts val="300"/>
                </a:spcBef>
                <a:defRPr/>
              </a:pPr>
              <a:r>
                <a:rPr lang="en-US" sz="1100" kern="0">
                  <a:solidFill>
                    <a:srgbClr val="FFFFFF"/>
                  </a:solidFill>
                  <a:latin typeface="Segoe UI Semibold"/>
                </a:rPr>
                <a:t>Search</a:t>
              </a:r>
            </a:p>
          </p:txBody>
        </p:sp>
      </p:grpSp>
      <p:grpSp>
        <p:nvGrpSpPr>
          <p:cNvPr id="56" name="Group 55" descr="Prompt">
            <a:extLst>
              <a:ext uri="{FF2B5EF4-FFF2-40B4-BE49-F238E27FC236}">
                <a16:creationId xmlns:a16="http://schemas.microsoft.com/office/drawing/2014/main" id="{BEB2717C-6B5D-8E98-EC12-06DE704C205C}"/>
              </a:ext>
            </a:extLst>
          </p:cNvPr>
          <p:cNvGrpSpPr/>
          <p:nvPr/>
        </p:nvGrpSpPr>
        <p:grpSpPr>
          <a:xfrm>
            <a:off x="8152450" y="3533291"/>
            <a:ext cx="1020464" cy="751773"/>
            <a:chOff x="7926958" y="3763240"/>
            <a:chExt cx="1020464" cy="751773"/>
          </a:xfrm>
        </p:grpSpPr>
        <p:pic>
          <p:nvPicPr>
            <p:cNvPr id="57" name="Picture 56">
              <a:extLst>
                <a:ext uri="{FF2B5EF4-FFF2-40B4-BE49-F238E27FC236}">
                  <a16:creationId xmlns:a16="http://schemas.microsoft.com/office/drawing/2014/main" id="{094A4B09-08B2-640D-1650-179DAA75BED2}"/>
                </a:ext>
              </a:extLst>
            </p:cNvPr>
            <p:cNvPicPr>
              <a:picLocks noChangeAspect="1"/>
            </p:cNvPicPr>
            <p:nvPr/>
          </p:nvPicPr>
          <p:blipFill>
            <a:blip r:embed="rId4"/>
            <a:stretch>
              <a:fillRect/>
            </a:stretch>
          </p:blipFill>
          <p:spPr>
            <a:xfrm>
              <a:off x="8212932" y="3763240"/>
              <a:ext cx="448517" cy="543657"/>
            </a:xfrm>
            <a:prstGeom prst="rect">
              <a:avLst/>
            </a:prstGeom>
          </p:spPr>
        </p:pic>
        <p:sp>
          <p:nvSpPr>
            <p:cNvPr id="58" name="TextBox 57">
              <a:extLst>
                <a:ext uri="{FF2B5EF4-FFF2-40B4-BE49-F238E27FC236}">
                  <a16:creationId xmlns:a16="http://schemas.microsoft.com/office/drawing/2014/main" id="{58543A20-E90E-E88D-3E99-E7CABC52A31F}"/>
                </a:ext>
                <a:ext uri="{C183D7F6-B498-43B3-948B-1728B52AA6E4}">
                  <adec:decorative xmlns:adec="http://schemas.microsoft.com/office/drawing/2017/decorative" val="1"/>
                </a:ext>
              </a:extLst>
            </p:cNvPr>
            <p:cNvSpPr txBox="1"/>
            <p:nvPr/>
          </p:nvSpPr>
          <p:spPr>
            <a:xfrm>
              <a:off x="7926958" y="4268792"/>
              <a:ext cx="1020464" cy="246221"/>
            </a:xfrm>
            <a:prstGeom prst="rect">
              <a:avLst/>
            </a:prstGeom>
            <a:noFill/>
          </p:spPr>
          <p:txBody>
            <a:bodyPr wrap="square" rtlCol="0">
              <a:spAutoFit/>
            </a:bodyPr>
            <a:lstStyle/>
            <a:p>
              <a:pPr algn="ctr">
                <a:defRPr/>
              </a:pPr>
              <a:r>
                <a:rPr lang="en-CA" sz="1000">
                  <a:solidFill>
                    <a:prstClr val="white"/>
                  </a:solidFill>
                  <a:latin typeface="Segoe UI Semibold" panose="020B0702040204020203" pitchFamily="34" charset="0"/>
                  <a:cs typeface="Segoe UI Semibold" panose="020B0702040204020203" pitchFamily="34" charset="0"/>
                </a:rPr>
                <a:t>Prompt</a:t>
              </a:r>
            </a:p>
          </p:txBody>
        </p:sp>
      </p:grpSp>
      <p:grpSp>
        <p:nvGrpSpPr>
          <p:cNvPr id="59" name="Group 58" descr="Search Query">
            <a:extLst>
              <a:ext uri="{FF2B5EF4-FFF2-40B4-BE49-F238E27FC236}">
                <a16:creationId xmlns:a16="http://schemas.microsoft.com/office/drawing/2014/main" id="{10DE6665-8F06-8151-07F9-E2D567344B31}"/>
              </a:ext>
            </a:extLst>
          </p:cNvPr>
          <p:cNvGrpSpPr/>
          <p:nvPr/>
        </p:nvGrpSpPr>
        <p:grpSpPr>
          <a:xfrm>
            <a:off x="7061114" y="1317378"/>
            <a:ext cx="3006003" cy="919958"/>
            <a:chOff x="6716125" y="2064560"/>
            <a:chExt cx="3478749" cy="919958"/>
          </a:xfrm>
        </p:grpSpPr>
        <p:cxnSp>
          <p:nvCxnSpPr>
            <p:cNvPr id="60" name="Connector: Elbow 59">
              <a:extLst>
                <a:ext uri="{FF2B5EF4-FFF2-40B4-BE49-F238E27FC236}">
                  <a16:creationId xmlns:a16="http://schemas.microsoft.com/office/drawing/2014/main" id="{E7D200A3-50A5-E5B2-70DB-5D8D31DA1FA3}"/>
                </a:ext>
              </a:extLst>
            </p:cNvPr>
            <p:cNvCxnSpPr>
              <a:cxnSpLocks/>
              <a:stCxn id="31" idx="1"/>
              <a:endCxn id="67" idx="0"/>
            </p:cNvCxnSpPr>
            <p:nvPr/>
          </p:nvCxnSpPr>
          <p:spPr>
            <a:xfrm rot="10800000" flipV="1">
              <a:off x="6716125" y="2367812"/>
              <a:ext cx="3478749" cy="616706"/>
            </a:xfrm>
            <a:prstGeom prst="bentConnector2">
              <a:avLst/>
            </a:prstGeom>
            <a:noFill/>
            <a:ln w="12700" cap="flat" cmpd="sng" algn="ctr">
              <a:solidFill>
                <a:srgbClr val="FFFFFF"/>
              </a:solidFill>
              <a:prstDash val="solid"/>
              <a:headEnd type="none"/>
              <a:tailEnd type="triangle"/>
            </a:ln>
            <a:effectLst/>
          </p:spPr>
        </p:cxnSp>
        <p:grpSp>
          <p:nvGrpSpPr>
            <p:cNvPr id="61" name="Group 60">
              <a:extLst>
                <a:ext uri="{FF2B5EF4-FFF2-40B4-BE49-F238E27FC236}">
                  <a16:creationId xmlns:a16="http://schemas.microsoft.com/office/drawing/2014/main" id="{CD9CF7A2-7634-A6C0-F89E-E8738F4C9847}"/>
                </a:ext>
              </a:extLst>
            </p:cNvPr>
            <p:cNvGrpSpPr/>
            <p:nvPr/>
          </p:nvGrpSpPr>
          <p:grpSpPr>
            <a:xfrm>
              <a:off x="6993493" y="2064560"/>
              <a:ext cx="2940289" cy="551241"/>
              <a:chOff x="6950775" y="1510060"/>
              <a:chExt cx="2516258" cy="551241"/>
            </a:xfrm>
          </p:grpSpPr>
          <p:sp>
            <p:nvSpPr>
              <p:cNvPr id="62" name="TextBox 61">
                <a:extLst>
                  <a:ext uri="{FF2B5EF4-FFF2-40B4-BE49-F238E27FC236}">
                    <a16:creationId xmlns:a16="http://schemas.microsoft.com/office/drawing/2014/main" id="{67E91B60-9677-C95E-4345-8B82FCABF47D}"/>
                  </a:ext>
                  <a:ext uri="{C183D7F6-B498-43B3-948B-1728B52AA6E4}">
                    <adec:decorative xmlns:adec="http://schemas.microsoft.com/office/drawing/2017/decorative" val="1"/>
                  </a:ext>
                </a:extLst>
              </p:cNvPr>
              <p:cNvSpPr txBox="1"/>
              <p:nvPr/>
            </p:nvSpPr>
            <p:spPr>
              <a:xfrm>
                <a:off x="6950775" y="1535964"/>
                <a:ext cx="2516258" cy="525337"/>
              </a:xfrm>
              <a:prstGeom prst="rect">
                <a:avLst/>
              </a:prstGeom>
              <a:noFill/>
            </p:spPr>
            <p:txBody>
              <a:bodyPr wrap="square" rtlCol="0">
                <a:spAutoFit/>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Search query / questions </a:t>
                </a:r>
                <a:b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br>
                <a:r>
                  <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incl. filters, facets, scoring profiles, etc.)</a:t>
                </a:r>
              </a:p>
            </p:txBody>
          </p:sp>
          <p:pic>
            <p:nvPicPr>
              <p:cNvPr id="63" name="Picture 62">
                <a:extLst>
                  <a:ext uri="{FF2B5EF4-FFF2-40B4-BE49-F238E27FC236}">
                    <a16:creationId xmlns:a16="http://schemas.microsoft.com/office/drawing/2014/main" id="{364A8A9D-3C4D-D130-BAB6-EC131193E925}"/>
                  </a:ext>
                </a:extLst>
              </p:cNvPr>
              <p:cNvPicPr>
                <a:picLocks noChangeAspect="1"/>
              </p:cNvPicPr>
              <p:nvPr/>
            </p:nvPicPr>
            <p:blipFill>
              <a:blip r:embed="rId4"/>
              <a:stretch>
                <a:fillRect/>
              </a:stretch>
            </p:blipFill>
            <p:spPr>
              <a:xfrm>
                <a:off x="7150602" y="1510060"/>
                <a:ext cx="196521" cy="238207"/>
              </a:xfrm>
              <a:prstGeom prst="rect">
                <a:avLst/>
              </a:prstGeom>
            </p:spPr>
          </p:pic>
        </p:grpSp>
      </p:grpSp>
      <p:grpSp>
        <p:nvGrpSpPr>
          <p:cNvPr id="64" name="Group 63" descr="Search Index">
            <a:extLst>
              <a:ext uri="{FF2B5EF4-FFF2-40B4-BE49-F238E27FC236}">
                <a16:creationId xmlns:a16="http://schemas.microsoft.com/office/drawing/2014/main" id="{5518A2A4-5D98-D33C-4831-8511C9F69B3E}"/>
              </a:ext>
            </a:extLst>
          </p:cNvPr>
          <p:cNvGrpSpPr/>
          <p:nvPr/>
        </p:nvGrpSpPr>
        <p:grpSpPr>
          <a:xfrm>
            <a:off x="6332444" y="2237336"/>
            <a:ext cx="1261357" cy="663630"/>
            <a:chOff x="6046237" y="3045833"/>
            <a:chExt cx="1277005" cy="663630"/>
          </a:xfrm>
        </p:grpSpPr>
        <p:grpSp>
          <p:nvGrpSpPr>
            <p:cNvPr id="65" name="Group 64">
              <a:extLst>
                <a:ext uri="{FF2B5EF4-FFF2-40B4-BE49-F238E27FC236}">
                  <a16:creationId xmlns:a16="http://schemas.microsoft.com/office/drawing/2014/main" id="{0BF2807F-AFB8-111D-A24C-48AD567343A4}"/>
                </a:ext>
              </a:extLst>
            </p:cNvPr>
            <p:cNvGrpSpPr/>
            <p:nvPr/>
          </p:nvGrpSpPr>
          <p:grpSpPr>
            <a:xfrm>
              <a:off x="6313523" y="3045833"/>
              <a:ext cx="1009719" cy="663630"/>
              <a:chOff x="8042069" y="3778793"/>
              <a:chExt cx="1009719" cy="663630"/>
            </a:xfrm>
          </p:grpSpPr>
          <p:pic>
            <p:nvPicPr>
              <p:cNvPr id="67" name="Picture 66">
                <a:extLst>
                  <a:ext uri="{FF2B5EF4-FFF2-40B4-BE49-F238E27FC236}">
                    <a16:creationId xmlns:a16="http://schemas.microsoft.com/office/drawing/2014/main" id="{ADAAD170-0FBE-D6F5-7583-9F534F6A496C}"/>
                  </a:ext>
                </a:extLst>
              </p:cNvPr>
              <p:cNvPicPr>
                <a:picLocks noChangeAspect="1"/>
              </p:cNvPicPr>
              <p:nvPr/>
            </p:nvPicPr>
            <p:blipFill>
              <a:blip r:embed="rId5"/>
              <a:stretch>
                <a:fillRect/>
              </a:stretch>
            </p:blipFill>
            <p:spPr>
              <a:xfrm>
                <a:off x="8279129" y="3778793"/>
                <a:ext cx="466725" cy="466725"/>
              </a:xfrm>
              <a:prstGeom prst="rect">
                <a:avLst/>
              </a:prstGeom>
            </p:spPr>
          </p:pic>
          <p:sp>
            <p:nvSpPr>
              <p:cNvPr id="68" name="Rectangle 67">
                <a:extLst>
                  <a:ext uri="{FF2B5EF4-FFF2-40B4-BE49-F238E27FC236}">
                    <a16:creationId xmlns:a16="http://schemas.microsoft.com/office/drawing/2014/main" id="{2B1787B0-3380-03C1-1062-5EDC1696041C}"/>
                  </a:ext>
                </a:extLst>
              </p:cNvPr>
              <p:cNvSpPr/>
              <p:nvPr/>
            </p:nvSpPr>
            <p:spPr bwMode="auto">
              <a:xfrm>
                <a:off x="8042069" y="4068474"/>
                <a:ext cx="1009719" cy="373949"/>
              </a:xfrm>
              <a:prstGeom prst="rect">
                <a:avLst/>
              </a:prstGeom>
              <a:noFill/>
              <a:ln>
                <a:noFill/>
              </a:ln>
            </p:spPr>
            <p:txBody>
              <a:bodyPr wrap="square" lIns="0" tIns="219456" rIns="0" bIns="0" rtlCol="0" anchor="t">
                <a:spAutoFit/>
              </a:bodyPr>
              <a:lstStyle/>
              <a:p>
                <a:pPr marL="0" marR="0" lvl="0" indent="0" algn="ctr" defTabSz="896042" eaLnBrk="1" fontAlgn="base" latinLnBrk="0" hangingPunct="1">
                  <a:lnSpc>
                    <a:spcPct val="90000"/>
                  </a:lnSpc>
                  <a:spcBef>
                    <a:spcPts val="30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earch Index</a:t>
                </a:r>
              </a:p>
            </p:txBody>
          </p:sp>
        </p:grpSp>
        <p:cxnSp>
          <p:nvCxnSpPr>
            <p:cNvPr id="66" name="Straight Arrow Connector 65">
              <a:extLst>
                <a:ext uri="{FF2B5EF4-FFF2-40B4-BE49-F238E27FC236}">
                  <a16:creationId xmlns:a16="http://schemas.microsoft.com/office/drawing/2014/main" id="{BD5A9DF1-E502-640A-8159-224533425314}"/>
                </a:ext>
              </a:extLst>
            </p:cNvPr>
            <p:cNvCxnSpPr>
              <a:cxnSpLocks/>
              <a:endCxn id="67" idx="1"/>
            </p:cNvCxnSpPr>
            <p:nvPr/>
          </p:nvCxnSpPr>
          <p:spPr>
            <a:xfrm>
              <a:off x="6046237" y="3277564"/>
              <a:ext cx="504346" cy="1632"/>
            </a:xfrm>
            <a:prstGeom prst="straightConnector1">
              <a:avLst/>
            </a:prstGeom>
            <a:noFill/>
            <a:ln w="9525" cap="flat" cmpd="sng" algn="ctr">
              <a:solidFill>
                <a:srgbClr val="FFFFFF"/>
              </a:solidFill>
              <a:prstDash val="solid"/>
              <a:headEnd type="none" w="lg" len="med"/>
              <a:tailEnd type="triangle"/>
            </a:ln>
            <a:effectLst/>
          </p:spPr>
        </p:cxnSp>
      </p:grpSp>
      <p:grpSp>
        <p:nvGrpSpPr>
          <p:cNvPr id="69" name="Group 68" descr="Straight arrow">
            <a:extLst>
              <a:ext uri="{FF2B5EF4-FFF2-40B4-BE49-F238E27FC236}">
                <a16:creationId xmlns:a16="http://schemas.microsoft.com/office/drawing/2014/main" id="{08355E7B-EE23-A2A1-AACA-0153185845BF}"/>
              </a:ext>
              <a:ext uri="{C183D7F6-B498-43B3-948B-1728B52AA6E4}">
                <adec:decorative xmlns:adec="http://schemas.microsoft.com/office/drawing/2017/decorative" val="0"/>
              </a:ext>
            </a:extLst>
          </p:cNvPr>
          <p:cNvGrpSpPr/>
          <p:nvPr/>
        </p:nvGrpSpPr>
        <p:grpSpPr>
          <a:xfrm>
            <a:off x="1955407" y="2095395"/>
            <a:ext cx="1423788" cy="826947"/>
            <a:chOff x="493112" y="2279985"/>
            <a:chExt cx="1423788" cy="826947"/>
          </a:xfrm>
        </p:grpSpPr>
        <p:pic>
          <p:nvPicPr>
            <p:cNvPr id="70" name="Picture 69">
              <a:extLst>
                <a:ext uri="{FF2B5EF4-FFF2-40B4-BE49-F238E27FC236}">
                  <a16:creationId xmlns:a16="http://schemas.microsoft.com/office/drawing/2014/main" id="{FBC8E726-C739-8397-29F8-F58A4FE11479}"/>
                </a:ext>
              </a:extLst>
            </p:cNvPr>
            <p:cNvPicPr>
              <a:picLocks noChangeAspect="1"/>
            </p:cNvPicPr>
            <p:nvPr/>
          </p:nvPicPr>
          <p:blipFill>
            <a:blip r:embed="rId6"/>
            <a:stretch>
              <a:fillRect/>
            </a:stretch>
          </p:blipFill>
          <p:spPr>
            <a:xfrm>
              <a:off x="934767" y="2279985"/>
              <a:ext cx="489280" cy="439353"/>
            </a:xfrm>
            <a:prstGeom prst="rect">
              <a:avLst/>
            </a:prstGeom>
          </p:spPr>
        </p:pic>
        <p:sp>
          <p:nvSpPr>
            <p:cNvPr id="71" name="TextBox 70">
              <a:extLst>
                <a:ext uri="{FF2B5EF4-FFF2-40B4-BE49-F238E27FC236}">
                  <a16:creationId xmlns:a16="http://schemas.microsoft.com/office/drawing/2014/main" id="{C310FD94-7D6F-8FAC-254E-B03F572AC49D}"/>
                </a:ext>
                <a:ext uri="{C183D7F6-B498-43B3-948B-1728B52AA6E4}">
                  <adec:decorative xmlns:adec="http://schemas.microsoft.com/office/drawing/2017/decorative" val="1"/>
                </a:ext>
              </a:extLst>
            </p:cNvPr>
            <p:cNvSpPr txBox="1"/>
            <p:nvPr/>
          </p:nvSpPr>
          <p:spPr>
            <a:xfrm>
              <a:off x="493112" y="2706822"/>
              <a:ext cx="1423788" cy="400110"/>
            </a:xfrm>
            <a:prstGeom prst="rect">
              <a:avLst/>
            </a:prstGeom>
            <a:noFill/>
          </p:spPr>
          <p:txBody>
            <a:bodyPr wrap="none" rtlCol="0">
              <a:spAutoFit/>
            </a:bodyPr>
            <a:lstStyle/>
            <a:p>
              <a:pPr algn="ctr">
                <a:defRPr/>
              </a:pPr>
              <a:r>
                <a:rPr lang="en-US" sz="1000">
                  <a:solidFill>
                    <a:prstClr val="white"/>
                  </a:solidFill>
                  <a:latin typeface="Segoe UI Semibold" panose="020B0702040204020203" pitchFamily="34" charset="0"/>
                  <a:cs typeface="Segoe UI Semibold" panose="020B0702040204020203" pitchFamily="34" charset="0"/>
                </a:rPr>
                <a:t>Document Chunking </a:t>
              </a:r>
            </a:p>
            <a:p>
              <a:pPr algn="ctr">
                <a:defRPr/>
              </a:pPr>
              <a:r>
                <a:rPr lang="en-US" sz="1000">
                  <a:solidFill>
                    <a:prstClr val="white"/>
                  </a:solidFill>
                  <a:latin typeface="Segoe UI Semibold" panose="020B0702040204020203" pitchFamily="34" charset="0"/>
                  <a:cs typeface="Segoe UI Semibold" panose="020B0702040204020203" pitchFamily="34" charset="0"/>
                </a:rPr>
                <a:t>Function</a:t>
              </a:r>
              <a:endParaRPr lang="en-CA" sz="1000">
                <a:solidFill>
                  <a:prstClr val="white"/>
                </a:solidFill>
                <a:latin typeface="Segoe UI Semibold" panose="020B0702040204020203" pitchFamily="34" charset="0"/>
                <a:cs typeface="Segoe UI Semibold" panose="020B0702040204020203" pitchFamily="34" charset="0"/>
              </a:endParaRPr>
            </a:p>
          </p:txBody>
        </p:sp>
      </p:grpSp>
      <p:grpSp>
        <p:nvGrpSpPr>
          <p:cNvPr id="72" name="Group 71" descr="Graphic">
            <a:extLst>
              <a:ext uri="{FF2B5EF4-FFF2-40B4-BE49-F238E27FC236}">
                <a16:creationId xmlns:a16="http://schemas.microsoft.com/office/drawing/2014/main" id="{70DE7FA9-C66F-E6CD-74DA-C64A0DDA0A14}"/>
              </a:ext>
            </a:extLst>
          </p:cNvPr>
          <p:cNvGrpSpPr/>
          <p:nvPr/>
        </p:nvGrpSpPr>
        <p:grpSpPr>
          <a:xfrm>
            <a:off x="523935" y="2830245"/>
            <a:ext cx="1545616" cy="896664"/>
            <a:chOff x="2491077" y="3336355"/>
            <a:chExt cx="1545616" cy="896664"/>
          </a:xfrm>
        </p:grpSpPr>
        <p:pic>
          <p:nvPicPr>
            <p:cNvPr id="73" name="Picture 72">
              <a:extLst>
                <a:ext uri="{FF2B5EF4-FFF2-40B4-BE49-F238E27FC236}">
                  <a16:creationId xmlns:a16="http://schemas.microsoft.com/office/drawing/2014/main" id="{07A73D3F-AE08-2E50-48CD-437F0FD9A2E7}"/>
                </a:ext>
              </a:extLst>
            </p:cNvPr>
            <p:cNvPicPr>
              <a:picLocks noChangeAspect="1"/>
            </p:cNvPicPr>
            <p:nvPr/>
          </p:nvPicPr>
          <p:blipFill>
            <a:blip r:embed="rId7"/>
            <a:stretch>
              <a:fillRect/>
            </a:stretch>
          </p:blipFill>
          <p:spPr>
            <a:xfrm>
              <a:off x="2771533" y="3336355"/>
              <a:ext cx="1040612" cy="612360"/>
            </a:xfrm>
            <a:prstGeom prst="rect">
              <a:avLst/>
            </a:prstGeom>
          </p:spPr>
        </p:pic>
        <p:sp>
          <p:nvSpPr>
            <p:cNvPr id="74" name="TextBox 73">
              <a:extLst>
                <a:ext uri="{FF2B5EF4-FFF2-40B4-BE49-F238E27FC236}">
                  <a16:creationId xmlns:a16="http://schemas.microsoft.com/office/drawing/2014/main" id="{F8908666-D71B-5BA6-7BD8-B3EA75F35888}"/>
                </a:ext>
                <a:ext uri="{C183D7F6-B498-43B3-948B-1728B52AA6E4}">
                  <adec:decorative xmlns:adec="http://schemas.microsoft.com/office/drawing/2017/decorative" val="1"/>
                </a:ext>
              </a:extLst>
            </p:cNvPr>
            <p:cNvSpPr txBox="1"/>
            <p:nvPr/>
          </p:nvSpPr>
          <p:spPr>
            <a:xfrm>
              <a:off x="2491077" y="3832909"/>
              <a:ext cx="1545616" cy="400110"/>
            </a:xfrm>
            <a:prstGeom prst="rect">
              <a:avLst/>
            </a:prstGeom>
            <a:noFill/>
          </p:spPr>
          <p:txBody>
            <a:bodyPr wrap="none" rtlCol="0">
              <a:spAutoFit/>
            </a:bodyPr>
            <a:lstStyle/>
            <a:p>
              <a:pPr algn="ctr">
                <a:defRPr/>
              </a:pPr>
              <a:r>
                <a:rPr lang="en-US" sz="1000">
                  <a:solidFill>
                    <a:prstClr val="white"/>
                  </a:solidFill>
                  <a:latin typeface="Segoe UI Semibold" panose="020B0702040204020203" pitchFamily="34" charset="0"/>
                  <a:cs typeface="Segoe UI Semibold" panose="020B0702040204020203" pitchFamily="34" charset="0"/>
                </a:rPr>
                <a:t>Azure Form Recognizer</a:t>
              </a:r>
            </a:p>
            <a:p>
              <a:pPr algn="ctr">
                <a:defRPr/>
              </a:pPr>
              <a:r>
                <a:rPr lang="en-US" sz="1000">
                  <a:solidFill>
                    <a:prstClr val="white"/>
                  </a:solidFill>
                  <a:latin typeface="Segoe UI Semibold" panose="020B0702040204020203" pitchFamily="34" charset="0"/>
                  <a:cs typeface="Segoe UI Semibold" panose="020B0702040204020203" pitchFamily="34" charset="0"/>
                </a:rPr>
                <a:t>Layout Model</a:t>
              </a:r>
              <a:endParaRPr lang="en-CA" sz="1000">
                <a:solidFill>
                  <a:prstClr val="white"/>
                </a:solidFill>
                <a:latin typeface="Segoe UI Semibold" panose="020B0702040204020203" pitchFamily="34" charset="0"/>
                <a:cs typeface="Segoe UI Semibold" panose="020B0702040204020203" pitchFamily="34" charset="0"/>
              </a:endParaRPr>
            </a:p>
          </p:txBody>
        </p:sp>
      </p:grpSp>
      <p:grpSp>
        <p:nvGrpSpPr>
          <p:cNvPr id="75" name="Group 74" descr="Document Library">
            <a:extLst>
              <a:ext uri="{FF2B5EF4-FFF2-40B4-BE49-F238E27FC236}">
                <a16:creationId xmlns:a16="http://schemas.microsoft.com/office/drawing/2014/main" id="{BAEB13CC-F05E-552A-4900-455CE25D96BB}"/>
              </a:ext>
            </a:extLst>
          </p:cNvPr>
          <p:cNvGrpSpPr/>
          <p:nvPr/>
        </p:nvGrpSpPr>
        <p:grpSpPr>
          <a:xfrm>
            <a:off x="718815" y="3688633"/>
            <a:ext cx="1231427" cy="1306281"/>
            <a:chOff x="718170" y="4188652"/>
            <a:chExt cx="1231427" cy="1306281"/>
          </a:xfrm>
        </p:grpSpPr>
        <p:grpSp>
          <p:nvGrpSpPr>
            <p:cNvPr id="76" name="Group 75">
              <a:extLst>
                <a:ext uri="{FF2B5EF4-FFF2-40B4-BE49-F238E27FC236}">
                  <a16:creationId xmlns:a16="http://schemas.microsoft.com/office/drawing/2014/main" id="{ABC7A433-44C0-19D1-7D04-AF2B0801A9F4}"/>
                </a:ext>
              </a:extLst>
            </p:cNvPr>
            <p:cNvGrpSpPr/>
            <p:nvPr/>
          </p:nvGrpSpPr>
          <p:grpSpPr>
            <a:xfrm>
              <a:off x="718170" y="4635101"/>
              <a:ext cx="1231427" cy="859832"/>
              <a:chOff x="580379" y="4536973"/>
              <a:chExt cx="1231427" cy="859832"/>
            </a:xfrm>
          </p:grpSpPr>
          <p:sp>
            <p:nvSpPr>
              <p:cNvPr id="78" name="TextBox 77">
                <a:extLst>
                  <a:ext uri="{FF2B5EF4-FFF2-40B4-BE49-F238E27FC236}">
                    <a16:creationId xmlns:a16="http://schemas.microsoft.com/office/drawing/2014/main" id="{7DF8BFB1-F9F0-DA98-F93C-84E929568122}"/>
                  </a:ext>
                  <a:ext uri="{C183D7F6-B498-43B3-948B-1728B52AA6E4}">
                    <adec:decorative xmlns:adec="http://schemas.microsoft.com/office/drawing/2017/decorative" val="1"/>
                  </a:ext>
                </a:extLst>
              </p:cNvPr>
              <p:cNvSpPr txBox="1"/>
              <p:nvPr/>
            </p:nvSpPr>
            <p:spPr>
              <a:xfrm>
                <a:off x="580379" y="5150584"/>
                <a:ext cx="1231427"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Document Library</a:t>
                </a: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pic>
            <p:nvPicPr>
              <p:cNvPr id="79" name="Picture 78">
                <a:extLst>
                  <a:ext uri="{FF2B5EF4-FFF2-40B4-BE49-F238E27FC236}">
                    <a16:creationId xmlns:a16="http://schemas.microsoft.com/office/drawing/2014/main" id="{DDABBF60-E583-151B-D503-51119B6FA222}"/>
                  </a:ext>
                </a:extLst>
              </p:cNvPr>
              <p:cNvPicPr>
                <a:picLocks noChangeAspect="1"/>
              </p:cNvPicPr>
              <p:nvPr/>
            </p:nvPicPr>
            <p:blipFill>
              <a:blip r:embed="rId8"/>
              <a:stretch>
                <a:fillRect/>
              </a:stretch>
            </p:blipFill>
            <p:spPr>
              <a:xfrm>
                <a:off x="918395" y="4536973"/>
                <a:ext cx="499485" cy="543657"/>
              </a:xfrm>
              <a:prstGeom prst="rect">
                <a:avLst/>
              </a:prstGeom>
            </p:spPr>
          </p:pic>
        </p:grpSp>
        <p:cxnSp>
          <p:nvCxnSpPr>
            <p:cNvPr id="77" name="Straight Arrow Connector 76">
              <a:extLst>
                <a:ext uri="{FF2B5EF4-FFF2-40B4-BE49-F238E27FC236}">
                  <a16:creationId xmlns:a16="http://schemas.microsoft.com/office/drawing/2014/main" id="{2A64C744-E2AF-651D-9A98-1EF201BF8E42}"/>
                </a:ext>
              </a:extLst>
            </p:cNvPr>
            <p:cNvCxnSpPr>
              <a:cxnSpLocks/>
              <a:stCxn id="79" idx="0"/>
            </p:cNvCxnSpPr>
            <p:nvPr/>
          </p:nvCxnSpPr>
          <p:spPr>
            <a:xfrm flipH="1" flipV="1">
              <a:off x="1295992" y="4188652"/>
              <a:ext cx="9937" cy="446449"/>
            </a:xfrm>
            <a:prstGeom prst="straightConnector1">
              <a:avLst/>
            </a:prstGeom>
            <a:noFill/>
            <a:ln w="9525" cap="flat" cmpd="sng" algn="ctr">
              <a:solidFill>
                <a:srgbClr val="FFFFFF"/>
              </a:solidFill>
              <a:prstDash val="solid"/>
              <a:headEnd type="none" w="lg" len="med"/>
              <a:tailEnd type="triangle"/>
            </a:ln>
            <a:effectLst/>
          </p:spPr>
        </p:cxnSp>
      </p:grpSp>
      <p:sp>
        <p:nvSpPr>
          <p:cNvPr id="80" name="TextBox 79">
            <a:extLst>
              <a:ext uri="{FF2B5EF4-FFF2-40B4-BE49-F238E27FC236}">
                <a16:creationId xmlns:a16="http://schemas.microsoft.com/office/drawing/2014/main" id="{EBAE19E6-E130-1C22-1756-16D50896B45B}"/>
              </a:ext>
            </a:extLst>
          </p:cNvPr>
          <p:cNvSpPr txBox="1"/>
          <p:nvPr/>
        </p:nvSpPr>
        <p:spPr>
          <a:xfrm>
            <a:off x="9410762" y="3522950"/>
            <a:ext cx="713292" cy="553998"/>
          </a:xfrm>
          <a:prstGeom prst="rect">
            <a:avLst/>
          </a:prstGeom>
          <a:noFill/>
        </p:spPr>
        <p:txBody>
          <a:bodyPr wrap="square">
            <a:spAutoFit/>
          </a:bodyPr>
          <a:lstStyle/>
          <a:p>
            <a:pPr algn="ctr">
              <a:defRPr/>
            </a:pPr>
            <a:r>
              <a:rPr lang="en-US" sz="1000">
                <a:solidFill>
                  <a:prstClr val="white"/>
                </a:solidFill>
                <a:latin typeface="Segoe UI Semibold" panose="020B0702040204020203" pitchFamily="34" charset="0"/>
                <a:cs typeface="Segoe UI Semibold" panose="020B0702040204020203" pitchFamily="34" charset="0"/>
              </a:rPr>
              <a:t>Azure OpenAI </a:t>
            </a:r>
          </a:p>
          <a:p>
            <a:pPr algn="ctr">
              <a:defRPr/>
            </a:pPr>
            <a:r>
              <a:rPr lang="en-US" sz="1000">
                <a:solidFill>
                  <a:prstClr val="white"/>
                </a:solidFill>
                <a:latin typeface="Segoe UI Semibold" panose="020B0702040204020203" pitchFamily="34" charset="0"/>
                <a:cs typeface="Segoe UI Semibold" panose="020B0702040204020203" pitchFamily="34" charset="0"/>
              </a:rPr>
              <a:t>Service</a:t>
            </a:r>
          </a:p>
        </p:txBody>
      </p:sp>
      <p:cxnSp>
        <p:nvCxnSpPr>
          <p:cNvPr id="81" name="Straight Arrow Connector 80">
            <a:extLst>
              <a:ext uri="{FF2B5EF4-FFF2-40B4-BE49-F238E27FC236}">
                <a16:creationId xmlns:a16="http://schemas.microsoft.com/office/drawing/2014/main" id="{A65CF5F5-3525-4831-DBBF-9BFDB0344E9F}"/>
              </a:ext>
              <a:ext uri="{C183D7F6-B498-43B3-948B-1728B52AA6E4}">
                <adec:decorative xmlns:adec="http://schemas.microsoft.com/office/drawing/2017/decorative" val="1"/>
              </a:ext>
            </a:extLst>
          </p:cNvPr>
          <p:cNvCxnSpPr>
            <a:cxnSpLocks/>
            <a:stCxn id="57" idx="3"/>
          </p:cNvCxnSpPr>
          <p:nvPr/>
        </p:nvCxnSpPr>
        <p:spPr>
          <a:xfrm>
            <a:off x="8886941" y="3805120"/>
            <a:ext cx="573267" cy="0"/>
          </a:xfrm>
          <a:prstGeom prst="straightConnector1">
            <a:avLst/>
          </a:prstGeom>
          <a:noFill/>
          <a:ln w="9525" cap="flat" cmpd="sng" algn="ctr">
            <a:solidFill>
              <a:srgbClr val="FFFFFF"/>
            </a:solidFill>
            <a:prstDash val="solid"/>
            <a:headEnd type="none" w="lg" len="med"/>
            <a:tailEnd type="triangle"/>
          </a:ln>
          <a:effectLst/>
        </p:spPr>
      </p:cxnSp>
      <p:sp>
        <p:nvSpPr>
          <p:cNvPr id="82" name="Rectangle: Rounded Corners 5">
            <a:extLst>
              <a:ext uri="{FF2B5EF4-FFF2-40B4-BE49-F238E27FC236}">
                <a16:creationId xmlns:a16="http://schemas.microsoft.com/office/drawing/2014/main" id="{65421C78-F60D-85FD-F2A4-6C0E8A0DB3C3}"/>
              </a:ext>
            </a:extLst>
          </p:cNvPr>
          <p:cNvSpPr/>
          <p:nvPr/>
        </p:nvSpPr>
        <p:spPr bwMode="auto">
          <a:xfrm>
            <a:off x="411783" y="2502793"/>
            <a:ext cx="457200" cy="457200"/>
          </a:xfrm>
          <a:prstGeom prst="roundRect">
            <a:avLst>
              <a:gd name="adj" fmla="val 50000"/>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1</a:t>
            </a:r>
          </a:p>
        </p:txBody>
      </p:sp>
      <p:grpSp>
        <p:nvGrpSpPr>
          <p:cNvPr id="83" name="Group 82">
            <a:extLst>
              <a:ext uri="{FF2B5EF4-FFF2-40B4-BE49-F238E27FC236}">
                <a16:creationId xmlns:a16="http://schemas.microsoft.com/office/drawing/2014/main" id="{37AD2DFA-8397-BA2C-CCA8-A5E4E6F35549}"/>
              </a:ext>
              <a:ext uri="{C183D7F6-B498-43B3-948B-1728B52AA6E4}">
                <adec:decorative xmlns:adec="http://schemas.microsoft.com/office/drawing/2017/decorative" val="1"/>
              </a:ext>
            </a:extLst>
          </p:cNvPr>
          <p:cNvGrpSpPr/>
          <p:nvPr/>
        </p:nvGrpSpPr>
        <p:grpSpPr>
          <a:xfrm>
            <a:off x="350283" y="5229704"/>
            <a:ext cx="2102989" cy="1212288"/>
            <a:chOff x="3392848" y="5246178"/>
            <a:chExt cx="2102989" cy="1212288"/>
          </a:xfrm>
        </p:grpSpPr>
        <p:grpSp>
          <p:nvGrpSpPr>
            <p:cNvPr id="84" name="Group 83">
              <a:extLst>
                <a:ext uri="{FF2B5EF4-FFF2-40B4-BE49-F238E27FC236}">
                  <a16:creationId xmlns:a16="http://schemas.microsoft.com/office/drawing/2014/main" id="{6016EDB2-22A4-125F-8416-8E72AD2D921C}"/>
                </a:ext>
              </a:extLst>
            </p:cNvPr>
            <p:cNvGrpSpPr/>
            <p:nvPr/>
          </p:nvGrpSpPr>
          <p:grpSpPr>
            <a:xfrm>
              <a:off x="3392848" y="5246178"/>
              <a:ext cx="2102989" cy="1212288"/>
              <a:chOff x="3545165" y="5097701"/>
              <a:chExt cx="2102989" cy="1212288"/>
            </a:xfrm>
          </p:grpSpPr>
          <p:sp>
            <p:nvSpPr>
              <p:cNvPr id="86" name="Rounded Rectangle 4">
                <a:extLst>
                  <a:ext uri="{FF2B5EF4-FFF2-40B4-BE49-F238E27FC236}">
                    <a16:creationId xmlns:a16="http://schemas.microsoft.com/office/drawing/2014/main" id="{CFEECBC7-9E6F-1036-CA63-DC1FD8FF744A}"/>
                  </a:ext>
                </a:extLst>
              </p:cNvPr>
              <p:cNvSpPr/>
              <p:nvPr/>
            </p:nvSpPr>
            <p:spPr bwMode="auto">
              <a:xfrm>
                <a:off x="3545165" y="5097701"/>
                <a:ext cx="2102989" cy="1212288"/>
              </a:xfrm>
              <a:prstGeom prst="roundRect">
                <a:avLst>
                  <a:gd name="adj" fmla="val 5231"/>
                </a:avLst>
              </a:prstGeom>
              <a:solidFill>
                <a:srgbClr val="000000">
                  <a:lumMod val="85000"/>
                  <a:lumOff val="15000"/>
                </a:srgbClr>
              </a:solidFill>
              <a:ln w="9525"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87" name="Rounded Rectangle 5">
                <a:extLst>
                  <a:ext uri="{FF2B5EF4-FFF2-40B4-BE49-F238E27FC236}">
                    <a16:creationId xmlns:a16="http://schemas.microsoft.com/office/drawing/2014/main" id="{6A01D4EF-1DDE-C280-E102-418367C9C1F5}"/>
                  </a:ext>
                </a:extLst>
              </p:cNvPr>
              <p:cNvSpPr/>
              <p:nvPr/>
            </p:nvSpPr>
            <p:spPr bwMode="auto">
              <a:xfrm>
                <a:off x="3726403" y="5257397"/>
                <a:ext cx="1745677" cy="341368"/>
              </a:xfrm>
              <a:prstGeom prst="roundRect">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1. Data Ingestion</a:t>
                </a:r>
              </a:p>
            </p:txBody>
          </p:sp>
        </p:grpSp>
        <p:sp>
          <p:nvSpPr>
            <p:cNvPr id="85" name="Text Placeholder 142">
              <a:extLst>
                <a:ext uri="{FF2B5EF4-FFF2-40B4-BE49-F238E27FC236}">
                  <a16:creationId xmlns:a16="http://schemas.microsoft.com/office/drawing/2014/main" id="{B7F27972-20D6-D81D-1A12-DC91E6546E4B}"/>
                </a:ext>
              </a:extLst>
            </p:cNvPr>
            <p:cNvSpPr txBox="1">
              <a:spLocks/>
            </p:cNvSpPr>
            <p:nvPr/>
          </p:nvSpPr>
          <p:spPr>
            <a:xfrm>
              <a:off x="3644810" y="5902110"/>
              <a:ext cx="1747249" cy="461665"/>
            </a:xfrm>
            <a:prstGeom prst="rect">
              <a:avLst/>
            </a:prstGeom>
          </p:spPr>
          <p:txBody>
            <a:bodyPr vert="horz" wrap="square" lIns="0" tIns="0" rIns="146304" bIns="9144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000" b="1" kern="1200" spc="0" baseline="0" dirty="0" smtClean="0">
                  <a:solidFill>
                    <a:srgbClr val="000000"/>
                  </a:solidFill>
                  <a:latin typeface="+mn-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Different data formats and system of records</a:t>
              </a:r>
            </a:p>
          </p:txBody>
        </p:sp>
      </p:grpSp>
      <p:grpSp>
        <p:nvGrpSpPr>
          <p:cNvPr id="88" name="Group 87" descr="Graphic">
            <a:extLst>
              <a:ext uri="{FF2B5EF4-FFF2-40B4-BE49-F238E27FC236}">
                <a16:creationId xmlns:a16="http://schemas.microsoft.com/office/drawing/2014/main" id="{934CDCBA-E2F7-32BC-2275-8205F0A770C0}"/>
              </a:ext>
              <a:ext uri="{C183D7F6-B498-43B3-948B-1728B52AA6E4}">
                <adec:decorative xmlns:adec="http://schemas.microsoft.com/office/drawing/2017/decorative" val="0"/>
              </a:ext>
            </a:extLst>
          </p:cNvPr>
          <p:cNvGrpSpPr/>
          <p:nvPr/>
        </p:nvGrpSpPr>
        <p:grpSpPr>
          <a:xfrm>
            <a:off x="4930563" y="5279492"/>
            <a:ext cx="2102989" cy="1212288"/>
            <a:chOff x="9772382" y="5057432"/>
            <a:chExt cx="2102989" cy="1212288"/>
          </a:xfrm>
        </p:grpSpPr>
        <p:grpSp>
          <p:nvGrpSpPr>
            <p:cNvPr id="89" name="Group 88">
              <a:extLst>
                <a:ext uri="{FF2B5EF4-FFF2-40B4-BE49-F238E27FC236}">
                  <a16:creationId xmlns:a16="http://schemas.microsoft.com/office/drawing/2014/main" id="{02440F34-2A7E-45A1-E511-A4EF89FB189B}"/>
                </a:ext>
              </a:extLst>
            </p:cNvPr>
            <p:cNvGrpSpPr/>
            <p:nvPr/>
          </p:nvGrpSpPr>
          <p:grpSpPr>
            <a:xfrm>
              <a:off x="9772382" y="5057432"/>
              <a:ext cx="2102989" cy="1212288"/>
              <a:chOff x="3545165" y="5097701"/>
              <a:chExt cx="2102989" cy="1212288"/>
            </a:xfrm>
          </p:grpSpPr>
          <p:sp>
            <p:nvSpPr>
              <p:cNvPr id="91" name="Rounded Rectangle 4">
                <a:extLst>
                  <a:ext uri="{FF2B5EF4-FFF2-40B4-BE49-F238E27FC236}">
                    <a16:creationId xmlns:a16="http://schemas.microsoft.com/office/drawing/2014/main" id="{73120236-A44D-EA4D-7137-609892DAD399}"/>
                  </a:ext>
                </a:extLst>
              </p:cNvPr>
              <p:cNvSpPr/>
              <p:nvPr/>
            </p:nvSpPr>
            <p:spPr bwMode="auto">
              <a:xfrm>
                <a:off x="3545165" y="5097701"/>
                <a:ext cx="2102989" cy="1212288"/>
              </a:xfrm>
              <a:prstGeom prst="roundRect">
                <a:avLst>
                  <a:gd name="adj" fmla="val 5231"/>
                </a:avLst>
              </a:prstGeom>
              <a:solidFill>
                <a:srgbClr val="000000">
                  <a:lumMod val="85000"/>
                  <a:lumOff val="15000"/>
                </a:srgbClr>
              </a:solidFill>
              <a:ln w="9525"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92" name="Rounded Rectangle 5">
                <a:extLst>
                  <a:ext uri="{FF2B5EF4-FFF2-40B4-BE49-F238E27FC236}">
                    <a16:creationId xmlns:a16="http://schemas.microsoft.com/office/drawing/2014/main" id="{8D5A344D-095D-DFF8-1DCC-07264A97CB09}"/>
                  </a:ext>
                </a:extLst>
              </p:cNvPr>
              <p:cNvSpPr/>
              <p:nvPr/>
            </p:nvSpPr>
            <p:spPr bwMode="auto">
              <a:xfrm>
                <a:off x="3743961" y="5186532"/>
                <a:ext cx="1745677" cy="341368"/>
              </a:xfrm>
              <a:prstGeom prst="roundRect">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3. Indexing</a:t>
                </a:r>
              </a:p>
            </p:txBody>
          </p:sp>
        </p:grpSp>
        <p:sp>
          <p:nvSpPr>
            <p:cNvPr id="90" name="Text Placeholder 142">
              <a:extLst>
                <a:ext uri="{FF2B5EF4-FFF2-40B4-BE49-F238E27FC236}">
                  <a16:creationId xmlns:a16="http://schemas.microsoft.com/office/drawing/2014/main" id="{DBE2E885-1A57-ECA1-5B97-8DAF58E8C5ED}"/>
                </a:ext>
              </a:extLst>
            </p:cNvPr>
            <p:cNvSpPr txBox="1">
              <a:spLocks/>
            </p:cNvSpPr>
            <p:nvPr/>
          </p:nvSpPr>
          <p:spPr>
            <a:xfrm>
              <a:off x="10006425" y="5553966"/>
              <a:ext cx="1843808" cy="646331"/>
            </a:xfrm>
            <a:prstGeom prst="rect">
              <a:avLst/>
            </a:prstGeom>
          </p:spPr>
          <p:txBody>
            <a:bodyPr vert="horz" wrap="square" lIns="0" tIns="0" rIns="146304" bIns="9144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000" b="1" kern="1200" spc="0" baseline="0" dirty="0" smtClean="0">
                  <a:solidFill>
                    <a:srgbClr val="000000"/>
                  </a:solidFill>
                  <a:latin typeface="+mn-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Shall I use Vectors, Semantic or traditional approach?</a:t>
              </a:r>
            </a:p>
          </p:txBody>
        </p:sp>
      </p:grpSp>
      <p:sp>
        <p:nvSpPr>
          <p:cNvPr id="93" name="Rectangle: Rounded Corners 5">
            <a:extLst>
              <a:ext uri="{FF2B5EF4-FFF2-40B4-BE49-F238E27FC236}">
                <a16:creationId xmlns:a16="http://schemas.microsoft.com/office/drawing/2014/main" id="{849B50A3-6CBC-9F95-58D2-CD5723FB074D}"/>
              </a:ext>
            </a:extLst>
          </p:cNvPr>
          <p:cNvSpPr/>
          <p:nvPr/>
        </p:nvSpPr>
        <p:spPr bwMode="auto">
          <a:xfrm>
            <a:off x="2749035" y="1144374"/>
            <a:ext cx="457200" cy="457200"/>
          </a:xfrm>
          <a:prstGeom prst="roundRect">
            <a:avLst>
              <a:gd name="adj" fmla="val 50000"/>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2</a:t>
            </a:r>
          </a:p>
        </p:txBody>
      </p:sp>
      <p:sp>
        <p:nvSpPr>
          <p:cNvPr id="94" name="Rectangle: Rounded Corners 5">
            <a:extLst>
              <a:ext uri="{FF2B5EF4-FFF2-40B4-BE49-F238E27FC236}">
                <a16:creationId xmlns:a16="http://schemas.microsoft.com/office/drawing/2014/main" id="{E5E6EEE8-BC61-89F4-244E-D642DDF3BF28}"/>
              </a:ext>
            </a:extLst>
          </p:cNvPr>
          <p:cNvSpPr/>
          <p:nvPr/>
        </p:nvSpPr>
        <p:spPr bwMode="auto">
          <a:xfrm>
            <a:off x="5057908" y="3353042"/>
            <a:ext cx="457200" cy="457200"/>
          </a:xfrm>
          <a:prstGeom prst="roundRect">
            <a:avLst>
              <a:gd name="adj" fmla="val 50000"/>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3</a:t>
            </a:r>
          </a:p>
        </p:txBody>
      </p:sp>
      <p:sp>
        <p:nvSpPr>
          <p:cNvPr id="95" name="Rectangle: Rounded Corners 5">
            <a:extLst>
              <a:ext uri="{FF2B5EF4-FFF2-40B4-BE49-F238E27FC236}">
                <a16:creationId xmlns:a16="http://schemas.microsoft.com/office/drawing/2014/main" id="{7247EC3F-0843-ED78-8D08-2A055393F318}"/>
              </a:ext>
            </a:extLst>
          </p:cNvPr>
          <p:cNvSpPr/>
          <p:nvPr/>
        </p:nvSpPr>
        <p:spPr bwMode="auto">
          <a:xfrm>
            <a:off x="8944314" y="4198152"/>
            <a:ext cx="457200" cy="457200"/>
          </a:xfrm>
          <a:prstGeom prst="roundRect">
            <a:avLst>
              <a:gd name="adj" fmla="val 50000"/>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4</a:t>
            </a:r>
          </a:p>
        </p:txBody>
      </p:sp>
      <p:sp>
        <p:nvSpPr>
          <p:cNvPr id="96" name="Rectangle: Rounded Corners 5">
            <a:extLst>
              <a:ext uri="{FF2B5EF4-FFF2-40B4-BE49-F238E27FC236}">
                <a16:creationId xmlns:a16="http://schemas.microsoft.com/office/drawing/2014/main" id="{DB019873-854E-5D59-B0DA-702377491C29}"/>
              </a:ext>
            </a:extLst>
          </p:cNvPr>
          <p:cNvSpPr/>
          <p:nvPr/>
        </p:nvSpPr>
        <p:spPr bwMode="auto">
          <a:xfrm>
            <a:off x="10769239" y="1238229"/>
            <a:ext cx="457200" cy="457200"/>
          </a:xfrm>
          <a:prstGeom prst="roundRect">
            <a:avLst>
              <a:gd name="adj" fmla="val 50000"/>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5</a:t>
            </a:r>
          </a:p>
        </p:txBody>
      </p:sp>
      <p:grpSp>
        <p:nvGrpSpPr>
          <p:cNvPr id="97" name="Group 96">
            <a:extLst>
              <a:ext uri="{FF2B5EF4-FFF2-40B4-BE49-F238E27FC236}">
                <a16:creationId xmlns:a16="http://schemas.microsoft.com/office/drawing/2014/main" id="{03ADDE24-F9F3-6800-14BA-5D3ED85114D2}"/>
              </a:ext>
              <a:ext uri="{C183D7F6-B498-43B3-948B-1728B52AA6E4}">
                <adec:decorative xmlns:adec="http://schemas.microsoft.com/office/drawing/2017/decorative" val="1"/>
              </a:ext>
            </a:extLst>
          </p:cNvPr>
          <p:cNvGrpSpPr/>
          <p:nvPr/>
        </p:nvGrpSpPr>
        <p:grpSpPr>
          <a:xfrm>
            <a:off x="2652068" y="5253272"/>
            <a:ext cx="2096190" cy="1188720"/>
            <a:chOff x="810850" y="5218614"/>
            <a:chExt cx="2096190" cy="1188720"/>
          </a:xfrm>
        </p:grpSpPr>
        <p:sp>
          <p:nvSpPr>
            <p:cNvPr id="98" name="Rounded Rectangle 9">
              <a:extLst>
                <a:ext uri="{FF2B5EF4-FFF2-40B4-BE49-F238E27FC236}">
                  <a16:creationId xmlns:a16="http://schemas.microsoft.com/office/drawing/2014/main" id="{121A98A6-4B48-857E-0020-8B3E7E516466}"/>
                </a:ext>
              </a:extLst>
            </p:cNvPr>
            <p:cNvSpPr/>
            <p:nvPr/>
          </p:nvSpPr>
          <p:spPr bwMode="auto">
            <a:xfrm>
              <a:off x="810850" y="5218614"/>
              <a:ext cx="2096190" cy="1188720"/>
            </a:xfrm>
            <a:prstGeom prst="roundRect">
              <a:avLst>
                <a:gd name="adj" fmla="val 2653"/>
              </a:avLst>
            </a:prstGeom>
            <a:solidFill>
              <a:srgbClr val="000000">
                <a:lumMod val="85000"/>
                <a:lumOff val="15000"/>
              </a:srgbClr>
            </a:solidFill>
            <a:ln w="9525"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99" name="Text Placeholder 142">
              <a:extLst>
                <a:ext uri="{FF2B5EF4-FFF2-40B4-BE49-F238E27FC236}">
                  <a16:creationId xmlns:a16="http://schemas.microsoft.com/office/drawing/2014/main" id="{F985D4A6-4CB5-0B1E-E7A4-675AFFC41535}"/>
                </a:ext>
              </a:extLst>
            </p:cNvPr>
            <p:cNvSpPr txBox="1">
              <a:spLocks/>
            </p:cNvSpPr>
            <p:nvPr/>
          </p:nvSpPr>
          <p:spPr>
            <a:xfrm>
              <a:off x="1030668" y="5767438"/>
              <a:ext cx="1815085" cy="461665"/>
            </a:xfrm>
            <a:prstGeom prst="rect">
              <a:avLst/>
            </a:prstGeom>
          </p:spPr>
          <p:txBody>
            <a:bodyPr vert="horz" wrap="square" lIns="0" tIns="0" rIns="146304" bIns="9144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000" b="1" kern="1200" spc="0" baseline="0" dirty="0" smtClean="0">
                  <a:solidFill>
                    <a:srgbClr val="000000"/>
                  </a:solidFill>
                  <a:latin typeface="+mn-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What is the best chunking strategy suits?</a:t>
              </a:r>
            </a:p>
          </p:txBody>
        </p:sp>
        <p:sp>
          <p:nvSpPr>
            <p:cNvPr id="100" name="Rounded Rectangle 5">
              <a:extLst>
                <a:ext uri="{FF2B5EF4-FFF2-40B4-BE49-F238E27FC236}">
                  <a16:creationId xmlns:a16="http://schemas.microsoft.com/office/drawing/2014/main" id="{C44B8586-7719-7298-8CC2-0586DDCE6C56}"/>
                </a:ext>
              </a:extLst>
            </p:cNvPr>
            <p:cNvSpPr/>
            <p:nvPr/>
          </p:nvSpPr>
          <p:spPr bwMode="auto">
            <a:xfrm>
              <a:off x="938997" y="5319997"/>
              <a:ext cx="1745677" cy="341368"/>
            </a:xfrm>
            <a:prstGeom prst="roundRect">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2. Chunking</a:t>
              </a:r>
            </a:p>
          </p:txBody>
        </p:sp>
      </p:grpSp>
      <p:grpSp>
        <p:nvGrpSpPr>
          <p:cNvPr id="101" name="Group 100" descr="Graphic">
            <a:extLst>
              <a:ext uri="{FF2B5EF4-FFF2-40B4-BE49-F238E27FC236}">
                <a16:creationId xmlns:a16="http://schemas.microsoft.com/office/drawing/2014/main" id="{07D6233B-E4B1-B258-3760-EDD73DD919FC}"/>
              </a:ext>
              <a:ext uri="{C183D7F6-B498-43B3-948B-1728B52AA6E4}">
                <adec:decorative xmlns:adec="http://schemas.microsoft.com/office/drawing/2017/decorative" val="0"/>
              </a:ext>
            </a:extLst>
          </p:cNvPr>
          <p:cNvGrpSpPr/>
          <p:nvPr/>
        </p:nvGrpSpPr>
        <p:grpSpPr>
          <a:xfrm>
            <a:off x="7232348" y="5279492"/>
            <a:ext cx="2102989" cy="1212288"/>
            <a:chOff x="8563474" y="5221846"/>
            <a:chExt cx="2102989" cy="1212288"/>
          </a:xfrm>
        </p:grpSpPr>
        <p:grpSp>
          <p:nvGrpSpPr>
            <p:cNvPr id="102" name="Group 101">
              <a:extLst>
                <a:ext uri="{FF2B5EF4-FFF2-40B4-BE49-F238E27FC236}">
                  <a16:creationId xmlns:a16="http://schemas.microsoft.com/office/drawing/2014/main" id="{75C5C14B-CA34-0F07-6339-4EFCFC85F56B}"/>
                </a:ext>
              </a:extLst>
            </p:cNvPr>
            <p:cNvGrpSpPr/>
            <p:nvPr/>
          </p:nvGrpSpPr>
          <p:grpSpPr>
            <a:xfrm>
              <a:off x="8563474" y="5221846"/>
              <a:ext cx="2102989" cy="1212288"/>
              <a:chOff x="9772382" y="5057432"/>
              <a:chExt cx="2102989" cy="1212288"/>
            </a:xfrm>
          </p:grpSpPr>
          <p:sp>
            <p:nvSpPr>
              <p:cNvPr id="104" name="Rounded Rectangle 4">
                <a:extLst>
                  <a:ext uri="{FF2B5EF4-FFF2-40B4-BE49-F238E27FC236}">
                    <a16:creationId xmlns:a16="http://schemas.microsoft.com/office/drawing/2014/main" id="{4DBE4DA3-40D0-8A86-D3BF-B8648D6B82C0}"/>
                  </a:ext>
                </a:extLst>
              </p:cNvPr>
              <p:cNvSpPr/>
              <p:nvPr/>
            </p:nvSpPr>
            <p:spPr bwMode="auto">
              <a:xfrm>
                <a:off x="9772382" y="5057432"/>
                <a:ext cx="2102989" cy="1212288"/>
              </a:xfrm>
              <a:prstGeom prst="roundRect">
                <a:avLst>
                  <a:gd name="adj" fmla="val 5231"/>
                </a:avLst>
              </a:prstGeom>
              <a:solidFill>
                <a:srgbClr val="000000">
                  <a:lumMod val="85000"/>
                  <a:lumOff val="15000"/>
                </a:srgbClr>
              </a:solidFill>
              <a:ln w="9525"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05" name="Text Placeholder 142">
                <a:extLst>
                  <a:ext uri="{FF2B5EF4-FFF2-40B4-BE49-F238E27FC236}">
                    <a16:creationId xmlns:a16="http://schemas.microsoft.com/office/drawing/2014/main" id="{F9C03B53-DCB4-50A5-3C52-E164F3B14DB8}"/>
                  </a:ext>
                </a:extLst>
              </p:cNvPr>
              <p:cNvSpPr txBox="1">
                <a:spLocks/>
              </p:cNvSpPr>
              <p:nvPr/>
            </p:nvSpPr>
            <p:spPr>
              <a:xfrm>
                <a:off x="9976565" y="5553966"/>
                <a:ext cx="1843808" cy="461665"/>
              </a:xfrm>
              <a:prstGeom prst="rect">
                <a:avLst/>
              </a:prstGeom>
            </p:spPr>
            <p:txBody>
              <a:bodyPr vert="horz" wrap="square" lIns="0" tIns="0" rIns="146304" bIns="9144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000" b="1" kern="1200" spc="0" baseline="0" dirty="0" smtClean="0">
                    <a:solidFill>
                      <a:srgbClr val="000000"/>
                    </a:solidFill>
                    <a:latin typeface="+mn-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Tools, techniques and strategies of prompting </a:t>
                </a:r>
              </a:p>
            </p:txBody>
          </p:sp>
        </p:grpSp>
        <p:sp>
          <p:nvSpPr>
            <p:cNvPr id="103" name="Rounded Rectangle 5">
              <a:extLst>
                <a:ext uri="{FF2B5EF4-FFF2-40B4-BE49-F238E27FC236}">
                  <a16:creationId xmlns:a16="http://schemas.microsoft.com/office/drawing/2014/main" id="{CE4FC376-F52E-A637-E574-2DAEA0E40683}"/>
                </a:ext>
              </a:extLst>
            </p:cNvPr>
            <p:cNvSpPr/>
            <p:nvPr/>
          </p:nvSpPr>
          <p:spPr bwMode="auto">
            <a:xfrm>
              <a:off x="8742129" y="5297009"/>
              <a:ext cx="1745677" cy="341368"/>
            </a:xfrm>
            <a:prstGeom prst="roundRect">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4. Prompting</a:t>
              </a:r>
            </a:p>
          </p:txBody>
        </p:sp>
      </p:grpSp>
      <p:grpSp>
        <p:nvGrpSpPr>
          <p:cNvPr id="106" name="Group 105">
            <a:extLst>
              <a:ext uri="{FF2B5EF4-FFF2-40B4-BE49-F238E27FC236}">
                <a16:creationId xmlns:a16="http://schemas.microsoft.com/office/drawing/2014/main" id="{3DC02D92-0F41-D584-A141-B32A3DD41D47}"/>
              </a:ext>
              <a:ext uri="{C183D7F6-B498-43B3-948B-1728B52AA6E4}">
                <adec:decorative xmlns:adec="http://schemas.microsoft.com/office/drawing/2017/decorative" val="1"/>
              </a:ext>
            </a:extLst>
          </p:cNvPr>
          <p:cNvGrpSpPr/>
          <p:nvPr/>
        </p:nvGrpSpPr>
        <p:grpSpPr>
          <a:xfrm>
            <a:off x="9516988" y="5253272"/>
            <a:ext cx="2102989" cy="1212288"/>
            <a:chOff x="8563474" y="5221846"/>
            <a:chExt cx="2102989" cy="1212288"/>
          </a:xfrm>
        </p:grpSpPr>
        <p:grpSp>
          <p:nvGrpSpPr>
            <p:cNvPr id="107" name="Group 106">
              <a:extLst>
                <a:ext uri="{FF2B5EF4-FFF2-40B4-BE49-F238E27FC236}">
                  <a16:creationId xmlns:a16="http://schemas.microsoft.com/office/drawing/2014/main" id="{F68E7B26-6216-9107-50BF-272731167A7F}"/>
                </a:ext>
              </a:extLst>
            </p:cNvPr>
            <p:cNvGrpSpPr/>
            <p:nvPr/>
          </p:nvGrpSpPr>
          <p:grpSpPr>
            <a:xfrm>
              <a:off x="8563474" y="5221846"/>
              <a:ext cx="2102989" cy="1212288"/>
              <a:chOff x="9772382" y="5057432"/>
              <a:chExt cx="2102989" cy="1212288"/>
            </a:xfrm>
          </p:grpSpPr>
          <p:sp>
            <p:nvSpPr>
              <p:cNvPr id="109" name="Rounded Rectangle 4">
                <a:extLst>
                  <a:ext uri="{FF2B5EF4-FFF2-40B4-BE49-F238E27FC236}">
                    <a16:creationId xmlns:a16="http://schemas.microsoft.com/office/drawing/2014/main" id="{CCAD911F-C6CD-2244-7B3D-6AE98792C455}"/>
                  </a:ext>
                </a:extLst>
              </p:cNvPr>
              <p:cNvSpPr/>
              <p:nvPr/>
            </p:nvSpPr>
            <p:spPr bwMode="auto">
              <a:xfrm>
                <a:off x="9772382" y="5057432"/>
                <a:ext cx="2102989" cy="1212288"/>
              </a:xfrm>
              <a:prstGeom prst="roundRect">
                <a:avLst>
                  <a:gd name="adj" fmla="val 5231"/>
                </a:avLst>
              </a:prstGeom>
              <a:solidFill>
                <a:srgbClr val="000000">
                  <a:lumMod val="85000"/>
                  <a:lumOff val="15000"/>
                </a:srgbClr>
              </a:solidFill>
              <a:ln w="9525"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sp>
            <p:nvSpPr>
              <p:cNvPr id="110" name="Text Placeholder 142">
                <a:extLst>
                  <a:ext uri="{FF2B5EF4-FFF2-40B4-BE49-F238E27FC236}">
                    <a16:creationId xmlns:a16="http://schemas.microsoft.com/office/drawing/2014/main" id="{EFBA6A36-117F-DE71-9163-867902583411}"/>
                  </a:ext>
                </a:extLst>
              </p:cNvPr>
              <p:cNvSpPr txBox="1">
                <a:spLocks/>
              </p:cNvSpPr>
              <p:nvPr/>
            </p:nvSpPr>
            <p:spPr>
              <a:xfrm>
                <a:off x="9976565" y="5553966"/>
                <a:ext cx="1843808" cy="276999"/>
              </a:xfrm>
              <a:prstGeom prst="rect">
                <a:avLst/>
              </a:prstGeom>
            </p:spPr>
            <p:txBody>
              <a:bodyPr vert="horz" wrap="square" lIns="0" tIns="0" rIns="146304" bIns="9144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1000" b="1" kern="1200" spc="0" baseline="0" dirty="0" smtClean="0">
                    <a:solidFill>
                      <a:srgbClr val="000000"/>
                    </a:solidFill>
                    <a:latin typeface="+mn-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ow to surface data?</a:t>
                </a:r>
              </a:p>
            </p:txBody>
          </p:sp>
        </p:grpSp>
        <p:sp>
          <p:nvSpPr>
            <p:cNvPr id="108" name="Rounded Rectangle 5">
              <a:extLst>
                <a:ext uri="{FF2B5EF4-FFF2-40B4-BE49-F238E27FC236}">
                  <a16:creationId xmlns:a16="http://schemas.microsoft.com/office/drawing/2014/main" id="{176797B8-66D4-96D9-C864-5E7B0880368F}"/>
                </a:ext>
              </a:extLst>
            </p:cNvPr>
            <p:cNvSpPr/>
            <p:nvPr/>
          </p:nvSpPr>
          <p:spPr bwMode="auto">
            <a:xfrm>
              <a:off x="8742129" y="5297009"/>
              <a:ext cx="1745677" cy="341368"/>
            </a:xfrm>
            <a:prstGeom prst="roundRect">
              <a:avLst/>
            </a:prstGeom>
            <a:gradFill flip="none" rotWithShape="1">
              <a:gsLst>
                <a:gs pos="40000">
                  <a:srgbClr val="8DC8E8"/>
                </a:gs>
                <a:gs pos="10000">
                  <a:srgbClr val="D59ED7"/>
                </a:gs>
              </a:gsLst>
              <a:path path="circle">
                <a:fillToRect l="100000" t="100000"/>
              </a:path>
              <a:tileRect r="-100000" b="-100000"/>
            </a:gradFill>
            <a:ln w="9525" cap="flat" cmpd="sng" algn="ctr">
              <a:noFill/>
              <a:prstDash val="solid"/>
              <a:headEnd type="none" w="med" len="med"/>
              <a:tailEnd type="none" w="med" len="med"/>
            </a:ln>
            <a:effectLst/>
          </p:spPr>
          <p:txBody>
            <a:bodyPr rot="0" spcFirstLastPara="0" vertOverflow="overflow" horzOverflow="overflow" vert="horz" wrap="square" lIns="0" tIns="17633" rIns="0" bIns="44087" numCol="1" spcCol="0" rtlCol="0" fromWordArt="0" anchor="ctr" anchorCtr="0" forceAA="0" compatLnSpc="1">
              <a:prstTxWarp prst="textNoShape">
                <a:avLst/>
              </a:prstTxWarp>
              <a:spAutoFit/>
            </a:bodyPr>
            <a:lstStyle/>
            <a:p>
              <a:pPr marL="0" marR="0" lvl="0" indent="0" algn="ctr" defTabSz="932021"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4321">
                        <a:srgbClr val="000000"/>
                      </a:gs>
                      <a:gs pos="21000">
                        <a:srgbClr val="000000"/>
                      </a:gs>
                    </a:gsLst>
                    <a:path path="circle">
                      <a:fillToRect l="100000" t="100000"/>
                    </a:path>
                  </a:gradFill>
                  <a:effectLst/>
                  <a:uLnTx/>
                  <a:uFillTx/>
                  <a:latin typeface="Segoe UI Variable Display Semibold" pitchFamily="2" charset="0"/>
                  <a:ea typeface="+mn-ea"/>
                  <a:cs typeface="Segoe UI" pitchFamily="34" charset="0"/>
                </a:rPr>
                <a:t>5. User Interface</a:t>
              </a:r>
            </a:p>
          </p:txBody>
        </p:sp>
      </p:grpSp>
      <p:sp>
        <p:nvSpPr>
          <p:cNvPr id="111" name="Left Brace 110">
            <a:extLst>
              <a:ext uri="{FF2B5EF4-FFF2-40B4-BE49-F238E27FC236}">
                <a16:creationId xmlns:a16="http://schemas.microsoft.com/office/drawing/2014/main" id="{29B1E08E-3BDA-4186-BC04-8D786F43971D}"/>
              </a:ext>
              <a:ext uri="{C183D7F6-B498-43B3-948B-1728B52AA6E4}">
                <adec:decorative xmlns:adec="http://schemas.microsoft.com/office/drawing/2017/decorative" val="1"/>
              </a:ext>
            </a:extLst>
          </p:cNvPr>
          <p:cNvSpPr/>
          <p:nvPr/>
        </p:nvSpPr>
        <p:spPr>
          <a:xfrm rot="10800000">
            <a:off x="5057908" y="1668343"/>
            <a:ext cx="257797" cy="1634997"/>
          </a:xfrm>
          <a:prstGeom prst="leftBrace">
            <a:avLst/>
          </a:prstGeom>
          <a:noFill/>
          <a:ln w="9525" cap="flat" cmpd="sng" algn="ctr">
            <a:solidFill>
              <a:srgbClr val="FFFFFF"/>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nvGrpSpPr>
          <p:cNvPr id="112" name="Group 111" descr="Document Library">
            <a:extLst>
              <a:ext uri="{FF2B5EF4-FFF2-40B4-BE49-F238E27FC236}">
                <a16:creationId xmlns:a16="http://schemas.microsoft.com/office/drawing/2014/main" id="{AA0ED0A2-D863-9A4E-515C-719E6F5DD25C}"/>
              </a:ext>
            </a:extLst>
          </p:cNvPr>
          <p:cNvGrpSpPr/>
          <p:nvPr/>
        </p:nvGrpSpPr>
        <p:grpSpPr>
          <a:xfrm>
            <a:off x="706574" y="1269012"/>
            <a:ext cx="1241247" cy="1210861"/>
            <a:chOff x="801527" y="4635101"/>
            <a:chExt cx="1241247" cy="1210861"/>
          </a:xfrm>
        </p:grpSpPr>
        <p:grpSp>
          <p:nvGrpSpPr>
            <p:cNvPr id="113" name="Group 112">
              <a:extLst>
                <a:ext uri="{FF2B5EF4-FFF2-40B4-BE49-F238E27FC236}">
                  <a16:creationId xmlns:a16="http://schemas.microsoft.com/office/drawing/2014/main" id="{34ECA82A-57C0-4DA8-9F26-062358FE4437}"/>
                </a:ext>
              </a:extLst>
            </p:cNvPr>
            <p:cNvGrpSpPr/>
            <p:nvPr/>
          </p:nvGrpSpPr>
          <p:grpSpPr>
            <a:xfrm>
              <a:off x="801527" y="4635101"/>
              <a:ext cx="1064714" cy="859832"/>
              <a:chOff x="663736" y="4536973"/>
              <a:chExt cx="1064714" cy="859832"/>
            </a:xfrm>
          </p:grpSpPr>
          <p:sp>
            <p:nvSpPr>
              <p:cNvPr id="115" name="TextBox 114">
                <a:extLst>
                  <a:ext uri="{FF2B5EF4-FFF2-40B4-BE49-F238E27FC236}">
                    <a16:creationId xmlns:a16="http://schemas.microsoft.com/office/drawing/2014/main" id="{2815E059-6135-F0DA-89E2-E9E176FFBA44}"/>
                  </a:ext>
                  <a:ext uri="{C183D7F6-B498-43B3-948B-1728B52AA6E4}">
                    <adec:decorative xmlns:adec="http://schemas.microsoft.com/office/drawing/2017/decorative" val="1"/>
                  </a:ext>
                </a:extLst>
              </p:cNvPr>
              <p:cNvSpPr txBox="1"/>
              <p:nvPr/>
            </p:nvSpPr>
            <p:spPr>
              <a:xfrm>
                <a:off x="663736" y="5150584"/>
                <a:ext cx="1064714"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Expert Systems</a:t>
                </a:r>
                <a:endParaRPr kumimoji="0" lang="en-CA" sz="1000" b="0" i="0" u="none" strike="noStrike" kern="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endParaRPr>
              </a:p>
            </p:txBody>
          </p:sp>
          <p:pic>
            <p:nvPicPr>
              <p:cNvPr id="116" name="Picture 115">
                <a:extLst>
                  <a:ext uri="{FF2B5EF4-FFF2-40B4-BE49-F238E27FC236}">
                    <a16:creationId xmlns:a16="http://schemas.microsoft.com/office/drawing/2014/main" id="{CEF69A72-F7BB-DB41-E95F-2D0B875C2D1A}"/>
                  </a:ext>
                </a:extLst>
              </p:cNvPr>
              <p:cNvPicPr>
                <a:picLocks noChangeAspect="1"/>
              </p:cNvPicPr>
              <p:nvPr/>
            </p:nvPicPr>
            <p:blipFill>
              <a:blip r:embed="rId8"/>
              <a:stretch>
                <a:fillRect/>
              </a:stretch>
            </p:blipFill>
            <p:spPr>
              <a:xfrm>
                <a:off x="918395" y="4536973"/>
                <a:ext cx="499485" cy="543657"/>
              </a:xfrm>
              <a:prstGeom prst="rect">
                <a:avLst/>
              </a:prstGeom>
            </p:spPr>
          </p:pic>
        </p:grpSp>
        <p:cxnSp>
          <p:nvCxnSpPr>
            <p:cNvPr id="114" name="Straight Arrow Connector 113">
              <a:extLst>
                <a:ext uri="{FF2B5EF4-FFF2-40B4-BE49-F238E27FC236}">
                  <a16:creationId xmlns:a16="http://schemas.microsoft.com/office/drawing/2014/main" id="{854B07A2-CE27-E3F7-3BF7-AC7CDA42F04B}"/>
                </a:ext>
              </a:extLst>
            </p:cNvPr>
            <p:cNvCxnSpPr>
              <a:cxnSpLocks/>
            </p:cNvCxnSpPr>
            <p:nvPr/>
          </p:nvCxnSpPr>
          <p:spPr>
            <a:xfrm>
              <a:off x="1697434" y="5559389"/>
              <a:ext cx="345340" cy="286573"/>
            </a:xfrm>
            <a:prstGeom prst="straightConnector1">
              <a:avLst/>
            </a:prstGeom>
            <a:noFill/>
            <a:ln w="9525" cap="flat" cmpd="sng" algn="ctr">
              <a:solidFill>
                <a:srgbClr val="FFFFFF"/>
              </a:solidFill>
              <a:prstDash val="solid"/>
              <a:headEnd type="none" w="lg" len="med"/>
              <a:tailEnd type="triangle"/>
            </a:ln>
            <a:effectLst/>
          </p:spPr>
        </p:cxnSp>
      </p:grpSp>
      <p:cxnSp>
        <p:nvCxnSpPr>
          <p:cNvPr id="117" name="Straight Arrow Connector 116" descr="Graphic">
            <a:extLst>
              <a:ext uri="{FF2B5EF4-FFF2-40B4-BE49-F238E27FC236}">
                <a16:creationId xmlns:a16="http://schemas.microsoft.com/office/drawing/2014/main" id="{601F0C9C-5C8A-5335-5F18-1E123A203D3A}"/>
              </a:ext>
              <a:ext uri="{C183D7F6-B498-43B3-948B-1728B52AA6E4}">
                <adec:decorative xmlns:adec="http://schemas.microsoft.com/office/drawing/2017/decorative" val="0"/>
              </a:ext>
            </a:extLst>
          </p:cNvPr>
          <p:cNvCxnSpPr>
            <a:cxnSpLocks/>
          </p:cNvCxnSpPr>
          <p:nvPr/>
        </p:nvCxnSpPr>
        <p:spPr>
          <a:xfrm flipV="1">
            <a:off x="1686434" y="2768673"/>
            <a:ext cx="255218" cy="327176"/>
          </a:xfrm>
          <a:prstGeom prst="straightConnector1">
            <a:avLst/>
          </a:prstGeom>
          <a:noFill/>
          <a:ln w="9525" cap="flat" cmpd="sng" algn="ctr">
            <a:solidFill>
              <a:srgbClr val="FFFFFF"/>
            </a:solidFill>
            <a:prstDash val="solid"/>
            <a:headEnd type="none" w="lg" len="med"/>
            <a:tailEnd type="triangle"/>
          </a:ln>
          <a:effectLst/>
        </p:spPr>
      </p:cxnSp>
    </p:spTree>
    <p:extLst>
      <p:ext uri="{BB962C8B-B14F-4D97-AF65-F5344CB8AC3E}">
        <p14:creationId xmlns:p14="http://schemas.microsoft.com/office/powerpoint/2010/main" val="204827843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1CA2E-C2E7-7821-0849-E2C018A1E4AB}"/>
              </a:ext>
            </a:extLst>
          </p:cNvPr>
          <p:cNvSpPr>
            <a:spLocks noGrp="1"/>
          </p:cNvSpPr>
          <p:nvPr>
            <p:ph type="title"/>
          </p:nvPr>
        </p:nvSpPr>
        <p:spPr>
          <a:xfrm>
            <a:off x="588263" y="457200"/>
            <a:ext cx="11018520" cy="800219"/>
          </a:xfrm>
        </p:spPr>
        <p:txBody>
          <a:bodyPr/>
          <a:lstStyle/>
          <a:p>
            <a:r>
              <a:rPr lang="en-US" sz="3200">
                <a:solidFill>
                  <a:srgbClr val="FFFFFF"/>
                </a:solidFill>
                <a:latin typeface="Segoe UI Semibold"/>
                <a:cs typeface="Segoe UI"/>
              </a:rPr>
              <a:t>Enhancing RAG with Advanced Retrieval Features</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Investing in cutting-edge retrieval technology for improved results</a:t>
            </a:r>
            <a:endParaRPr lang="en-US"/>
          </a:p>
        </p:txBody>
      </p:sp>
      <p:sp>
        <p:nvSpPr>
          <p:cNvPr id="10" name="TextBox 9">
            <a:extLst>
              <a:ext uri="{FF2B5EF4-FFF2-40B4-BE49-F238E27FC236}">
                <a16:creationId xmlns:a16="http://schemas.microsoft.com/office/drawing/2014/main" id="{6E482095-7489-3F0C-8503-FD9640DA3421}"/>
              </a:ext>
            </a:extLst>
          </p:cNvPr>
          <p:cNvSpPr txBox="1"/>
          <p:nvPr/>
        </p:nvSpPr>
        <p:spPr>
          <a:xfrm>
            <a:off x="709979" y="1879356"/>
            <a:ext cx="247650" cy="406265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noFill/>
                </a:ln>
                <a:solidFill>
                  <a:srgbClr val="FFFFFF"/>
                </a:solidFill>
                <a:effectLst/>
                <a:uLnTx/>
                <a:uFillTx/>
                <a:latin typeface="Segoe UI"/>
                <a:ea typeface="+mn-ea"/>
                <a:cs typeface="+mn-cs"/>
              </a:rPr>
              <a:t>R</a:t>
            </a:r>
            <a:r>
              <a:rPr kumimoji="0" lang="en-US" sz="8800" b="0" i="0" u="none" strike="noStrike" kern="1200" cap="none" spc="0" normalizeH="0" baseline="0" noProof="0">
                <a:ln>
                  <a:noFill/>
                </a:ln>
                <a:solidFill>
                  <a:srgbClr val="FFFFFF"/>
                </a:solidFill>
                <a:effectLst/>
                <a:uLnTx/>
                <a:uFillTx/>
                <a:latin typeface="Segoe UI"/>
                <a:ea typeface="+mn-ea"/>
                <a:cs typeface="+mn-cs"/>
              </a:rPr>
              <a:t>AG</a:t>
            </a:r>
          </a:p>
        </p:txBody>
      </p:sp>
      <p:cxnSp>
        <p:nvCxnSpPr>
          <p:cNvPr id="13" name="Straight Arrow Connector 12">
            <a:extLst>
              <a:ext uri="{FF2B5EF4-FFF2-40B4-BE49-F238E27FC236}">
                <a16:creationId xmlns:a16="http://schemas.microsoft.com/office/drawing/2014/main" id="{7584D274-ED60-FC6D-AA12-295B67A93557}"/>
              </a:ext>
              <a:ext uri="{C183D7F6-B498-43B3-948B-1728B52AA6E4}">
                <adec:decorative xmlns:adec="http://schemas.microsoft.com/office/drawing/2017/decorative" val="1"/>
              </a:ext>
            </a:extLst>
          </p:cNvPr>
          <p:cNvCxnSpPr>
            <a:cxnSpLocks/>
          </p:cNvCxnSpPr>
          <p:nvPr/>
        </p:nvCxnSpPr>
        <p:spPr>
          <a:xfrm flipH="1">
            <a:off x="1872761" y="2497015"/>
            <a:ext cx="8616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6DFFA88-5F0B-0F7B-FB40-7A8F2DE9CCFB}"/>
              </a:ext>
            </a:extLst>
          </p:cNvPr>
          <p:cNvSpPr txBox="1"/>
          <p:nvPr/>
        </p:nvSpPr>
        <p:spPr>
          <a:xfrm>
            <a:off x="2892669" y="2189238"/>
            <a:ext cx="2760785"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 quality of the </a:t>
            </a:r>
            <a:r>
              <a:rPr kumimoji="0" lang="en-US" sz="2000" b="1" i="0" u="none" strike="noStrike" kern="1200" cap="none" spc="0" normalizeH="0" baseline="0" noProof="0">
                <a:ln>
                  <a:noFill/>
                </a:ln>
                <a:solidFill>
                  <a:srgbClr val="FFFFFF"/>
                </a:solidFill>
                <a:effectLst/>
                <a:uLnTx/>
                <a:uFillTx/>
                <a:latin typeface="Segoe UI"/>
                <a:ea typeface="+mn-ea"/>
                <a:cs typeface="+mn-cs"/>
              </a:rPr>
              <a:t>retriever</a:t>
            </a:r>
            <a:r>
              <a:rPr kumimoji="0" lang="en-US" sz="2000" b="0" i="0" u="none" strike="noStrike" kern="1200" cap="none" spc="0" normalizeH="0" baseline="0" noProof="0">
                <a:ln>
                  <a:noFill/>
                </a:ln>
                <a:solidFill>
                  <a:srgbClr val="FFFFFF"/>
                </a:solidFill>
                <a:effectLst/>
                <a:uLnTx/>
                <a:uFillTx/>
                <a:latin typeface="Segoe UI"/>
                <a:ea typeface="+mn-ea"/>
                <a:cs typeface="+mn-cs"/>
              </a:rPr>
              <a:t> is critical! </a:t>
            </a:r>
          </a:p>
        </p:txBody>
      </p:sp>
      <p:sp>
        <p:nvSpPr>
          <p:cNvPr id="18" name="TextBox 17">
            <a:extLst>
              <a:ext uri="{FF2B5EF4-FFF2-40B4-BE49-F238E27FC236}">
                <a16:creationId xmlns:a16="http://schemas.microsoft.com/office/drawing/2014/main" id="{B0980FB8-8538-9DE9-B94D-50EC4B779DDD}"/>
              </a:ext>
            </a:extLst>
          </p:cNvPr>
          <p:cNvSpPr txBox="1"/>
          <p:nvPr/>
        </p:nvSpPr>
        <p:spPr>
          <a:xfrm>
            <a:off x="6611815" y="1969477"/>
            <a:ext cx="4870206"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zure AI Search is committed to providing the BEST retrieval solution through:</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Vector Search capabilitie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Hybrid Search</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dvanced filtering</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ocument secur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2 reranking/optimization</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Built-in chunking</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uto-Vectorization</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And much more!</a:t>
            </a:r>
          </a:p>
        </p:txBody>
      </p:sp>
    </p:spTree>
    <p:extLst>
      <p:ext uri="{BB962C8B-B14F-4D97-AF65-F5344CB8AC3E}">
        <p14:creationId xmlns:p14="http://schemas.microsoft.com/office/powerpoint/2010/main" val="144864021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70DA7-D98A-8E08-569A-CAA18F98C03C}"/>
              </a:ext>
            </a:extLst>
          </p:cNvPr>
          <p:cNvSpPr>
            <a:spLocks noGrp="1"/>
          </p:cNvSpPr>
          <p:nvPr>
            <p:ph type="title"/>
          </p:nvPr>
        </p:nvSpPr>
        <p:spPr/>
        <p:txBody>
          <a:bodyPr/>
          <a:lstStyle/>
          <a:p>
            <a:r>
              <a:rPr lang="en-US">
                <a:cs typeface="Segoe UI"/>
              </a:rPr>
              <a:t>Vector Search at a High Level </a:t>
            </a:r>
            <a:endParaRPr lang="en-US"/>
          </a:p>
        </p:txBody>
      </p:sp>
      <p:grpSp>
        <p:nvGrpSpPr>
          <p:cNvPr id="12" name="Group 11">
            <a:extLst>
              <a:ext uri="{FF2B5EF4-FFF2-40B4-BE49-F238E27FC236}">
                <a16:creationId xmlns:a16="http://schemas.microsoft.com/office/drawing/2014/main" id="{D9F7B2E3-4D51-9AAA-6DBD-0B18743E217A}"/>
              </a:ext>
              <a:ext uri="{C183D7F6-B498-43B3-948B-1728B52AA6E4}">
                <adec:decorative xmlns:adec="http://schemas.microsoft.com/office/drawing/2017/decorative" val="1"/>
              </a:ext>
            </a:extLst>
          </p:cNvPr>
          <p:cNvGrpSpPr/>
          <p:nvPr/>
        </p:nvGrpSpPr>
        <p:grpSpPr>
          <a:xfrm>
            <a:off x="731517" y="1262910"/>
            <a:ext cx="2886457" cy="4860891"/>
            <a:chOff x="457199" y="1416799"/>
            <a:chExt cx="2886457" cy="4860891"/>
          </a:xfrm>
        </p:grpSpPr>
        <p:pic>
          <p:nvPicPr>
            <p:cNvPr id="4" name="Picture 3" descr="Variety of books on shelves in library">
              <a:extLst>
                <a:ext uri="{FF2B5EF4-FFF2-40B4-BE49-F238E27FC236}">
                  <a16:creationId xmlns:a16="http://schemas.microsoft.com/office/drawing/2014/main" id="{6557F57A-FCC2-8EDE-29C2-931FF3E151A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5" name="TextBox 4">
              <a:extLst>
                <a:ext uri="{FF2B5EF4-FFF2-40B4-BE49-F238E27FC236}">
                  <a16:creationId xmlns:a16="http://schemas.microsoft.com/office/drawing/2014/main" id="{F4929170-960A-2C11-89C6-08B50C2B5327}"/>
                </a:ext>
              </a:extLst>
            </p:cNvPr>
            <p:cNvSpPr txBox="1"/>
            <p:nvPr/>
          </p:nvSpPr>
          <p:spPr>
            <a:xfrm>
              <a:off x="457199" y="5169694"/>
              <a:ext cx="2886457"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 diverse collection of books, each containing unique insights and knowledge</a:t>
              </a:r>
            </a:p>
          </p:txBody>
        </p:sp>
        <p:sp>
          <p:nvSpPr>
            <p:cNvPr id="6" name="TextBox 5">
              <a:extLst>
                <a:ext uri="{FF2B5EF4-FFF2-40B4-BE49-F238E27FC236}">
                  <a16:creationId xmlns:a16="http://schemas.microsoft.com/office/drawing/2014/main" id="{79E65E4A-4172-B9DC-702F-1892DF0B8115}"/>
                </a:ext>
              </a:extLst>
            </p:cNvPr>
            <p:cNvSpPr txBox="1"/>
            <p:nvPr/>
          </p:nvSpPr>
          <p:spPr>
            <a:xfrm>
              <a:off x="457199"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a:t>
              </a:r>
            </a:p>
          </p:txBody>
        </p:sp>
      </p:grpSp>
      <p:grpSp>
        <p:nvGrpSpPr>
          <p:cNvPr id="13" name="Group 12">
            <a:extLst>
              <a:ext uri="{FF2B5EF4-FFF2-40B4-BE49-F238E27FC236}">
                <a16:creationId xmlns:a16="http://schemas.microsoft.com/office/drawing/2014/main" id="{DF38A8BD-7931-54FD-4F84-714A3DB7F223}"/>
              </a:ext>
              <a:ext uri="{C183D7F6-B498-43B3-948B-1728B52AA6E4}">
                <adec:decorative xmlns:adec="http://schemas.microsoft.com/office/drawing/2017/decorative" val="1"/>
              </a:ext>
            </a:extLst>
          </p:cNvPr>
          <p:cNvGrpSpPr/>
          <p:nvPr/>
        </p:nvGrpSpPr>
        <p:grpSpPr>
          <a:xfrm>
            <a:off x="4648196" y="1262910"/>
            <a:ext cx="2886458" cy="5414888"/>
            <a:chOff x="457198" y="1416799"/>
            <a:chExt cx="2886458" cy="5414888"/>
          </a:xfrm>
        </p:grpSpPr>
        <p:pic>
          <p:nvPicPr>
            <p:cNvPr id="14" name="Picture 13" descr="Woman in a library">
              <a:extLst>
                <a:ext uri="{FF2B5EF4-FFF2-40B4-BE49-F238E27FC236}">
                  <a16:creationId xmlns:a16="http://schemas.microsoft.com/office/drawing/2014/main" id="{9AEDE2E3-C63F-FE73-9EF4-0755BFECCA0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15" name="TextBox 14">
              <a:extLst>
                <a:ext uri="{FF2B5EF4-FFF2-40B4-BE49-F238E27FC236}">
                  <a16:creationId xmlns:a16="http://schemas.microsoft.com/office/drawing/2014/main" id="{7CF694AA-3ADB-37FB-AF89-98332B8BCF1C}"/>
                </a:ext>
              </a:extLst>
            </p:cNvPr>
            <p:cNvSpPr txBox="1"/>
            <p:nvPr/>
          </p:nvSpPr>
          <p:spPr>
            <a:xfrm>
              <a:off x="457199" y="5169694"/>
              <a:ext cx="2886457" cy="166199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Finding a book on a specific topic or theme can be time-consuming and overwhelming, especially when the content is scattered.</a:t>
              </a:r>
            </a:p>
          </p:txBody>
        </p:sp>
        <p:sp>
          <p:nvSpPr>
            <p:cNvPr id="16" name="TextBox 15">
              <a:extLst>
                <a:ext uri="{FF2B5EF4-FFF2-40B4-BE49-F238E27FC236}">
                  <a16:creationId xmlns:a16="http://schemas.microsoft.com/office/drawing/2014/main" id="{DD4275D8-9091-57B9-4AD5-A0F9E4173840}"/>
                </a:ext>
              </a:extLst>
            </p:cNvPr>
            <p:cNvSpPr txBox="1"/>
            <p:nvPr/>
          </p:nvSpPr>
          <p:spPr>
            <a:xfrm>
              <a:off x="457198"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The Challenge</a:t>
              </a:r>
            </a:p>
          </p:txBody>
        </p:sp>
      </p:grpSp>
      <p:grpSp>
        <p:nvGrpSpPr>
          <p:cNvPr id="17" name="Group 16">
            <a:extLst>
              <a:ext uri="{FF2B5EF4-FFF2-40B4-BE49-F238E27FC236}">
                <a16:creationId xmlns:a16="http://schemas.microsoft.com/office/drawing/2014/main" id="{F8C52F34-30CC-8B57-3F60-2F846DE25D55}"/>
              </a:ext>
              <a:ext uri="{C183D7F6-B498-43B3-948B-1728B52AA6E4}">
                <adec:decorative xmlns:adec="http://schemas.microsoft.com/office/drawing/2017/decorative" val="1"/>
              </a:ext>
            </a:extLst>
          </p:cNvPr>
          <p:cNvGrpSpPr/>
          <p:nvPr/>
        </p:nvGrpSpPr>
        <p:grpSpPr>
          <a:xfrm>
            <a:off x="8564877" y="1262910"/>
            <a:ext cx="2886457" cy="4860891"/>
            <a:chOff x="457199" y="1416799"/>
            <a:chExt cx="2886457" cy="4860891"/>
          </a:xfrm>
        </p:grpSpPr>
        <p:pic>
          <p:nvPicPr>
            <p:cNvPr id="18" name="Picture 17">
              <a:extLst>
                <a:ext uri="{FF2B5EF4-FFF2-40B4-BE49-F238E27FC236}">
                  <a16:creationId xmlns:a16="http://schemas.microsoft.com/office/drawing/2014/main" id="{ED40AA9D-5768-43A7-85CE-7EC85EE40FF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19" name="TextBox 18">
              <a:extLst>
                <a:ext uri="{FF2B5EF4-FFF2-40B4-BE49-F238E27FC236}">
                  <a16:creationId xmlns:a16="http://schemas.microsoft.com/office/drawing/2014/main" id="{FDC08986-18ED-CE93-CB28-68C4DB867DED}"/>
                </a:ext>
              </a:extLst>
            </p:cNvPr>
            <p:cNvSpPr txBox="1"/>
            <p:nvPr/>
          </p:nvSpPr>
          <p:spPr>
            <a:xfrm>
              <a:off x="457199" y="5169694"/>
              <a:ext cx="2886457"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 skilled librarian can quickly connect you to books with similar topics or themes</a:t>
              </a:r>
            </a:p>
          </p:txBody>
        </p:sp>
        <p:sp>
          <p:nvSpPr>
            <p:cNvPr id="20" name="TextBox 19">
              <a:extLst>
                <a:ext uri="{FF2B5EF4-FFF2-40B4-BE49-F238E27FC236}">
                  <a16:creationId xmlns:a16="http://schemas.microsoft.com/office/drawing/2014/main" id="{014B5599-B466-A05F-2856-A3B078BE1CE5}"/>
                </a:ext>
              </a:extLst>
            </p:cNvPr>
            <p:cNvSpPr txBox="1"/>
            <p:nvPr/>
          </p:nvSpPr>
          <p:spPr>
            <a:xfrm>
              <a:off x="457199"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The Solution</a:t>
              </a:r>
            </a:p>
          </p:txBody>
        </p:sp>
      </p:grpSp>
    </p:spTree>
    <p:extLst>
      <p:ext uri="{BB962C8B-B14F-4D97-AF65-F5344CB8AC3E}">
        <p14:creationId xmlns:p14="http://schemas.microsoft.com/office/powerpoint/2010/main" val="1364238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70DA7-D98A-8E08-569A-CAA18F98C03C}"/>
              </a:ext>
            </a:extLst>
          </p:cNvPr>
          <p:cNvSpPr>
            <a:spLocks noGrp="1"/>
          </p:cNvSpPr>
          <p:nvPr>
            <p:ph type="title"/>
          </p:nvPr>
        </p:nvSpPr>
        <p:spPr/>
        <p:txBody>
          <a:bodyPr/>
          <a:lstStyle/>
          <a:p>
            <a:r>
              <a:rPr lang="en-US"/>
              <a:t>Vector Search: Deeper Dive </a:t>
            </a:r>
          </a:p>
        </p:txBody>
      </p:sp>
      <p:grpSp>
        <p:nvGrpSpPr>
          <p:cNvPr id="12" name="Group 11">
            <a:extLst>
              <a:ext uri="{FF2B5EF4-FFF2-40B4-BE49-F238E27FC236}">
                <a16:creationId xmlns:a16="http://schemas.microsoft.com/office/drawing/2014/main" id="{D9F7B2E3-4D51-9AAA-6DBD-0B18743E217A}"/>
              </a:ext>
              <a:ext uri="{C183D7F6-B498-43B3-948B-1728B52AA6E4}">
                <adec:decorative xmlns:adec="http://schemas.microsoft.com/office/drawing/2017/decorative" val="1"/>
              </a:ext>
            </a:extLst>
          </p:cNvPr>
          <p:cNvGrpSpPr/>
          <p:nvPr/>
        </p:nvGrpSpPr>
        <p:grpSpPr>
          <a:xfrm>
            <a:off x="731517" y="1262910"/>
            <a:ext cx="2886457" cy="5137890"/>
            <a:chOff x="457199" y="1416799"/>
            <a:chExt cx="2886457" cy="5137890"/>
          </a:xfrm>
        </p:grpSpPr>
        <p:pic>
          <p:nvPicPr>
            <p:cNvPr id="4" name="Picture 3" descr="Man working on computer">
              <a:extLst>
                <a:ext uri="{FF2B5EF4-FFF2-40B4-BE49-F238E27FC236}">
                  <a16:creationId xmlns:a16="http://schemas.microsoft.com/office/drawing/2014/main" id="{6557F57A-FCC2-8EDE-29C2-931FF3E151A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5" name="TextBox 4">
              <a:extLst>
                <a:ext uri="{FF2B5EF4-FFF2-40B4-BE49-F238E27FC236}">
                  <a16:creationId xmlns:a16="http://schemas.microsoft.com/office/drawing/2014/main" id="{F4929170-960A-2C11-89C6-08B50C2B5327}"/>
                </a:ext>
              </a:extLst>
            </p:cNvPr>
            <p:cNvSpPr txBox="1"/>
            <p:nvPr/>
          </p:nvSpPr>
          <p:spPr>
            <a:xfrm>
              <a:off x="457199" y="5169694"/>
              <a:ext cx="2886457" cy="138499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Organizations need efficient methods to retrieve semantically similar items from large-scale data sources.</a:t>
              </a:r>
            </a:p>
          </p:txBody>
        </p:sp>
        <p:sp>
          <p:nvSpPr>
            <p:cNvPr id="6" name="TextBox 5">
              <a:extLst>
                <a:ext uri="{FF2B5EF4-FFF2-40B4-BE49-F238E27FC236}">
                  <a16:creationId xmlns:a16="http://schemas.microsoft.com/office/drawing/2014/main" id="{79E65E4A-4172-B9DC-702F-1892DF0B8115}"/>
                </a:ext>
              </a:extLst>
            </p:cNvPr>
            <p:cNvSpPr txBox="1"/>
            <p:nvPr/>
          </p:nvSpPr>
          <p:spPr>
            <a:xfrm>
              <a:off x="457199"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a:t>
              </a:r>
            </a:p>
          </p:txBody>
        </p:sp>
      </p:grpSp>
      <p:grpSp>
        <p:nvGrpSpPr>
          <p:cNvPr id="13" name="Group 12">
            <a:extLst>
              <a:ext uri="{FF2B5EF4-FFF2-40B4-BE49-F238E27FC236}">
                <a16:creationId xmlns:a16="http://schemas.microsoft.com/office/drawing/2014/main" id="{DF38A8BD-7931-54FD-4F84-714A3DB7F223}"/>
              </a:ext>
              <a:ext uri="{C183D7F6-B498-43B3-948B-1728B52AA6E4}">
                <adec:decorative xmlns:adec="http://schemas.microsoft.com/office/drawing/2017/decorative" val="1"/>
              </a:ext>
            </a:extLst>
          </p:cNvPr>
          <p:cNvGrpSpPr/>
          <p:nvPr/>
        </p:nvGrpSpPr>
        <p:grpSpPr>
          <a:xfrm>
            <a:off x="4652771" y="1262910"/>
            <a:ext cx="2886458" cy="5137890"/>
            <a:chOff x="457198" y="1416799"/>
            <a:chExt cx="2886458" cy="5137890"/>
          </a:xfrm>
        </p:grpSpPr>
        <p:pic>
          <p:nvPicPr>
            <p:cNvPr id="14" name="Picture 13" descr="Blue and green lines connected">
              <a:extLst>
                <a:ext uri="{FF2B5EF4-FFF2-40B4-BE49-F238E27FC236}">
                  <a16:creationId xmlns:a16="http://schemas.microsoft.com/office/drawing/2014/main" id="{9AEDE2E3-C63F-FE73-9EF4-0755BFECCA0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15" name="TextBox 14">
              <a:extLst>
                <a:ext uri="{FF2B5EF4-FFF2-40B4-BE49-F238E27FC236}">
                  <a16:creationId xmlns:a16="http://schemas.microsoft.com/office/drawing/2014/main" id="{7CF694AA-3ADB-37FB-AF89-98332B8BCF1C}"/>
                </a:ext>
              </a:extLst>
            </p:cNvPr>
            <p:cNvSpPr txBox="1"/>
            <p:nvPr/>
          </p:nvSpPr>
          <p:spPr>
            <a:xfrm>
              <a:off x="457199" y="5169694"/>
              <a:ext cx="2886457"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ifting through large-scale databases to find related items can be resource-intensive and time-consuming.</a:t>
              </a:r>
            </a:p>
          </p:txBody>
        </p:sp>
        <p:sp>
          <p:nvSpPr>
            <p:cNvPr id="16" name="TextBox 15">
              <a:extLst>
                <a:ext uri="{FF2B5EF4-FFF2-40B4-BE49-F238E27FC236}">
                  <a16:creationId xmlns:a16="http://schemas.microsoft.com/office/drawing/2014/main" id="{DD4275D8-9091-57B9-4AD5-A0F9E4173840}"/>
                </a:ext>
              </a:extLst>
            </p:cNvPr>
            <p:cNvSpPr txBox="1"/>
            <p:nvPr/>
          </p:nvSpPr>
          <p:spPr>
            <a:xfrm>
              <a:off x="457198"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The Challenge</a:t>
              </a:r>
            </a:p>
          </p:txBody>
        </p:sp>
      </p:grpSp>
      <p:grpSp>
        <p:nvGrpSpPr>
          <p:cNvPr id="17" name="Group 16">
            <a:extLst>
              <a:ext uri="{FF2B5EF4-FFF2-40B4-BE49-F238E27FC236}">
                <a16:creationId xmlns:a16="http://schemas.microsoft.com/office/drawing/2014/main" id="{F8C52F34-30CC-8B57-3F60-2F846DE25D55}"/>
              </a:ext>
              <a:ext uri="{C183D7F6-B498-43B3-948B-1728B52AA6E4}">
                <adec:decorative xmlns:adec="http://schemas.microsoft.com/office/drawing/2017/decorative" val="1"/>
              </a:ext>
            </a:extLst>
          </p:cNvPr>
          <p:cNvGrpSpPr/>
          <p:nvPr/>
        </p:nvGrpSpPr>
        <p:grpSpPr>
          <a:xfrm>
            <a:off x="8564877" y="1262910"/>
            <a:ext cx="2886457" cy="5414888"/>
            <a:chOff x="457199" y="1416799"/>
            <a:chExt cx="2886457" cy="5414888"/>
          </a:xfrm>
        </p:grpSpPr>
        <p:pic>
          <p:nvPicPr>
            <p:cNvPr id="18" name="Picture 17">
              <a:extLst>
                <a:ext uri="{FF2B5EF4-FFF2-40B4-BE49-F238E27FC236}">
                  <a16:creationId xmlns:a16="http://schemas.microsoft.com/office/drawing/2014/main" id="{ED40AA9D-5768-43A7-85CE-7EC85EE40FF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57199" y="1985771"/>
              <a:ext cx="2886457" cy="2886457"/>
            </a:xfrm>
            <a:prstGeom prst="rect">
              <a:avLst/>
            </a:prstGeom>
          </p:spPr>
        </p:pic>
        <p:sp>
          <p:nvSpPr>
            <p:cNvPr id="19" name="TextBox 18">
              <a:extLst>
                <a:ext uri="{FF2B5EF4-FFF2-40B4-BE49-F238E27FC236}">
                  <a16:creationId xmlns:a16="http://schemas.microsoft.com/office/drawing/2014/main" id="{FDC08986-18ED-CE93-CB28-68C4DB867DED}"/>
                </a:ext>
              </a:extLst>
            </p:cNvPr>
            <p:cNvSpPr txBox="1"/>
            <p:nvPr/>
          </p:nvSpPr>
          <p:spPr>
            <a:xfrm>
              <a:off x="457199" y="5169694"/>
              <a:ext cx="2886457" cy="166199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By calculating similarity metrics like cosine similarity, vector search organizes data and retrieves semantically similar items within the high-dimensional space.</a:t>
              </a:r>
            </a:p>
          </p:txBody>
        </p:sp>
        <p:sp>
          <p:nvSpPr>
            <p:cNvPr id="20" name="TextBox 19">
              <a:extLst>
                <a:ext uri="{FF2B5EF4-FFF2-40B4-BE49-F238E27FC236}">
                  <a16:creationId xmlns:a16="http://schemas.microsoft.com/office/drawing/2014/main" id="{014B5599-B466-A05F-2856-A3B078BE1CE5}"/>
                </a:ext>
              </a:extLst>
            </p:cNvPr>
            <p:cNvSpPr txBox="1"/>
            <p:nvPr/>
          </p:nvSpPr>
          <p:spPr>
            <a:xfrm>
              <a:off x="457199" y="1416799"/>
              <a:ext cx="2886457" cy="400110"/>
            </a:xfrm>
            <a:prstGeom prst="rect">
              <a:avLst/>
            </a:prstGeom>
            <a:noFill/>
          </p:spPr>
          <p:txBody>
            <a:bodyPr wrap="square">
              <a:spAutoFit/>
            </a:bodyPr>
            <a:lstStyle/>
            <a:p>
              <a:pPr marL="0" marR="0" lvl="0" indent="0" algn="ctr" defTabSz="666598"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The Solution</a:t>
              </a:r>
            </a:p>
          </p:txBody>
        </p:sp>
      </p:grpSp>
    </p:spTree>
    <p:extLst>
      <p:ext uri="{BB962C8B-B14F-4D97-AF65-F5344CB8AC3E}">
        <p14:creationId xmlns:p14="http://schemas.microsoft.com/office/powerpoint/2010/main" val="877228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9A56D-6082-EFD0-02C4-7B1229774293}"/>
              </a:ext>
            </a:extLst>
          </p:cNvPr>
          <p:cNvSpPr>
            <a:spLocks noGrp="1"/>
          </p:cNvSpPr>
          <p:nvPr>
            <p:ph type="title"/>
          </p:nvPr>
        </p:nvSpPr>
        <p:spPr>
          <a:xfrm>
            <a:off x="588263" y="457200"/>
            <a:ext cx="11018520" cy="800219"/>
          </a:xfrm>
        </p:spPr>
        <p:txBody>
          <a:bodyPr/>
          <a:lstStyle/>
          <a:p>
            <a:r>
              <a:rPr kumimoji="0" lang="en-US" sz="3200" b="1" i="0" u="none" strike="noStrike" kern="1200" cap="none" spc="-50" normalizeH="0" baseline="0" noProof="0" dirty="0">
                <a:ln w="3175">
                  <a:noFill/>
                </a:ln>
                <a:solidFill>
                  <a:srgbClr val="FFFFFF"/>
                </a:solidFill>
                <a:effectLst/>
                <a:uLnTx/>
                <a:uFillTx/>
                <a:latin typeface="Segoe UI Semibold"/>
                <a:ea typeface="+mn-ea"/>
                <a:cs typeface="Segoe UI"/>
              </a:rPr>
              <a:t>Embeddings</a:t>
            </a:r>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 Convert Data into Vector Representation</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Simplifying complex data structures for efficient analysis and processing in various applications.</a:t>
            </a:r>
            <a:endParaRPr lang="en-US"/>
          </a:p>
        </p:txBody>
      </p:sp>
      <p:sp>
        <p:nvSpPr>
          <p:cNvPr id="3" name="Text Placeholder 2">
            <a:extLst>
              <a:ext uri="{FF2B5EF4-FFF2-40B4-BE49-F238E27FC236}">
                <a16:creationId xmlns:a16="http://schemas.microsoft.com/office/drawing/2014/main" id="{32DE7F98-F499-5A88-F552-5C1042276324}"/>
              </a:ext>
            </a:extLst>
          </p:cNvPr>
          <p:cNvSpPr>
            <a:spLocks noGrp="1"/>
          </p:cNvSpPr>
          <p:nvPr>
            <p:ph type="body" sz="quarter" idx="16"/>
          </p:nvPr>
        </p:nvSpPr>
        <p:spPr>
          <a:xfrm>
            <a:off x="606682" y="1910500"/>
            <a:ext cx="3264408" cy="338554"/>
          </a:xfrm>
        </p:spPr>
        <p:txBody>
          <a:bodyPr/>
          <a:lstStyle/>
          <a:p>
            <a:r>
              <a:rPr lang="en-US">
                <a:cs typeface="Segoe UI"/>
              </a:rPr>
              <a:t>Definition</a:t>
            </a:r>
          </a:p>
        </p:txBody>
      </p:sp>
      <p:sp>
        <p:nvSpPr>
          <p:cNvPr id="4" name="Text Placeholder 3">
            <a:extLst>
              <a:ext uri="{FF2B5EF4-FFF2-40B4-BE49-F238E27FC236}">
                <a16:creationId xmlns:a16="http://schemas.microsoft.com/office/drawing/2014/main" id="{FACE7E40-FE0C-C98B-1CFD-9DF229BB598A}"/>
              </a:ext>
            </a:extLst>
          </p:cNvPr>
          <p:cNvSpPr>
            <a:spLocks noGrp="1"/>
          </p:cNvSpPr>
          <p:nvPr>
            <p:ph type="body" sz="quarter" idx="14"/>
          </p:nvPr>
        </p:nvSpPr>
        <p:spPr>
          <a:xfrm>
            <a:off x="585217" y="2390775"/>
            <a:ext cx="3264408" cy="2893100"/>
          </a:xfrm>
        </p:spPr>
        <p:txBody>
          <a:bodyPr/>
          <a:lstStyle/>
          <a:p>
            <a:r>
              <a:rPr lang="en-US"/>
              <a:t>Abstract, dense, compact, learned numerical representations of data</a:t>
            </a:r>
          </a:p>
          <a:p>
            <a:r>
              <a:rPr lang="en-US"/>
              <a:t>Map complex structures into simpler, fixed-size vectors</a:t>
            </a:r>
          </a:p>
          <a:p>
            <a:r>
              <a:rPr lang="en-US"/>
              <a:t>Applicable to diverse data types (text, images, audio, etc.)</a:t>
            </a:r>
          </a:p>
        </p:txBody>
      </p:sp>
      <p:sp>
        <p:nvSpPr>
          <p:cNvPr id="5" name="Text Placeholder 4">
            <a:extLst>
              <a:ext uri="{FF2B5EF4-FFF2-40B4-BE49-F238E27FC236}">
                <a16:creationId xmlns:a16="http://schemas.microsoft.com/office/drawing/2014/main" id="{E26CD725-D0BE-56D9-F904-EAED9A45CD46}"/>
              </a:ext>
            </a:extLst>
          </p:cNvPr>
          <p:cNvSpPr>
            <a:spLocks noGrp="1"/>
          </p:cNvSpPr>
          <p:nvPr>
            <p:ph type="body" sz="quarter" idx="17"/>
          </p:nvPr>
        </p:nvSpPr>
        <p:spPr>
          <a:xfrm>
            <a:off x="4485261" y="1910500"/>
            <a:ext cx="3264408" cy="338554"/>
          </a:xfrm>
        </p:spPr>
        <p:txBody>
          <a:bodyPr/>
          <a:lstStyle/>
          <a:p>
            <a:r>
              <a:rPr lang="en-US">
                <a:cs typeface="Segoe UI"/>
              </a:rPr>
              <a:t>Purpose</a:t>
            </a:r>
          </a:p>
        </p:txBody>
      </p:sp>
      <p:sp>
        <p:nvSpPr>
          <p:cNvPr id="6" name="Text Placeholder 5">
            <a:extLst>
              <a:ext uri="{FF2B5EF4-FFF2-40B4-BE49-F238E27FC236}">
                <a16:creationId xmlns:a16="http://schemas.microsoft.com/office/drawing/2014/main" id="{BED34DE0-9FEA-11D5-85B9-2FA19DE316B1}"/>
              </a:ext>
            </a:extLst>
          </p:cNvPr>
          <p:cNvSpPr>
            <a:spLocks noGrp="1"/>
          </p:cNvSpPr>
          <p:nvPr>
            <p:ph type="body" sz="quarter" idx="15"/>
          </p:nvPr>
        </p:nvSpPr>
        <p:spPr>
          <a:xfrm>
            <a:off x="4463796" y="2384135"/>
            <a:ext cx="3264408" cy="2893100"/>
          </a:xfrm>
        </p:spPr>
        <p:txBody>
          <a:bodyPr/>
          <a:lstStyle/>
          <a:p>
            <a:r>
              <a:rPr lang="en-US"/>
              <a:t>Facilitate analysis and processing of diverse data types</a:t>
            </a:r>
          </a:p>
          <a:p>
            <a:r>
              <a:rPr lang="en-US"/>
              <a:t>Enable similarity measurement, clustering, and classification</a:t>
            </a:r>
          </a:p>
          <a:p>
            <a:r>
              <a:rPr lang="en-US"/>
              <a:t>Power applications like Vector search and recommendation systems</a:t>
            </a:r>
          </a:p>
        </p:txBody>
      </p:sp>
      <p:sp>
        <p:nvSpPr>
          <p:cNvPr id="7" name="Text Placeholder 6">
            <a:extLst>
              <a:ext uri="{FF2B5EF4-FFF2-40B4-BE49-F238E27FC236}">
                <a16:creationId xmlns:a16="http://schemas.microsoft.com/office/drawing/2014/main" id="{E6B9A3B4-8FDA-2A50-6995-6D0B9170A825}"/>
              </a:ext>
            </a:extLst>
          </p:cNvPr>
          <p:cNvSpPr>
            <a:spLocks noGrp="1"/>
          </p:cNvSpPr>
          <p:nvPr>
            <p:ph type="body" sz="quarter" idx="18"/>
          </p:nvPr>
        </p:nvSpPr>
        <p:spPr>
          <a:xfrm>
            <a:off x="8363840" y="1910500"/>
            <a:ext cx="3264408" cy="338554"/>
          </a:xfrm>
        </p:spPr>
        <p:txBody>
          <a:bodyPr/>
          <a:lstStyle/>
          <a:p>
            <a:r>
              <a:rPr lang="en-US">
                <a:cs typeface="Segoe UI"/>
              </a:rPr>
              <a:t>Benefits</a:t>
            </a:r>
          </a:p>
        </p:txBody>
      </p:sp>
      <p:sp>
        <p:nvSpPr>
          <p:cNvPr id="8" name="Text Placeholder 7">
            <a:extLst>
              <a:ext uri="{FF2B5EF4-FFF2-40B4-BE49-F238E27FC236}">
                <a16:creationId xmlns:a16="http://schemas.microsoft.com/office/drawing/2014/main" id="{977641FE-942C-74AB-8C5D-96F9F1C1BF61}"/>
              </a:ext>
            </a:extLst>
          </p:cNvPr>
          <p:cNvSpPr>
            <a:spLocks noGrp="1"/>
          </p:cNvSpPr>
          <p:nvPr>
            <p:ph type="body" sz="quarter" idx="19"/>
          </p:nvPr>
        </p:nvSpPr>
        <p:spPr>
          <a:xfrm>
            <a:off x="8342375" y="2390775"/>
            <a:ext cx="3264408" cy="2585323"/>
          </a:xfrm>
        </p:spPr>
        <p:txBody>
          <a:bodyPr/>
          <a:lstStyle/>
          <a:p>
            <a:r>
              <a:rPr lang="en-US"/>
              <a:t>Efficient search and organization of vast datasets</a:t>
            </a:r>
          </a:p>
          <a:p>
            <a:r>
              <a:rPr lang="en-US"/>
              <a:t>Improved accuracy and relevance of search results</a:t>
            </a:r>
          </a:p>
          <a:p>
            <a:r>
              <a:rPr lang="en-US"/>
              <a:t>Scalable and adaptable to various industries and use cases </a:t>
            </a:r>
          </a:p>
        </p:txBody>
      </p:sp>
    </p:spTree>
    <p:extLst>
      <p:ext uri="{BB962C8B-B14F-4D97-AF65-F5344CB8AC3E}">
        <p14:creationId xmlns:p14="http://schemas.microsoft.com/office/powerpoint/2010/main" val="270541729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14E0F-5A28-4FDE-FE5A-210726FA2FF8}"/>
              </a:ext>
            </a:extLst>
          </p:cNvPr>
          <p:cNvSpPr>
            <a:spLocks noGrp="1"/>
          </p:cNvSpPr>
          <p:nvPr>
            <p:ph type="title"/>
          </p:nvPr>
        </p:nvSpPr>
        <p:spPr>
          <a:xfrm>
            <a:off x="588263" y="457200"/>
            <a:ext cx="11018520" cy="800219"/>
          </a:xfrm>
        </p:spPr>
        <p:txBody>
          <a:bodyPr/>
          <a:lstStyle/>
          <a:p>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Why do I need embeddings?</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lang="en-US" sz="2000">
                <a:solidFill>
                  <a:srgbClr val="50E6FF"/>
                </a:solidFill>
                <a:latin typeface="Segoe UI Semibold"/>
                <a:cs typeface="Segoe UI"/>
              </a:rPr>
              <a:t>Vectors are a universal representation of data</a:t>
            </a:r>
            <a:endParaRPr lang="en-US"/>
          </a:p>
        </p:txBody>
      </p:sp>
      <p:sp>
        <p:nvSpPr>
          <p:cNvPr id="31" name="Graphic 24">
            <a:extLst>
              <a:ext uri="{FF2B5EF4-FFF2-40B4-BE49-F238E27FC236}">
                <a16:creationId xmlns:a16="http://schemas.microsoft.com/office/drawing/2014/main" id="{C721929B-D6F0-79D1-54D8-96EE46FD1628}"/>
              </a:ext>
              <a:ext uri="{C183D7F6-B498-43B3-948B-1728B52AA6E4}">
                <adec:decorative xmlns:adec="http://schemas.microsoft.com/office/drawing/2017/decorative" val="1"/>
              </a:ext>
            </a:extLst>
          </p:cNvPr>
          <p:cNvSpPr/>
          <p:nvPr/>
        </p:nvSpPr>
        <p:spPr>
          <a:xfrm>
            <a:off x="3679896" y="3542139"/>
            <a:ext cx="685800" cy="685800"/>
          </a:xfrm>
          <a:custGeom>
            <a:avLst/>
            <a:gdLst>
              <a:gd name="connsiteX0" fmla="*/ 180975 w 361950"/>
              <a:gd name="connsiteY0" fmla="*/ 0 h 323850"/>
              <a:gd name="connsiteX1" fmla="*/ 0 w 361950"/>
              <a:gd name="connsiteY1" fmla="*/ 180975 h 323850"/>
              <a:gd name="connsiteX2" fmla="*/ 0 w 361950"/>
              <a:gd name="connsiteY2" fmla="*/ 266700 h 323850"/>
              <a:gd name="connsiteX3" fmla="*/ 14288 w 361950"/>
              <a:gd name="connsiteY3" fmla="*/ 280988 h 323850"/>
              <a:gd name="connsiteX4" fmla="*/ 28575 w 361950"/>
              <a:gd name="connsiteY4" fmla="*/ 266700 h 323850"/>
              <a:gd name="connsiteX5" fmla="*/ 28575 w 361950"/>
              <a:gd name="connsiteY5" fmla="*/ 261938 h 323850"/>
              <a:gd name="connsiteX6" fmla="*/ 47625 w 361950"/>
              <a:gd name="connsiteY6" fmla="*/ 261938 h 323850"/>
              <a:gd name="connsiteX7" fmla="*/ 47625 w 361950"/>
              <a:gd name="connsiteY7" fmla="*/ 304800 h 323850"/>
              <a:gd name="connsiteX8" fmla="*/ 66675 w 361950"/>
              <a:gd name="connsiteY8" fmla="*/ 323850 h 323850"/>
              <a:gd name="connsiteX9" fmla="*/ 95250 w 361950"/>
              <a:gd name="connsiteY9" fmla="*/ 323850 h 323850"/>
              <a:gd name="connsiteX10" fmla="*/ 114300 w 361950"/>
              <a:gd name="connsiteY10" fmla="*/ 304800 h 323850"/>
              <a:gd name="connsiteX11" fmla="*/ 114300 w 361950"/>
              <a:gd name="connsiteY11" fmla="*/ 200025 h 323850"/>
              <a:gd name="connsiteX12" fmla="*/ 95250 w 361950"/>
              <a:gd name="connsiteY12" fmla="*/ 180975 h 323850"/>
              <a:gd name="connsiteX13" fmla="*/ 66675 w 361950"/>
              <a:gd name="connsiteY13" fmla="*/ 180975 h 323850"/>
              <a:gd name="connsiteX14" fmla="*/ 47625 w 361950"/>
              <a:gd name="connsiteY14" fmla="*/ 200025 h 323850"/>
              <a:gd name="connsiteX15" fmla="*/ 47625 w 361950"/>
              <a:gd name="connsiteY15" fmla="*/ 242888 h 323850"/>
              <a:gd name="connsiteX16" fmla="*/ 28575 w 361950"/>
              <a:gd name="connsiteY16" fmla="*/ 242888 h 323850"/>
              <a:gd name="connsiteX17" fmla="*/ 28575 w 361950"/>
              <a:gd name="connsiteY17" fmla="*/ 180975 h 323850"/>
              <a:gd name="connsiteX18" fmla="*/ 180975 w 361950"/>
              <a:gd name="connsiteY18" fmla="*/ 28575 h 323850"/>
              <a:gd name="connsiteX19" fmla="*/ 333375 w 361950"/>
              <a:gd name="connsiteY19" fmla="*/ 180975 h 323850"/>
              <a:gd name="connsiteX20" fmla="*/ 333375 w 361950"/>
              <a:gd name="connsiteY20" fmla="*/ 242888 h 323850"/>
              <a:gd name="connsiteX21" fmla="*/ 314325 w 361950"/>
              <a:gd name="connsiteY21" fmla="*/ 242888 h 323850"/>
              <a:gd name="connsiteX22" fmla="*/ 314325 w 361950"/>
              <a:gd name="connsiteY22" fmla="*/ 200025 h 323850"/>
              <a:gd name="connsiteX23" fmla="*/ 295275 w 361950"/>
              <a:gd name="connsiteY23" fmla="*/ 180975 h 323850"/>
              <a:gd name="connsiteX24" fmla="*/ 266700 w 361950"/>
              <a:gd name="connsiteY24" fmla="*/ 180975 h 323850"/>
              <a:gd name="connsiteX25" fmla="*/ 247650 w 361950"/>
              <a:gd name="connsiteY25" fmla="*/ 200025 h 323850"/>
              <a:gd name="connsiteX26" fmla="*/ 247650 w 361950"/>
              <a:gd name="connsiteY26" fmla="*/ 304800 h 323850"/>
              <a:gd name="connsiteX27" fmla="*/ 266700 w 361950"/>
              <a:gd name="connsiteY27" fmla="*/ 323850 h 323850"/>
              <a:gd name="connsiteX28" fmla="*/ 295275 w 361950"/>
              <a:gd name="connsiteY28" fmla="*/ 323850 h 323850"/>
              <a:gd name="connsiteX29" fmla="*/ 314325 w 361950"/>
              <a:gd name="connsiteY29" fmla="*/ 304800 h 323850"/>
              <a:gd name="connsiteX30" fmla="*/ 314325 w 361950"/>
              <a:gd name="connsiteY30" fmla="*/ 261938 h 323850"/>
              <a:gd name="connsiteX31" fmla="*/ 333375 w 361950"/>
              <a:gd name="connsiteY31" fmla="*/ 261938 h 323850"/>
              <a:gd name="connsiteX32" fmla="*/ 333375 w 361950"/>
              <a:gd name="connsiteY32" fmla="*/ 266700 h 323850"/>
              <a:gd name="connsiteX33" fmla="*/ 347663 w 361950"/>
              <a:gd name="connsiteY33" fmla="*/ 280988 h 323850"/>
              <a:gd name="connsiteX34" fmla="*/ 361950 w 361950"/>
              <a:gd name="connsiteY34" fmla="*/ 266700 h 323850"/>
              <a:gd name="connsiteX35" fmla="*/ 361950 w 361950"/>
              <a:gd name="connsiteY35" fmla="*/ 180975 h 323850"/>
              <a:gd name="connsiteX36" fmla="*/ 180975 w 361950"/>
              <a:gd name="connsiteY3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1950" h="323850">
                <a:moveTo>
                  <a:pt x="180975" y="0"/>
                </a:moveTo>
                <a:cubicBezTo>
                  <a:pt x="80963" y="0"/>
                  <a:pt x="0" y="80963"/>
                  <a:pt x="0" y="180975"/>
                </a:cubicBezTo>
                <a:lnTo>
                  <a:pt x="0" y="266700"/>
                </a:lnTo>
                <a:cubicBezTo>
                  <a:pt x="0" y="274796"/>
                  <a:pt x="6191" y="280988"/>
                  <a:pt x="14288" y="280988"/>
                </a:cubicBezTo>
                <a:cubicBezTo>
                  <a:pt x="22384" y="280988"/>
                  <a:pt x="28575" y="274796"/>
                  <a:pt x="28575" y="266700"/>
                </a:cubicBezTo>
                <a:lnTo>
                  <a:pt x="28575" y="261938"/>
                </a:lnTo>
                <a:lnTo>
                  <a:pt x="47625" y="261938"/>
                </a:lnTo>
                <a:lnTo>
                  <a:pt x="47625" y="304800"/>
                </a:lnTo>
                <a:cubicBezTo>
                  <a:pt x="47625" y="315278"/>
                  <a:pt x="56197" y="323850"/>
                  <a:pt x="66675" y="323850"/>
                </a:cubicBezTo>
                <a:lnTo>
                  <a:pt x="95250" y="323850"/>
                </a:lnTo>
                <a:cubicBezTo>
                  <a:pt x="105728" y="323850"/>
                  <a:pt x="114300" y="315278"/>
                  <a:pt x="114300" y="304800"/>
                </a:cubicBezTo>
                <a:lnTo>
                  <a:pt x="114300" y="200025"/>
                </a:lnTo>
                <a:cubicBezTo>
                  <a:pt x="114300" y="189548"/>
                  <a:pt x="105728" y="180975"/>
                  <a:pt x="95250" y="180975"/>
                </a:cubicBezTo>
                <a:lnTo>
                  <a:pt x="66675" y="180975"/>
                </a:lnTo>
                <a:cubicBezTo>
                  <a:pt x="56197" y="180975"/>
                  <a:pt x="47625" y="189548"/>
                  <a:pt x="47625" y="200025"/>
                </a:cubicBezTo>
                <a:lnTo>
                  <a:pt x="47625" y="242888"/>
                </a:lnTo>
                <a:lnTo>
                  <a:pt x="28575" y="242888"/>
                </a:lnTo>
                <a:lnTo>
                  <a:pt x="28575" y="180975"/>
                </a:lnTo>
                <a:cubicBezTo>
                  <a:pt x="28575" y="97155"/>
                  <a:pt x="97155" y="28575"/>
                  <a:pt x="180975" y="28575"/>
                </a:cubicBezTo>
                <a:cubicBezTo>
                  <a:pt x="264795" y="28575"/>
                  <a:pt x="333375" y="97155"/>
                  <a:pt x="333375" y="180975"/>
                </a:cubicBezTo>
                <a:lnTo>
                  <a:pt x="333375" y="242888"/>
                </a:lnTo>
                <a:lnTo>
                  <a:pt x="314325" y="242888"/>
                </a:lnTo>
                <a:lnTo>
                  <a:pt x="314325" y="200025"/>
                </a:lnTo>
                <a:cubicBezTo>
                  <a:pt x="314325" y="189548"/>
                  <a:pt x="305753" y="180975"/>
                  <a:pt x="295275" y="180975"/>
                </a:cubicBezTo>
                <a:lnTo>
                  <a:pt x="266700" y="180975"/>
                </a:lnTo>
                <a:cubicBezTo>
                  <a:pt x="256223" y="180975"/>
                  <a:pt x="247650" y="189548"/>
                  <a:pt x="247650" y="200025"/>
                </a:cubicBezTo>
                <a:lnTo>
                  <a:pt x="247650" y="304800"/>
                </a:lnTo>
                <a:cubicBezTo>
                  <a:pt x="247650" y="315278"/>
                  <a:pt x="256223" y="323850"/>
                  <a:pt x="266700" y="323850"/>
                </a:cubicBezTo>
                <a:lnTo>
                  <a:pt x="295275" y="323850"/>
                </a:lnTo>
                <a:cubicBezTo>
                  <a:pt x="305753" y="323850"/>
                  <a:pt x="314325" y="315278"/>
                  <a:pt x="314325" y="304800"/>
                </a:cubicBezTo>
                <a:lnTo>
                  <a:pt x="314325" y="261938"/>
                </a:lnTo>
                <a:lnTo>
                  <a:pt x="333375" y="261938"/>
                </a:lnTo>
                <a:lnTo>
                  <a:pt x="333375" y="266700"/>
                </a:lnTo>
                <a:cubicBezTo>
                  <a:pt x="333375" y="274796"/>
                  <a:pt x="339566" y="280988"/>
                  <a:pt x="347663" y="280988"/>
                </a:cubicBezTo>
                <a:cubicBezTo>
                  <a:pt x="355759" y="280988"/>
                  <a:pt x="361950" y="274796"/>
                  <a:pt x="361950" y="266700"/>
                </a:cubicBezTo>
                <a:lnTo>
                  <a:pt x="361950" y="180975"/>
                </a:lnTo>
                <a:cubicBezTo>
                  <a:pt x="361950" y="80963"/>
                  <a:pt x="280988" y="0"/>
                  <a:pt x="180975" y="0"/>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grpSp>
        <p:nvGrpSpPr>
          <p:cNvPr id="32" name="Group 31">
            <a:extLst>
              <a:ext uri="{FF2B5EF4-FFF2-40B4-BE49-F238E27FC236}">
                <a16:creationId xmlns:a16="http://schemas.microsoft.com/office/drawing/2014/main" id="{8930AC3A-16C3-CD77-62FE-0F2573E76F74}"/>
              </a:ext>
              <a:ext uri="{C183D7F6-B498-43B3-948B-1728B52AA6E4}">
                <adec:decorative xmlns:adec="http://schemas.microsoft.com/office/drawing/2017/decorative" val="1"/>
              </a:ext>
            </a:extLst>
          </p:cNvPr>
          <p:cNvGrpSpPr/>
          <p:nvPr/>
        </p:nvGrpSpPr>
        <p:grpSpPr>
          <a:xfrm>
            <a:off x="3679896" y="4858739"/>
            <a:ext cx="685800" cy="685800"/>
            <a:chOff x="11028786" y="2241157"/>
            <a:chExt cx="295275" cy="381000"/>
          </a:xfrm>
        </p:grpSpPr>
        <p:sp>
          <p:nvSpPr>
            <p:cNvPr id="33" name="Freeform: Shape 32">
              <a:extLst>
                <a:ext uri="{FF2B5EF4-FFF2-40B4-BE49-F238E27FC236}">
                  <a16:creationId xmlns:a16="http://schemas.microsoft.com/office/drawing/2014/main" id="{7AC443F7-F9E2-9288-5ADE-84F56A223F1D}"/>
                </a:ext>
              </a:extLst>
            </p:cNvPr>
            <p:cNvSpPr/>
            <p:nvPr/>
          </p:nvSpPr>
          <p:spPr>
            <a:xfrm>
              <a:off x="11028786" y="2241157"/>
              <a:ext cx="295275" cy="381000"/>
            </a:xfrm>
            <a:custGeom>
              <a:avLst/>
              <a:gdLst>
                <a:gd name="connsiteX0" fmla="*/ 28575 w 295275"/>
                <a:gd name="connsiteY0" fmla="*/ 352425 h 381000"/>
                <a:gd name="connsiteX1" fmla="*/ 28575 w 295275"/>
                <a:gd name="connsiteY1" fmla="*/ 28575 h 381000"/>
                <a:gd name="connsiteX2" fmla="*/ 147638 w 295275"/>
                <a:gd name="connsiteY2" fmla="*/ 28575 h 381000"/>
                <a:gd name="connsiteX3" fmla="*/ 147638 w 295275"/>
                <a:gd name="connsiteY3" fmla="*/ 128588 h 381000"/>
                <a:gd name="connsiteX4" fmla="*/ 266700 w 295275"/>
                <a:gd name="connsiteY4" fmla="*/ 128588 h 381000"/>
                <a:gd name="connsiteX5" fmla="*/ 266700 w 295275"/>
                <a:gd name="connsiteY5" fmla="*/ 352425 h 381000"/>
                <a:gd name="connsiteX6" fmla="*/ 28575 w 295275"/>
                <a:gd name="connsiteY6" fmla="*/ 352425 h 381000"/>
                <a:gd name="connsiteX7" fmla="*/ 176213 w 295275"/>
                <a:gd name="connsiteY7" fmla="*/ 40481 h 381000"/>
                <a:gd name="connsiteX8" fmla="*/ 235744 w 295275"/>
                <a:gd name="connsiteY8" fmla="*/ 100013 h 381000"/>
                <a:gd name="connsiteX9" fmla="*/ 176213 w 295275"/>
                <a:gd name="connsiteY9" fmla="*/ 100013 h 381000"/>
                <a:gd name="connsiteX10" fmla="*/ 176213 w 295275"/>
                <a:gd name="connsiteY10" fmla="*/ 40481 h 381000"/>
                <a:gd name="connsiteX11" fmla="*/ 176213 w 295275"/>
                <a:gd name="connsiteY11" fmla="*/ 0 h 381000"/>
                <a:gd name="connsiteX12" fmla="*/ 0 w 295275"/>
                <a:gd name="connsiteY12" fmla="*/ 0 h 381000"/>
                <a:gd name="connsiteX13" fmla="*/ 0 w 295275"/>
                <a:gd name="connsiteY13" fmla="*/ 381000 h 381000"/>
                <a:gd name="connsiteX14" fmla="*/ 295275 w 295275"/>
                <a:gd name="connsiteY14" fmla="*/ 381000 h 381000"/>
                <a:gd name="connsiteX15" fmla="*/ 295275 w 295275"/>
                <a:gd name="connsiteY15" fmla="*/ 104775 h 381000"/>
                <a:gd name="connsiteX16" fmla="*/ 176213 w 295275"/>
                <a:gd name="connsiteY16"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5275" h="381000">
                  <a:moveTo>
                    <a:pt x="28575" y="352425"/>
                  </a:moveTo>
                  <a:lnTo>
                    <a:pt x="28575" y="28575"/>
                  </a:lnTo>
                  <a:lnTo>
                    <a:pt x="147638" y="28575"/>
                  </a:lnTo>
                  <a:lnTo>
                    <a:pt x="147638" y="128588"/>
                  </a:lnTo>
                  <a:lnTo>
                    <a:pt x="266700" y="128588"/>
                  </a:lnTo>
                  <a:lnTo>
                    <a:pt x="266700" y="352425"/>
                  </a:lnTo>
                  <a:lnTo>
                    <a:pt x="28575" y="352425"/>
                  </a:lnTo>
                  <a:close/>
                  <a:moveTo>
                    <a:pt x="176213" y="40481"/>
                  </a:moveTo>
                  <a:lnTo>
                    <a:pt x="235744" y="100013"/>
                  </a:lnTo>
                  <a:lnTo>
                    <a:pt x="176213" y="100013"/>
                  </a:lnTo>
                  <a:lnTo>
                    <a:pt x="176213" y="40481"/>
                  </a:lnTo>
                  <a:close/>
                  <a:moveTo>
                    <a:pt x="176213" y="0"/>
                  </a:moveTo>
                  <a:lnTo>
                    <a:pt x="0" y="0"/>
                  </a:lnTo>
                  <a:lnTo>
                    <a:pt x="0" y="381000"/>
                  </a:lnTo>
                  <a:lnTo>
                    <a:pt x="295275" y="381000"/>
                  </a:lnTo>
                  <a:lnTo>
                    <a:pt x="295275" y="104775"/>
                  </a:lnTo>
                  <a:lnTo>
                    <a:pt x="176213" y="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4" name="Freeform: Shape 33">
              <a:extLst>
                <a:ext uri="{FF2B5EF4-FFF2-40B4-BE49-F238E27FC236}">
                  <a16:creationId xmlns:a16="http://schemas.microsoft.com/office/drawing/2014/main" id="{765A3315-7932-7AE2-A113-B45CE0FA0E32}"/>
                </a:ext>
              </a:extLst>
            </p:cNvPr>
            <p:cNvSpPr/>
            <p:nvPr/>
          </p:nvSpPr>
          <p:spPr>
            <a:xfrm>
              <a:off x="11085936" y="24173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5" name="Freeform: Shape 34">
              <a:extLst>
                <a:ext uri="{FF2B5EF4-FFF2-40B4-BE49-F238E27FC236}">
                  <a16:creationId xmlns:a16="http://schemas.microsoft.com/office/drawing/2014/main" id="{9BEC56D5-6D6D-FDB1-B7C7-736862853516}"/>
                </a:ext>
              </a:extLst>
            </p:cNvPr>
            <p:cNvSpPr/>
            <p:nvPr/>
          </p:nvSpPr>
          <p:spPr>
            <a:xfrm>
              <a:off x="11085936" y="2379269"/>
              <a:ext cx="61912" cy="19050"/>
            </a:xfrm>
            <a:custGeom>
              <a:avLst/>
              <a:gdLst>
                <a:gd name="connsiteX0" fmla="*/ 0 w 61912"/>
                <a:gd name="connsiteY0" fmla="*/ 0 h 19050"/>
                <a:gd name="connsiteX1" fmla="*/ 61913 w 61912"/>
                <a:gd name="connsiteY1" fmla="*/ 0 h 19050"/>
                <a:gd name="connsiteX2" fmla="*/ 61913 w 61912"/>
                <a:gd name="connsiteY2" fmla="*/ 19050 h 19050"/>
                <a:gd name="connsiteX3" fmla="*/ 0 w 6191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61912" h="19050">
                  <a:moveTo>
                    <a:pt x="0" y="0"/>
                  </a:moveTo>
                  <a:lnTo>
                    <a:pt x="61913" y="0"/>
                  </a:lnTo>
                  <a:lnTo>
                    <a:pt x="61913"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6" name="Freeform: Shape 35">
              <a:extLst>
                <a:ext uri="{FF2B5EF4-FFF2-40B4-BE49-F238E27FC236}">
                  <a16:creationId xmlns:a16="http://schemas.microsoft.com/office/drawing/2014/main" id="{FDA5C505-0639-A86D-0BBE-C9ADEB7A59F6}"/>
                </a:ext>
              </a:extLst>
            </p:cNvPr>
            <p:cNvSpPr/>
            <p:nvPr/>
          </p:nvSpPr>
          <p:spPr>
            <a:xfrm>
              <a:off x="11085936" y="24554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7" name="Freeform: Shape 36">
              <a:extLst>
                <a:ext uri="{FF2B5EF4-FFF2-40B4-BE49-F238E27FC236}">
                  <a16:creationId xmlns:a16="http://schemas.microsoft.com/office/drawing/2014/main" id="{32BF089B-2D5A-7DD9-3F75-2F512ECAB3CF}"/>
                </a:ext>
              </a:extLst>
            </p:cNvPr>
            <p:cNvSpPr/>
            <p:nvPr/>
          </p:nvSpPr>
          <p:spPr>
            <a:xfrm>
              <a:off x="11085936" y="24935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8" name="Freeform: Shape 37">
              <a:extLst>
                <a:ext uri="{FF2B5EF4-FFF2-40B4-BE49-F238E27FC236}">
                  <a16:creationId xmlns:a16="http://schemas.microsoft.com/office/drawing/2014/main" id="{B60ABE42-8B1D-6396-2713-E662B557D062}"/>
                </a:ext>
              </a:extLst>
            </p:cNvPr>
            <p:cNvSpPr/>
            <p:nvPr/>
          </p:nvSpPr>
          <p:spPr>
            <a:xfrm>
              <a:off x="11085936" y="25316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grpSp>
      <p:grpSp>
        <p:nvGrpSpPr>
          <p:cNvPr id="39" name="Group 38">
            <a:extLst>
              <a:ext uri="{FF2B5EF4-FFF2-40B4-BE49-F238E27FC236}">
                <a16:creationId xmlns:a16="http://schemas.microsoft.com/office/drawing/2014/main" id="{A502F820-5527-F022-89AF-B558328DF577}"/>
              </a:ext>
              <a:ext uri="{C183D7F6-B498-43B3-948B-1728B52AA6E4}">
                <adec:decorative xmlns:adec="http://schemas.microsoft.com/office/drawing/2017/decorative" val="1"/>
              </a:ext>
            </a:extLst>
          </p:cNvPr>
          <p:cNvGrpSpPr/>
          <p:nvPr/>
        </p:nvGrpSpPr>
        <p:grpSpPr>
          <a:xfrm>
            <a:off x="3679939" y="2225538"/>
            <a:ext cx="685803" cy="685800"/>
            <a:chOff x="6154995" y="2245449"/>
            <a:chExt cx="433387" cy="346662"/>
          </a:xfrm>
        </p:grpSpPr>
        <p:sp>
          <p:nvSpPr>
            <p:cNvPr id="40" name="Freeform: Shape 39">
              <a:extLst>
                <a:ext uri="{FF2B5EF4-FFF2-40B4-BE49-F238E27FC236}">
                  <a16:creationId xmlns:a16="http://schemas.microsoft.com/office/drawing/2014/main" id="{0E884A9F-B889-6DEB-1578-A298E67406D0}"/>
                </a:ext>
              </a:extLst>
            </p:cNvPr>
            <p:cNvSpPr/>
            <p:nvPr/>
          </p:nvSpPr>
          <p:spPr>
            <a:xfrm>
              <a:off x="6393120" y="2417566"/>
              <a:ext cx="96258" cy="117404"/>
            </a:xfrm>
            <a:custGeom>
              <a:avLst/>
              <a:gdLst>
                <a:gd name="connsiteX0" fmla="*/ 95250 w 96258"/>
                <a:gd name="connsiteY0" fmla="*/ 106966 h 117404"/>
                <a:gd name="connsiteX1" fmla="*/ 30051 w 96258"/>
                <a:gd name="connsiteY1" fmla="*/ 3048 h 117404"/>
                <a:gd name="connsiteX2" fmla="*/ 24575 w 96258"/>
                <a:gd name="connsiteY2" fmla="*/ 0 h 117404"/>
                <a:gd name="connsiteX3" fmla="*/ 19050 w 96258"/>
                <a:gd name="connsiteY3" fmla="*/ 3048 h 117404"/>
                <a:gd name="connsiteX4" fmla="*/ 0 w 96258"/>
                <a:gd name="connsiteY4" fmla="*/ 33623 h 117404"/>
                <a:gd name="connsiteX5" fmla="*/ 40862 w 96258"/>
                <a:gd name="connsiteY5" fmla="*/ 99727 h 117404"/>
                <a:gd name="connsiteX6" fmla="*/ 42863 w 96258"/>
                <a:gd name="connsiteY6" fmla="*/ 117396 h 117404"/>
                <a:gd name="connsiteX7" fmla="*/ 89059 w 96258"/>
                <a:gd name="connsiteY7" fmla="*/ 117396 h 117404"/>
                <a:gd name="connsiteX8" fmla="*/ 96250 w 96258"/>
                <a:gd name="connsiteY8" fmla="*/ 110888 h 117404"/>
                <a:gd name="connsiteX9" fmla="*/ 95250 w 96258"/>
                <a:gd name="connsiteY9" fmla="*/ 106966 h 1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258" h="117404">
                  <a:moveTo>
                    <a:pt x="95250" y="106966"/>
                  </a:moveTo>
                  <a:lnTo>
                    <a:pt x="30051" y="3048"/>
                  </a:lnTo>
                  <a:cubicBezTo>
                    <a:pt x="28885" y="1144"/>
                    <a:pt x="26808" y="-12"/>
                    <a:pt x="24575" y="0"/>
                  </a:cubicBezTo>
                  <a:cubicBezTo>
                    <a:pt x="22331" y="-1"/>
                    <a:pt x="20245" y="1150"/>
                    <a:pt x="19050" y="3048"/>
                  </a:cubicBezTo>
                  <a:lnTo>
                    <a:pt x="0" y="33623"/>
                  </a:lnTo>
                  <a:lnTo>
                    <a:pt x="40862" y="99727"/>
                  </a:lnTo>
                  <a:cubicBezTo>
                    <a:pt x="44320" y="104956"/>
                    <a:pt x="45064" y="111525"/>
                    <a:pt x="42863" y="117396"/>
                  </a:cubicBezTo>
                  <a:lnTo>
                    <a:pt x="89059" y="117396"/>
                  </a:lnTo>
                  <a:cubicBezTo>
                    <a:pt x="92842" y="117585"/>
                    <a:pt x="96062" y="114671"/>
                    <a:pt x="96250" y="110888"/>
                  </a:cubicBezTo>
                  <a:cubicBezTo>
                    <a:pt x="96319" y="109510"/>
                    <a:pt x="95971" y="108143"/>
                    <a:pt x="95250" y="106966"/>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41" name="Freeform: Shape 40">
              <a:extLst>
                <a:ext uri="{FF2B5EF4-FFF2-40B4-BE49-F238E27FC236}">
                  <a16:creationId xmlns:a16="http://schemas.microsoft.com/office/drawing/2014/main" id="{64C66CA8-6405-7C95-357D-46DCC3DF65A5}"/>
                </a:ext>
              </a:extLst>
            </p:cNvPr>
            <p:cNvSpPr/>
            <p:nvPr/>
          </p:nvSpPr>
          <p:spPr>
            <a:xfrm>
              <a:off x="6196120" y="2353983"/>
              <a:ext cx="222548" cy="181040"/>
            </a:xfrm>
            <a:custGeom>
              <a:avLst/>
              <a:gdLst>
                <a:gd name="connsiteX0" fmla="*/ 221288 w 222548"/>
                <a:gd name="connsiteY0" fmla="*/ 171168 h 181040"/>
                <a:gd name="connsiteX1" fmla="*/ 117704 w 222548"/>
                <a:gd name="connsiteY1" fmla="*/ 2623 h 181040"/>
                <a:gd name="connsiteX2" fmla="*/ 112132 w 222548"/>
                <a:gd name="connsiteY2" fmla="*/ 4 h 181040"/>
                <a:gd name="connsiteX3" fmla="*/ 111274 w 222548"/>
                <a:gd name="connsiteY3" fmla="*/ 4 h 181040"/>
                <a:gd name="connsiteX4" fmla="*/ 110417 w 222548"/>
                <a:gd name="connsiteY4" fmla="*/ 4 h 181040"/>
                <a:gd name="connsiteX5" fmla="*/ 104845 w 222548"/>
                <a:gd name="connsiteY5" fmla="*/ 2623 h 181040"/>
                <a:gd name="connsiteX6" fmla="*/ 1261 w 222548"/>
                <a:gd name="connsiteY6" fmla="*/ 171168 h 181040"/>
                <a:gd name="connsiteX7" fmla="*/ 737 w 222548"/>
                <a:gd name="connsiteY7" fmla="*/ 178169 h 181040"/>
                <a:gd name="connsiteX8" fmla="*/ 6499 w 222548"/>
                <a:gd name="connsiteY8" fmla="*/ 180979 h 181040"/>
                <a:gd name="connsiteX9" fmla="*/ 216049 w 222548"/>
                <a:gd name="connsiteY9" fmla="*/ 180979 h 181040"/>
                <a:gd name="connsiteX10" fmla="*/ 221812 w 222548"/>
                <a:gd name="connsiteY10" fmla="*/ 178169 h 181040"/>
                <a:gd name="connsiteX11" fmla="*/ 221288 w 222548"/>
                <a:gd name="connsiteY11" fmla="*/ 171168 h 181040"/>
                <a:gd name="connsiteX12" fmla="*/ 128610 w 222548"/>
                <a:gd name="connsiteY12" fmla="*/ 81585 h 181040"/>
                <a:gd name="connsiteX13" fmla="*/ 112132 w 222548"/>
                <a:gd name="connsiteY13" fmla="*/ 96254 h 181040"/>
                <a:gd name="connsiteX14" fmla="*/ 95653 w 222548"/>
                <a:gd name="connsiteY14" fmla="*/ 81585 h 181040"/>
                <a:gd name="connsiteX15" fmla="*/ 68412 w 222548"/>
                <a:gd name="connsiteY15" fmla="*/ 98064 h 181040"/>
                <a:gd name="connsiteX16" fmla="*/ 111274 w 222548"/>
                <a:gd name="connsiteY16" fmla="*/ 28579 h 181040"/>
                <a:gd name="connsiteX17" fmla="*/ 152994 w 222548"/>
                <a:gd name="connsiteY17" fmla="*/ 96254 h 18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2548" h="181040">
                  <a:moveTo>
                    <a:pt x="221288" y="171168"/>
                  </a:moveTo>
                  <a:lnTo>
                    <a:pt x="117704" y="2623"/>
                  </a:lnTo>
                  <a:cubicBezTo>
                    <a:pt x="116374" y="906"/>
                    <a:pt x="114302" y="-68"/>
                    <a:pt x="112132" y="4"/>
                  </a:cubicBezTo>
                  <a:lnTo>
                    <a:pt x="111274" y="4"/>
                  </a:lnTo>
                  <a:lnTo>
                    <a:pt x="110417" y="4"/>
                  </a:lnTo>
                  <a:cubicBezTo>
                    <a:pt x="108247" y="-68"/>
                    <a:pt x="106174" y="906"/>
                    <a:pt x="104845" y="2623"/>
                  </a:cubicBezTo>
                  <a:lnTo>
                    <a:pt x="1261" y="171168"/>
                  </a:lnTo>
                  <a:cubicBezTo>
                    <a:pt x="-207" y="173221"/>
                    <a:pt x="-409" y="175920"/>
                    <a:pt x="737" y="178169"/>
                  </a:cubicBezTo>
                  <a:cubicBezTo>
                    <a:pt x="1892" y="180206"/>
                    <a:pt x="4182" y="181323"/>
                    <a:pt x="6499" y="180979"/>
                  </a:cubicBezTo>
                  <a:lnTo>
                    <a:pt x="216049" y="180979"/>
                  </a:lnTo>
                  <a:cubicBezTo>
                    <a:pt x="218366" y="181323"/>
                    <a:pt x="220657" y="180206"/>
                    <a:pt x="221812" y="178169"/>
                  </a:cubicBezTo>
                  <a:cubicBezTo>
                    <a:pt x="222957" y="175920"/>
                    <a:pt x="222755" y="173221"/>
                    <a:pt x="221288" y="171168"/>
                  </a:cubicBezTo>
                  <a:close/>
                  <a:moveTo>
                    <a:pt x="128610" y="81585"/>
                  </a:moveTo>
                  <a:lnTo>
                    <a:pt x="112132" y="96254"/>
                  </a:lnTo>
                  <a:lnTo>
                    <a:pt x="95653" y="81585"/>
                  </a:lnTo>
                  <a:lnTo>
                    <a:pt x="68412" y="98064"/>
                  </a:lnTo>
                  <a:lnTo>
                    <a:pt x="111274" y="28579"/>
                  </a:lnTo>
                  <a:lnTo>
                    <a:pt x="152994" y="96254"/>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42" name="Freeform: Shape 41">
              <a:extLst>
                <a:ext uri="{FF2B5EF4-FFF2-40B4-BE49-F238E27FC236}">
                  <a16:creationId xmlns:a16="http://schemas.microsoft.com/office/drawing/2014/main" id="{BF5BB8F3-E1A5-55C2-6AC8-240DC7B522FC}"/>
                </a:ext>
              </a:extLst>
            </p:cNvPr>
            <p:cNvSpPr/>
            <p:nvPr/>
          </p:nvSpPr>
          <p:spPr>
            <a:xfrm>
              <a:off x="6231195" y="2350224"/>
              <a:ext cx="28575" cy="28575"/>
            </a:xfrm>
            <a:custGeom>
              <a:avLst/>
              <a:gdLst>
                <a:gd name="connsiteX0" fmla="*/ 28575 w 28575"/>
                <a:gd name="connsiteY0" fmla="*/ 14288 h 28575"/>
                <a:gd name="connsiteX1" fmla="*/ 14288 w 28575"/>
                <a:gd name="connsiteY1" fmla="*/ 28575 h 28575"/>
                <a:gd name="connsiteX2" fmla="*/ 0 w 28575"/>
                <a:gd name="connsiteY2" fmla="*/ 14288 h 28575"/>
                <a:gd name="connsiteX3" fmla="*/ 14288 w 28575"/>
                <a:gd name="connsiteY3" fmla="*/ 0 h 28575"/>
                <a:gd name="connsiteX4" fmla="*/ 28575 w 28575"/>
                <a:gd name="connsiteY4" fmla="*/ 1428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575" y="14288"/>
                  </a:moveTo>
                  <a:cubicBezTo>
                    <a:pt x="28575" y="22178"/>
                    <a:pt x="22178" y="28575"/>
                    <a:pt x="14288" y="28575"/>
                  </a:cubicBezTo>
                  <a:cubicBezTo>
                    <a:pt x="6397" y="28575"/>
                    <a:pt x="0" y="22178"/>
                    <a:pt x="0" y="14288"/>
                  </a:cubicBezTo>
                  <a:cubicBezTo>
                    <a:pt x="0" y="6397"/>
                    <a:pt x="6397" y="0"/>
                    <a:pt x="14288" y="0"/>
                  </a:cubicBezTo>
                  <a:cubicBezTo>
                    <a:pt x="22178" y="0"/>
                    <a:pt x="28575" y="6397"/>
                    <a:pt x="28575" y="14288"/>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43" name="Freeform: Shape 42">
              <a:extLst>
                <a:ext uri="{FF2B5EF4-FFF2-40B4-BE49-F238E27FC236}">
                  <a16:creationId xmlns:a16="http://schemas.microsoft.com/office/drawing/2014/main" id="{543C0E94-9FEB-E647-5562-780ECA102EB4}"/>
                </a:ext>
              </a:extLst>
            </p:cNvPr>
            <p:cNvSpPr/>
            <p:nvPr/>
          </p:nvSpPr>
          <p:spPr>
            <a:xfrm>
              <a:off x="6154995" y="2245449"/>
              <a:ext cx="433387" cy="346662"/>
            </a:xfrm>
            <a:custGeom>
              <a:avLst/>
              <a:gdLst>
                <a:gd name="connsiteX0" fmla="*/ 433388 w 433387"/>
                <a:gd name="connsiteY0" fmla="*/ 0 h 346662"/>
                <a:gd name="connsiteX1" fmla="*/ 52388 w 433387"/>
                <a:gd name="connsiteY1" fmla="*/ 0 h 346662"/>
                <a:gd name="connsiteX2" fmla="*/ 52388 w 433387"/>
                <a:gd name="connsiteY2" fmla="*/ 52388 h 346662"/>
                <a:gd name="connsiteX3" fmla="*/ 0 w 433387"/>
                <a:gd name="connsiteY3" fmla="*/ 52388 h 346662"/>
                <a:gd name="connsiteX4" fmla="*/ 0 w 433387"/>
                <a:gd name="connsiteY4" fmla="*/ 346662 h 346662"/>
                <a:gd name="connsiteX5" fmla="*/ 381000 w 433387"/>
                <a:gd name="connsiteY5" fmla="*/ 346662 h 346662"/>
                <a:gd name="connsiteX6" fmla="*/ 381000 w 433387"/>
                <a:gd name="connsiteY6" fmla="*/ 294275 h 346662"/>
                <a:gd name="connsiteX7" fmla="*/ 433388 w 433387"/>
                <a:gd name="connsiteY7" fmla="*/ 294275 h 346662"/>
                <a:gd name="connsiteX8" fmla="*/ 352425 w 433387"/>
                <a:gd name="connsiteY8" fmla="*/ 319088 h 346662"/>
                <a:gd name="connsiteX9" fmla="*/ 28575 w 433387"/>
                <a:gd name="connsiteY9" fmla="*/ 319088 h 346662"/>
                <a:gd name="connsiteX10" fmla="*/ 28575 w 433387"/>
                <a:gd name="connsiteY10" fmla="*/ 79962 h 346662"/>
                <a:gd name="connsiteX11" fmla="*/ 352425 w 433387"/>
                <a:gd name="connsiteY11" fmla="*/ 79962 h 346662"/>
                <a:gd name="connsiteX12" fmla="*/ 404813 w 433387"/>
                <a:gd name="connsiteY12" fmla="*/ 266700 h 346662"/>
                <a:gd name="connsiteX13" fmla="*/ 381000 w 433387"/>
                <a:gd name="connsiteY13" fmla="*/ 266700 h 346662"/>
                <a:gd name="connsiteX14" fmla="*/ 381000 w 433387"/>
                <a:gd name="connsiteY14" fmla="*/ 52388 h 346662"/>
                <a:gd name="connsiteX15" fmla="*/ 80963 w 433387"/>
                <a:gd name="connsiteY15" fmla="*/ 52388 h 346662"/>
                <a:gd name="connsiteX16" fmla="*/ 80963 w 433387"/>
                <a:gd name="connsiteY16" fmla="*/ 28575 h 346662"/>
                <a:gd name="connsiteX17" fmla="*/ 404813 w 433387"/>
                <a:gd name="connsiteY17" fmla="*/ 28575 h 34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7" h="346662">
                  <a:moveTo>
                    <a:pt x="433388" y="0"/>
                  </a:moveTo>
                  <a:lnTo>
                    <a:pt x="52388" y="0"/>
                  </a:lnTo>
                  <a:lnTo>
                    <a:pt x="52388" y="52388"/>
                  </a:lnTo>
                  <a:lnTo>
                    <a:pt x="0" y="52388"/>
                  </a:lnTo>
                  <a:lnTo>
                    <a:pt x="0" y="346662"/>
                  </a:lnTo>
                  <a:lnTo>
                    <a:pt x="381000" y="346662"/>
                  </a:lnTo>
                  <a:lnTo>
                    <a:pt x="381000" y="294275"/>
                  </a:lnTo>
                  <a:lnTo>
                    <a:pt x="433388" y="294275"/>
                  </a:lnTo>
                  <a:close/>
                  <a:moveTo>
                    <a:pt x="352425" y="319088"/>
                  </a:moveTo>
                  <a:lnTo>
                    <a:pt x="28575" y="319088"/>
                  </a:lnTo>
                  <a:lnTo>
                    <a:pt x="28575" y="79962"/>
                  </a:lnTo>
                  <a:lnTo>
                    <a:pt x="352425" y="79962"/>
                  </a:lnTo>
                  <a:close/>
                  <a:moveTo>
                    <a:pt x="404813" y="266700"/>
                  </a:moveTo>
                  <a:lnTo>
                    <a:pt x="381000" y="266700"/>
                  </a:lnTo>
                  <a:lnTo>
                    <a:pt x="381000" y="52388"/>
                  </a:lnTo>
                  <a:lnTo>
                    <a:pt x="80963" y="52388"/>
                  </a:lnTo>
                  <a:lnTo>
                    <a:pt x="80963" y="28575"/>
                  </a:lnTo>
                  <a:lnTo>
                    <a:pt x="404813" y="28575"/>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grpSp>
      <p:grpSp>
        <p:nvGrpSpPr>
          <p:cNvPr id="44" name="Group 43" descr="Video camera with solid fill">
            <a:extLst>
              <a:ext uri="{FF2B5EF4-FFF2-40B4-BE49-F238E27FC236}">
                <a16:creationId xmlns:a16="http://schemas.microsoft.com/office/drawing/2014/main" id="{2A7CD20D-0597-A701-CBD4-7601008C9277}"/>
              </a:ext>
              <a:ext uri="{C183D7F6-B498-43B3-948B-1728B52AA6E4}">
                <adec:decorative xmlns:adec="http://schemas.microsoft.com/office/drawing/2017/decorative" val="1"/>
              </a:ext>
            </a:extLst>
          </p:cNvPr>
          <p:cNvGrpSpPr/>
          <p:nvPr/>
        </p:nvGrpSpPr>
        <p:grpSpPr>
          <a:xfrm>
            <a:off x="2684109" y="5711401"/>
            <a:ext cx="685800" cy="685800"/>
            <a:chOff x="11028786" y="2241157"/>
            <a:chExt cx="295275" cy="381000"/>
          </a:xfr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grpSpPr>
        <p:sp>
          <p:nvSpPr>
            <p:cNvPr id="45" name="Freeform: Shape 44">
              <a:extLst>
                <a:ext uri="{FF2B5EF4-FFF2-40B4-BE49-F238E27FC236}">
                  <a16:creationId xmlns:a16="http://schemas.microsoft.com/office/drawing/2014/main" id="{E43CC091-2212-105B-6516-D57A294FF65B}"/>
                </a:ext>
              </a:extLst>
            </p:cNvPr>
            <p:cNvSpPr/>
            <p:nvPr/>
          </p:nvSpPr>
          <p:spPr>
            <a:xfrm>
              <a:off x="11028786" y="2241157"/>
              <a:ext cx="295275" cy="381000"/>
            </a:xfrm>
            <a:custGeom>
              <a:avLst/>
              <a:gdLst>
                <a:gd name="connsiteX0" fmla="*/ 28575 w 295275"/>
                <a:gd name="connsiteY0" fmla="*/ 352425 h 381000"/>
                <a:gd name="connsiteX1" fmla="*/ 28575 w 295275"/>
                <a:gd name="connsiteY1" fmla="*/ 28575 h 381000"/>
                <a:gd name="connsiteX2" fmla="*/ 147638 w 295275"/>
                <a:gd name="connsiteY2" fmla="*/ 28575 h 381000"/>
                <a:gd name="connsiteX3" fmla="*/ 147638 w 295275"/>
                <a:gd name="connsiteY3" fmla="*/ 128588 h 381000"/>
                <a:gd name="connsiteX4" fmla="*/ 266700 w 295275"/>
                <a:gd name="connsiteY4" fmla="*/ 128588 h 381000"/>
                <a:gd name="connsiteX5" fmla="*/ 266700 w 295275"/>
                <a:gd name="connsiteY5" fmla="*/ 352425 h 381000"/>
                <a:gd name="connsiteX6" fmla="*/ 28575 w 295275"/>
                <a:gd name="connsiteY6" fmla="*/ 352425 h 381000"/>
                <a:gd name="connsiteX7" fmla="*/ 176213 w 295275"/>
                <a:gd name="connsiteY7" fmla="*/ 40481 h 381000"/>
                <a:gd name="connsiteX8" fmla="*/ 235744 w 295275"/>
                <a:gd name="connsiteY8" fmla="*/ 100013 h 381000"/>
                <a:gd name="connsiteX9" fmla="*/ 176213 w 295275"/>
                <a:gd name="connsiteY9" fmla="*/ 100013 h 381000"/>
                <a:gd name="connsiteX10" fmla="*/ 176213 w 295275"/>
                <a:gd name="connsiteY10" fmla="*/ 40481 h 381000"/>
                <a:gd name="connsiteX11" fmla="*/ 176213 w 295275"/>
                <a:gd name="connsiteY11" fmla="*/ 0 h 381000"/>
                <a:gd name="connsiteX12" fmla="*/ 0 w 295275"/>
                <a:gd name="connsiteY12" fmla="*/ 0 h 381000"/>
                <a:gd name="connsiteX13" fmla="*/ 0 w 295275"/>
                <a:gd name="connsiteY13" fmla="*/ 381000 h 381000"/>
                <a:gd name="connsiteX14" fmla="*/ 295275 w 295275"/>
                <a:gd name="connsiteY14" fmla="*/ 381000 h 381000"/>
                <a:gd name="connsiteX15" fmla="*/ 295275 w 295275"/>
                <a:gd name="connsiteY15" fmla="*/ 104775 h 381000"/>
                <a:gd name="connsiteX16" fmla="*/ 176213 w 295275"/>
                <a:gd name="connsiteY16"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5275" h="381000">
                  <a:moveTo>
                    <a:pt x="28575" y="352425"/>
                  </a:moveTo>
                  <a:lnTo>
                    <a:pt x="28575" y="28575"/>
                  </a:lnTo>
                  <a:lnTo>
                    <a:pt x="147638" y="28575"/>
                  </a:lnTo>
                  <a:lnTo>
                    <a:pt x="147638" y="128588"/>
                  </a:lnTo>
                  <a:lnTo>
                    <a:pt x="266700" y="128588"/>
                  </a:lnTo>
                  <a:lnTo>
                    <a:pt x="266700" y="352425"/>
                  </a:lnTo>
                  <a:lnTo>
                    <a:pt x="28575" y="352425"/>
                  </a:lnTo>
                  <a:close/>
                  <a:moveTo>
                    <a:pt x="176213" y="40481"/>
                  </a:moveTo>
                  <a:lnTo>
                    <a:pt x="235744" y="100013"/>
                  </a:lnTo>
                  <a:lnTo>
                    <a:pt x="176213" y="100013"/>
                  </a:lnTo>
                  <a:lnTo>
                    <a:pt x="176213" y="40481"/>
                  </a:lnTo>
                  <a:close/>
                  <a:moveTo>
                    <a:pt x="176213" y="0"/>
                  </a:moveTo>
                  <a:lnTo>
                    <a:pt x="0" y="0"/>
                  </a:lnTo>
                  <a:lnTo>
                    <a:pt x="0" y="381000"/>
                  </a:lnTo>
                  <a:lnTo>
                    <a:pt x="295275" y="381000"/>
                  </a:lnTo>
                  <a:lnTo>
                    <a:pt x="295275" y="104775"/>
                  </a:lnTo>
                  <a:lnTo>
                    <a:pt x="176213" y="0"/>
                  </a:lnTo>
                  <a:close/>
                </a:path>
              </a:pathLst>
            </a:custGeom>
            <a:grp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6" name="Freeform: Shape 45">
              <a:extLst>
                <a:ext uri="{FF2B5EF4-FFF2-40B4-BE49-F238E27FC236}">
                  <a16:creationId xmlns:a16="http://schemas.microsoft.com/office/drawing/2014/main" id="{A785EFB3-24E4-5FDE-151E-656F7AE85B1E}"/>
                </a:ext>
              </a:extLst>
            </p:cNvPr>
            <p:cNvSpPr/>
            <p:nvPr/>
          </p:nvSpPr>
          <p:spPr>
            <a:xfrm>
              <a:off x="11085936" y="24173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grp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8" name="Freeform: Shape 47">
              <a:extLst>
                <a:ext uri="{FF2B5EF4-FFF2-40B4-BE49-F238E27FC236}">
                  <a16:creationId xmlns:a16="http://schemas.microsoft.com/office/drawing/2014/main" id="{95D5690D-89A8-475F-C8AF-5878C38A05E8}"/>
                </a:ext>
              </a:extLst>
            </p:cNvPr>
            <p:cNvSpPr/>
            <p:nvPr/>
          </p:nvSpPr>
          <p:spPr>
            <a:xfrm>
              <a:off x="11085936" y="24554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grp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9" name="Freeform: Shape 48">
              <a:extLst>
                <a:ext uri="{FF2B5EF4-FFF2-40B4-BE49-F238E27FC236}">
                  <a16:creationId xmlns:a16="http://schemas.microsoft.com/office/drawing/2014/main" id="{87332A52-C63B-1A33-B841-86C418F9001E}"/>
                </a:ext>
              </a:extLst>
            </p:cNvPr>
            <p:cNvSpPr/>
            <p:nvPr/>
          </p:nvSpPr>
          <p:spPr>
            <a:xfrm>
              <a:off x="11085936" y="24935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grp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sp>
          <p:nvSpPr>
            <p:cNvPr id="50" name="Freeform: Shape 49">
              <a:extLst>
                <a:ext uri="{FF2B5EF4-FFF2-40B4-BE49-F238E27FC236}">
                  <a16:creationId xmlns:a16="http://schemas.microsoft.com/office/drawing/2014/main" id="{0A9F4779-DF2F-FFD7-1C79-3E1CE8812702}"/>
                </a:ext>
              </a:extLst>
            </p:cNvPr>
            <p:cNvSpPr/>
            <p:nvPr/>
          </p:nvSpPr>
          <p:spPr>
            <a:xfrm>
              <a:off x="11085936" y="25316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grp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50E6FF"/>
                </a:solidFill>
                <a:effectLst/>
                <a:uLnTx/>
                <a:uFillTx/>
                <a:latin typeface="Segoe UI Semibold"/>
                <a:ea typeface="+mn-ea"/>
                <a:cs typeface="+mn-cs"/>
              </a:endParaRPr>
            </a:p>
          </p:txBody>
        </p:sp>
      </p:grpSp>
      <p:sp>
        <p:nvSpPr>
          <p:cNvPr id="51" name="TextBox 50">
            <a:extLst>
              <a:ext uri="{FF2B5EF4-FFF2-40B4-BE49-F238E27FC236}">
                <a16:creationId xmlns:a16="http://schemas.microsoft.com/office/drawing/2014/main" id="{72EC0210-06E5-67EE-616C-A43FCCBEB683}"/>
              </a:ext>
            </a:extLst>
          </p:cNvPr>
          <p:cNvSpPr txBox="1"/>
          <p:nvPr/>
        </p:nvSpPr>
        <p:spPr>
          <a:xfrm>
            <a:off x="2684109" y="2412148"/>
            <a:ext cx="8763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3.4MB</a:t>
            </a:r>
          </a:p>
        </p:txBody>
      </p:sp>
      <p:sp>
        <p:nvSpPr>
          <p:cNvPr id="52" name="TextBox 51">
            <a:extLst>
              <a:ext uri="{FF2B5EF4-FFF2-40B4-BE49-F238E27FC236}">
                <a16:creationId xmlns:a16="http://schemas.microsoft.com/office/drawing/2014/main" id="{4C0EA1A6-BCC9-338F-68D1-90F513088DBF}"/>
              </a:ext>
            </a:extLst>
          </p:cNvPr>
          <p:cNvSpPr txBox="1"/>
          <p:nvPr/>
        </p:nvSpPr>
        <p:spPr>
          <a:xfrm>
            <a:off x="2684109" y="3728326"/>
            <a:ext cx="8763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4.1MB</a:t>
            </a:r>
          </a:p>
        </p:txBody>
      </p:sp>
      <p:sp>
        <p:nvSpPr>
          <p:cNvPr id="53" name="TextBox 52">
            <a:extLst>
              <a:ext uri="{FF2B5EF4-FFF2-40B4-BE49-F238E27FC236}">
                <a16:creationId xmlns:a16="http://schemas.microsoft.com/office/drawing/2014/main" id="{3D9A3E43-C837-316E-A216-C2025F23F10C}"/>
              </a:ext>
            </a:extLst>
          </p:cNvPr>
          <p:cNvSpPr txBox="1"/>
          <p:nvPr/>
        </p:nvSpPr>
        <p:spPr>
          <a:xfrm>
            <a:off x="2708345" y="4968632"/>
            <a:ext cx="876300"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1.1GB</a:t>
            </a:r>
          </a:p>
        </p:txBody>
      </p:sp>
      <p:cxnSp>
        <p:nvCxnSpPr>
          <p:cNvPr id="55" name="Straight Arrow Connector 54">
            <a:extLst>
              <a:ext uri="{FF2B5EF4-FFF2-40B4-BE49-F238E27FC236}">
                <a16:creationId xmlns:a16="http://schemas.microsoft.com/office/drawing/2014/main" id="{F6A7F676-DBA6-8829-410A-6F53BDE46F7F}"/>
              </a:ext>
              <a:ext uri="{C183D7F6-B498-43B3-948B-1728B52AA6E4}">
                <adec:decorative xmlns:adec="http://schemas.microsoft.com/office/drawing/2017/decorative" val="1"/>
              </a:ext>
            </a:extLst>
          </p:cNvPr>
          <p:cNvCxnSpPr>
            <a:cxnSpLocks/>
          </p:cNvCxnSpPr>
          <p:nvPr/>
        </p:nvCxnSpPr>
        <p:spPr>
          <a:xfrm>
            <a:off x="4500987" y="2682167"/>
            <a:ext cx="3648075" cy="741410"/>
          </a:xfrm>
          <a:prstGeom prst="straightConnector1">
            <a:avLst/>
          </a:prstGeom>
          <a:ln>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57" name="Straight Arrow Connector 56">
            <a:extLst>
              <a:ext uri="{FF2B5EF4-FFF2-40B4-BE49-F238E27FC236}">
                <a16:creationId xmlns:a16="http://schemas.microsoft.com/office/drawing/2014/main" id="{BDF0654E-E3C0-91BC-3B26-C26C887080E9}"/>
              </a:ext>
              <a:ext uri="{C183D7F6-B498-43B3-948B-1728B52AA6E4}">
                <adec:decorative xmlns:adec="http://schemas.microsoft.com/office/drawing/2017/decorative" val="1"/>
              </a:ext>
            </a:extLst>
          </p:cNvPr>
          <p:cNvCxnSpPr>
            <a:cxnSpLocks/>
          </p:cNvCxnSpPr>
          <p:nvPr/>
        </p:nvCxnSpPr>
        <p:spPr>
          <a:xfrm flipV="1">
            <a:off x="4485183" y="3728326"/>
            <a:ext cx="3663879" cy="3028"/>
          </a:xfrm>
          <a:prstGeom prst="straightConnector1">
            <a:avLst/>
          </a:prstGeom>
          <a:ln>
            <a:headEnd type="none" w="lg" len="med"/>
            <a:tailEnd type="triangle"/>
          </a:ln>
        </p:spPr>
        <p:style>
          <a:lnRef idx="1">
            <a:schemeClr val="accent6"/>
          </a:lnRef>
          <a:fillRef idx="0">
            <a:schemeClr val="accent6"/>
          </a:fillRef>
          <a:effectRef idx="0">
            <a:schemeClr val="accent6"/>
          </a:effectRef>
          <a:fontRef idx="minor">
            <a:schemeClr val="tx1"/>
          </a:fontRef>
        </p:style>
      </p:cxnSp>
      <p:cxnSp>
        <p:nvCxnSpPr>
          <p:cNvPr id="59" name="Straight Arrow Connector 58">
            <a:extLst>
              <a:ext uri="{FF2B5EF4-FFF2-40B4-BE49-F238E27FC236}">
                <a16:creationId xmlns:a16="http://schemas.microsoft.com/office/drawing/2014/main" id="{A4876127-CEEB-B635-1FD3-3C9265AA3309}"/>
              </a:ext>
              <a:ext uri="{C183D7F6-B498-43B3-948B-1728B52AA6E4}">
                <adec:decorative xmlns:adec="http://schemas.microsoft.com/office/drawing/2017/decorative" val="1"/>
              </a:ext>
            </a:extLst>
          </p:cNvPr>
          <p:cNvCxnSpPr>
            <a:cxnSpLocks/>
          </p:cNvCxnSpPr>
          <p:nvPr/>
        </p:nvCxnSpPr>
        <p:spPr>
          <a:xfrm flipV="1">
            <a:off x="4485182" y="4036103"/>
            <a:ext cx="3663880" cy="1097481"/>
          </a:xfrm>
          <a:prstGeom prst="straightConnector1">
            <a:avLst/>
          </a:prstGeom>
          <a:ln>
            <a:headEnd type="none" w="lg" len="med"/>
            <a:tailEnd type="triangle"/>
          </a:ln>
        </p:spPr>
        <p:style>
          <a:lnRef idx="1">
            <a:schemeClr val="accent6"/>
          </a:lnRef>
          <a:fillRef idx="0">
            <a:schemeClr val="accent6"/>
          </a:fillRef>
          <a:effectRef idx="0">
            <a:schemeClr val="accent6"/>
          </a:effectRef>
          <a:fontRef idx="minor">
            <a:schemeClr val="tx1"/>
          </a:fontRef>
        </p:style>
      </p:cxnSp>
      <p:sp>
        <p:nvSpPr>
          <p:cNvPr id="63" name="TextBox 62">
            <a:extLst>
              <a:ext uri="{FF2B5EF4-FFF2-40B4-BE49-F238E27FC236}">
                <a16:creationId xmlns:a16="http://schemas.microsoft.com/office/drawing/2014/main" id="{8A48AD0F-6341-98F6-8816-4F5ED748E247}"/>
              </a:ext>
            </a:extLst>
          </p:cNvPr>
          <p:cNvSpPr txBox="1"/>
          <p:nvPr/>
        </p:nvSpPr>
        <p:spPr>
          <a:xfrm>
            <a:off x="8149062" y="3174963"/>
            <a:ext cx="1315566" cy="130189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0.1912</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0.4123</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 . .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0.9128</a:t>
            </a:r>
          </a:p>
        </p:txBody>
      </p:sp>
    </p:spTree>
    <p:extLst>
      <p:ext uri="{BB962C8B-B14F-4D97-AF65-F5344CB8AC3E}">
        <p14:creationId xmlns:p14="http://schemas.microsoft.com/office/powerpoint/2010/main" val="414310246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624229" y="511970"/>
            <a:ext cx="11306469" cy="753796"/>
          </a:xfrm>
        </p:spPr>
        <p:txBody>
          <a:bodyPr/>
          <a:lstStyle/>
          <a:p>
            <a:r>
              <a:rPr lang="en-US" sz="3200">
                <a:solidFill>
                  <a:schemeClr val="bg1"/>
                </a:solidFill>
                <a:cs typeface="Segoe UI"/>
              </a:rPr>
              <a:t>Find relevant objects with embeddings</a:t>
            </a:r>
            <a:br>
              <a:rPr lang="en-US" sz="2700"/>
            </a:br>
            <a:r>
              <a:rPr lang="en-US" sz="2000">
                <a:solidFill>
                  <a:schemeClr val="accent5"/>
                </a:solidFill>
                <a:cs typeface="Segoe UI"/>
              </a:rPr>
              <a:t>Convert data vectors (embeddings) and find the most similar objects according to metric</a:t>
            </a:r>
            <a:endParaRPr lang="en-US">
              <a:solidFill>
                <a:schemeClr val="accent5"/>
              </a:solidFill>
            </a:endParaRPr>
          </a:p>
        </p:txBody>
      </p:sp>
      <p:grpSp>
        <p:nvGrpSpPr>
          <p:cNvPr id="8" name="Group 7" descr="Vector search process diagram&#10;">
            <a:extLst>
              <a:ext uri="{FF2B5EF4-FFF2-40B4-BE49-F238E27FC236}">
                <a16:creationId xmlns:a16="http://schemas.microsoft.com/office/drawing/2014/main" id="{ACE2E083-4B6C-A518-B771-1D172605F959}"/>
              </a:ext>
            </a:extLst>
          </p:cNvPr>
          <p:cNvGrpSpPr/>
          <p:nvPr/>
        </p:nvGrpSpPr>
        <p:grpSpPr>
          <a:xfrm>
            <a:off x="386772" y="1406406"/>
            <a:ext cx="11644675" cy="4801319"/>
            <a:chOff x="386772" y="1406406"/>
            <a:chExt cx="11644675" cy="4801319"/>
          </a:xfrm>
        </p:grpSpPr>
        <p:sp>
          <p:nvSpPr>
            <p:cNvPr id="50" name="TextBox 49">
              <a:extLst>
                <a:ext uri="{FF2B5EF4-FFF2-40B4-BE49-F238E27FC236}">
                  <a16:creationId xmlns:a16="http://schemas.microsoft.com/office/drawing/2014/main" id="{67EDE45B-08C1-DACF-B77E-FDAF6477FA0D}"/>
                </a:ext>
              </a:extLst>
            </p:cNvPr>
            <p:cNvSpPr txBox="1"/>
            <p:nvPr/>
          </p:nvSpPr>
          <p:spPr>
            <a:xfrm>
              <a:off x="10030277" y="1483579"/>
              <a:ext cx="2001170"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App/UX</a:t>
              </a:r>
            </a:p>
          </p:txBody>
        </p:sp>
        <p:grpSp>
          <p:nvGrpSpPr>
            <p:cNvPr id="4" name="Group 3">
              <a:extLst>
                <a:ext uri="{FF2B5EF4-FFF2-40B4-BE49-F238E27FC236}">
                  <a16:creationId xmlns:a16="http://schemas.microsoft.com/office/drawing/2014/main" id="{F56CC048-E8C7-94FC-AA90-122326957E5A}"/>
                </a:ext>
              </a:extLst>
            </p:cNvPr>
            <p:cNvGrpSpPr/>
            <p:nvPr/>
          </p:nvGrpSpPr>
          <p:grpSpPr>
            <a:xfrm>
              <a:off x="386772" y="1406406"/>
              <a:ext cx="10301288" cy="4200497"/>
              <a:chOff x="367957" y="1434628"/>
              <a:chExt cx="10301288" cy="4200497"/>
            </a:xfrm>
          </p:grpSpPr>
          <p:grpSp>
            <p:nvGrpSpPr>
              <p:cNvPr id="31" name="Group 30">
                <a:extLst>
                  <a:ext uri="{FF2B5EF4-FFF2-40B4-BE49-F238E27FC236}">
                    <a16:creationId xmlns:a16="http://schemas.microsoft.com/office/drawing/2014/main" id="{0596C936-6879-79B5-68D5-9AFF043A0402}"/>
                  </a:ext>
                </a:extLst>
              </p:cNvPr>
              <p:cNvGrpSpPr/>
              <p:nvPr/>
            </p:nvGrpSpPr>
            <p:grpSpPr>
              <a:xfrm>
                <a:off x="367957" y="1822282"/>
                <a:ext cx="1179328" cy="721700"/>
                <a:chOff x="367957" y="1822282"/>
                <a:chExt cx="1179328" cy="721700"/>
              </a:xfrm>
            </p:grpSpPr>
            <p:pic>
              <p:nvPicPr>
                <p:cNvPr id="17" name="Graphic 16" descr="Images with solid fill">
                  <a:extLst>
                    <a:ext uri="{FF2B5EF4-FFF2-40B4-BE49-F238E27FC236}">
                      <a16:creationId xmlns:a16="http://schemas.microsoft.com/office/drawing/2014/main" id="{F499A0ED-3CEC-0B2F-EB35-4864B936D1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9021" y="1822282"/>
                  <a:ext cx="457200" cy="457200"/>
                </a:xfrm>
                <a:prstGeom prst="rect">
                  <a:avLst/>
                </a:prstGeom>
              </p:spPr>
            </p:pic>
            <p:sp>
              <p:nvSpPr>
                <p:cNvPr id="36" name="TextBox 35">
                  <a:extLst>
                    <a:ext uri="{FF2B5EF4-FFF2-40B4-BE49-F238E27FC236}">
                      <a16:creationId xmlns:a16="http://schemas.microsoft.com/office/drawing/2014/main" id="{C5F322FA-8495-4C31-7D17-77D77E8C0C1A}"/>
                    </a:ext>
                  </a:extLst>
                </p:cNvPr>
                <p:cNvSpPr txBox="1"/>
                <p:nvPr/>
              </p:nvSpPr>
              <p:spPr>
                <a:xfrm>
                  <a:off x="367957" y="2285450"/>
                  <a:ext cx="1179328"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Images</a:t>
                  </a:r>
                </a:p>
              </p:txBody>
            </p:sp>
          </p:grpSp>
          <p:grpSp>
            <p:nvGrpSpPr>
              <p:cNvPr id="34" name="Group 33">
                <a:extLst>
                  <a:ext uri="{FF2B5EF4-FFF2-40B4-BE49-F238E27FC236}">
                    <a16:creationId xmlns:a16="http://schemas.microsoft.com/office/drawing/2014/main" id="{E09505DC-A6D8-8D16-002C-C6E822BF9D71}"/>
                  </a:ext>
                </a:extLst>
              </p:cNvPr>
              <p:cNvGrpSpPr/>
              <p:nvPr/>
            </p:nvGrpSpPr>
            <p:grpSpPr>
              <a:xfrm>
                <a:off x="396179" y="2691721"/>
                <a:ext cx="1179328" cy="700068"/>
                <a:chOff x="396179" y="2556450"/>
                <a:chExt cx="1179328" cy="700068"/>
              </a:xfrm>
            </p:grpSpPr>
            <p:pic>
              <p:nvPicPr>
                <p:cNvPr id="25" name="Graphic 24" descr="Headphones with solid fill">
                  <a:extLst>
                    <a:ext uri="{FF2B5EF4-FFF2-40B4-BE49-F238E27FC236}">
                      <a16:creationId xmlns:a16="http://schemas.microsoft.com/office/drawing/2014/main" id="{B3153CFC-D80F-66FE-519D-EA65D2A419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9021" y="2556450"/>
                  <a:ext cx="457200" cy="457200"/>
                </a:xfrm>
                <a:prstGeom prst="rect">
                  <a:avLst/>
                </a:prstGeom>
              </p:spPr>
            </p:pic>
            <p:sp>
              <p:nvSpPr>
                <p:cNvPr id="40" name="TextBox 39">
                  <a:extLst>
                    <a:ext uri="{FF2B5EF4-FFF2-40B4-BE49-F238E27FC236}">
                      <a16:creationId xmlns:a16="http://schemas.microsoft.com/office/drawing/2014/main" id="{6D75B2FF-E501-C48E-DF32-D673B473EAB6}"/>
                    </a:ext>
                  </a:extLst>
                </p:cNvPr>
                <p:cNvSpPr txBox="1"/>
                <p:nvPr/>
              </p:nvSpPr>
              <p:spPr>
                <a:xfrm>
                  <a:off x="396179" y="2997986"/>
                  <a:ext cx="1179328"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Audio</a:t>
                  </a:r>
                </a:p>
              </p:txBody>
            </p:sp>
          </p:grpSp>
          <p:grpSp>
            <p:nvGrpSpPr>
              <p:cNvPr id="35" name="Group 34">
                <a:extLst>
                  <a:ext uri="{FF2B5EF4-FFF2-40B4-BE49-F238E27FC236}">
                    <a16:creationId xmlns:a16="http://schemas.microsoft.com/office/drawing/2014/main" id="{32329125-A187-CA2B-8928-F785B995B799}"/>
                  </a:ext>
                </a:extLst>
              </p:cNvPr>
              <p:cNvGrpSpPr/>
              <p:nvPr/>
            </p:nvGrpSpPr>
            <p:grpSpPr>
              <a:xfrm>
                <a:off x="367957" y="3931691"/>
                <a:ext cx="1179328" cy="693609"/>
                <a:chOff x="367957" y="3548787"/>
                <a:chExt cx="1179328" cy="693609"/>
              </a:xfrm>
            </p:grpSpPr>
            <p:pic>
              <p:nvPicPr>
                <p:cNvPr id="23" name="Graphic 22" descr="Video camera with solid fill">
                  <a:extLst>
                    <a:ext uri="{FF2B5EF4-FFF2-40B4-BE49-F238E27FC236}">
                      <a16:creationId xmlns:a16="http://schemas.microsoft.com/office/drawing/2014/main" id="{423B6F60-8BA0-FBF6-8475-DFEBCE5E6A1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021" y="3548787"/>
                  <a:ext cx="457200" cy="457200"/>
                </a:xfrm>
                <a:prstGeom prst="rect">
                  <a:avLst/>
                </a:prstGeom>
              </p:spPr>
            </p:pic>
            <p:sp>
              <p:nvSpPr>
                <p:cNvPr id="41" name="TextBox 40">
                  <a:extLst>
                    <a:ext uri="{FF2B5EF4-FFF2-40B4-BE49-F238E27FC236}">
                      <a16:creationId xmlns:a16="http://schemas.microsoft.com/office/drawing/2014/main" id="{01BF1E58-FB48-4282-F756-FD7AC83950E1}"/>
                    </a:ext>
                  </a:extLst>
                </p:cNvPr>
                <p:cNvSpPr txBox="1"/>
                <p:nvPr/>
              </p:nvSpPr>
              <p:spPr>
                <a:xfrm>
                  <a:off x="367957" y="3983864"/>
                  <a:ext cx="1179328"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Video</a:t>
                  </a:r>
                </a:p>
              </p:txBody>
            </p:sp>
          </p:grpSp>
          <p:grpSp>
            <p:nvGrpSpPr>
              <p:cNvPr id="38" name="Group 37">
                <a:extLst>
                  <a:ext uri="{FF2B5EF4-FFF2-40B4-BE49-F238E27FC236}">
                    <a16:creationId xmlns:a16="http://schemas.microsoft.com/office/drawing/2014/main" id="{B000C3D3-0A72-6FF0-4FB8-D1A239E4E08B}"/>
                  </a:ext>
                </a:extLst>
              </p:cNvPr>
              <p:cNvGrpSpPr/>
              <p:nvPr/>
            </p:nvGrpSpPr>
            <p:grpSpPr>
              <a:xfrm>
                <a:off x="367957" y="4932964"/>
                <a:ext cx="1179328" cy="702161"/>
                <a:chOff x="367957" y="4540633"/>
                <a:chExt cx="1179328" cy="702161"/>
              </a:xfrm>
            </p:grpSpPr>
            <p:pic>
              <p:nvPicPr>
                <p:cNvPr id="30" name="Graphic 29" descr="Chat bubble with solid fill">
                  <a:extLst>
                    <a:ext uri="{FF2B5EF4-FFF2-40B4-BE49-F238E27FC236}">
                      <a16:creationId xmlns:a16="http://schemas.microsoft.com/office/drawing/2014/main" id="{E6A26AE3-DF15-C7BC-EAA0-D9B90012249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8660" y="4540633"/>
                  <a:ext cx="457200" cy="457200"/>
                </a:xfrm>
                <a:prstGeom prst="rect">
                  <a:avLst/>
                </a:prstGeom>
              </p:spPr>
            </p:pic>
            <p:sp>
              <p:nvSpPr>
                <p:cNvPr id="42" name="TextBox 41">
                  <a:extLst>
                    <a:ext uri="{FF2B5EF4-FFF2-40B4-BE49-F238E27FC236}">
                      <a16:creationId xmlns:a16="http://schemas.microsoft.com/office/drawing/2014/main" id="{71EB2C12-CA80-269C-09EF-2047C37E452E}"/>
                    </a:ext>
                  </a:extLst>
                </p:cNvPr>
                <p:cNvSpPr txBox="1"/>
                <p:nvPr/>
              </p:nvSpPr>
              <p:spPr>
                <a:xfrm>
                  <a:off x="367957" y="4984262"/>
                  <a:ext cx="1179328"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Text</a:t>
                  </a:r>
                </a:p>
              </p:txBody>
            </p:sp>
          </p:grpSp>
          <p:sp>
            <p:nvSpPr>
              <p:cNvPr id="44" name="TextBox 43">
                <a:extLst>
                  <a:ext uri="{FF2B5EF4-FFF2-40B4-BE49-F238E27FC236}">
                    <a16:creationId xmlns:a16="http://schemas.microsoft.com/office/drawing/2014/main" id="{068E2C11-470F-7CE7-2892-7EE887C25A8F}"/>
                  </a:ext>
                </a:extLst>
              </p:cNvPr>
              <p:cNvSpPr txBox="1"/>
              <p:nvPr/>
            </p:nvSpPr>
            <p:spPr>
              <a:xfrm>
                <a:off x="1186221" y="3454703"/>
                <a:ext cx="2001170" cy="4247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Transform using embedding model</a:t>
                </a:r>
              </a:p>
            </p:txBody>
          </p:sp>
          <p:sp>
            <p:nvSpPr>
              <p:cNvPr id="45" name="TextBox 44">
                <a:extLst>
                  <a:ext uri="{FF2B5EF4-FFF2-40B4-BE49-F238E27FC236}">
                    <a16:creationId xmlns:a16="http://schemas.microsoft.com/office/drawing/2014/main" id="{09831685-74FC-DEE1-362E-93DF9E5FA51D}"/>
                  </a:ext>
                </a:extLst>
              </p:cNvPr>
              <p:cNvSpPr txBox="1"/>
              <p:nvPr/>
            </p:nvSpPr>
            <p:spPr>
              <a:xfrm>
                <a:off x="3304730" y="1434628"/>
                <a:ext cx="1511355" cy="480131"/>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Vector</a:t>
                </a: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 </a:t>
                </a: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Representation</a:t>
                </a:r>
              </a:p>
            </p:txBody>
          </p:sp>
          <p:sp>
            <p:nvSpPr>
              <p:cNvPr id="46" name="TextBox 45">
                <a:extLst>
                  <a:ext uri="{FF2B5EF4-FFF2-40B4-BE49-F238E27FC236}">
                    <a16:creationId xmlns:a16="http://schemas.microsoft.com/office/drawing/2014/main" id="{878C28CB-AA64-1116-9002-86A0FAE1071F}"/>
                  </a:ext>
                </a:extLst>
              </p:cNvPr>
              <p:cNvSpPr txBox="1"/>
              <p:nvPr/>
            </p:nvSpPr>
            <p:spPr>
              <a:xfrm>
                <a:off x="5182562" y="1488302"/>
                <a:ext cx="2001170" cy="2862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Vector index</a:t>
                </a:r>
              </a:p>
            </p:txBody>
          </p:sp>
          <p:sp>
            <p:nvSpPr>
              <p:cNvPr id="48" name="TextBox 47">
                <a:extLst>
                  <a:ext uri="{FF2B5EF4-FFF2-40B4-BE49-F238E27FC236}">
                    <a16:creationId xmlns:a16="http://schemas.microsoft.com/office/drawing/2014/main" id="{EBDE1E08-0A37-34CF-8886-F6AE03257850}"/>
                  </a:ext>
                </a:extLst>
              </p:cNvPr>
              <p:cNvSpPr txBox="1"/>
              <p:nvPr/>
            </p:nvSpPr>
            <p:spPr>
              <a:xfrm>
                <a:off x="7223436" y="1492300"/>
                <a:ext cx="1594715" cy="480131"/>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Vector</a:t>
                </a: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 </a:t>
                </a: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Representation</a:t>
                </a:r>
              </a:p>
            </p:txBody>
          </p:sp>
          <p:sp>
            <p:nvSpPr>
              <p:cNvPr id="49" name="TextBox 48">
                <a:extLst>
                  <a:ext uri="{FF2B5EF4-FFF2-40B4-BE49-F238E27FC236}">
                    <a16:creationId xmlns:a16="http://schemas.microsoft.com/office/drawing/2014/main" id="{01785D83-3946-8CB8-7148-B852ACFF12A1}"/>
                  </a:ext>
                </a:extLst>
              </p:cNvPr>
              <p:cNvSpPr txBox="1"/>
              <p:nvPr/>
            </p:nvSpPr>
            <p:spPr>
              <a:xfrm>
                <a:off x="9353679" y="3416955"/>
                <a:ext cx="1315566" cy="590931"/>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Transform using embedding model</a:t>
                </a:r>
              </a:p>
            </p:txBody>
          </p:sp>
          <p:grpSp>
            <p:nvGrpSpPr>
              <p:cNvPr id="55" name="Group 54" descr="Search icon in a cloud.">
                <a:extLst>
                  <a:ext uri="{FF2B5EF4-FFF2-40B4-BE49-F238E27FC236}">
                    <a16:creationId xmlns:a16="http://schemas.microsoft.com/office/drawing/2014/main" id="{B872CB7B-BC34-2129-AB64-1B347A4DC824}"/>
                  </a:ext>
                </a:extLst>
              </p:cNvPr>
              <p:cNvGrpSpPr>
                <a:grpSpLocks noChangeAspect="1"/>
              </p:cNvGrpSpPr>
              <p:nvPr/>
            </p:nvGrpSpPr>
            <p:grpSpPr>
              <a:xfrm>
                <a:off x="5759955" y="2825741"/>
                <a:ext cx="640080" cy="381274"/>
                <a:chOff x="-2437247" y="4728580"/>
                <a:chExt cx="1399516" cy="828273"/>
              </a:xfrm>
            </p:grpSpPr>
            <p:sp>
              <p:nvSpPr>
                <p:cNvPr id="56" name="Freeform: Shape 55">
                  <a:extLst>
                    <a:ext uri="{FF2B5EF4-FFF2-40B4-BE49-F238E27FC236}">
                      <a16:creationId xmlns:a16="http://schemas.microsoft.com/office/drawing/2014/main" id="{38E0BC4B-FA58-8BAA-7DF4-8DF95F8143EA}"/>
                    </a:ext>
                    <a:ext uri="{C183D7F6-B498-43B3-948B-1728B52AA6E4}">
                      <adec:decorative xmlns:adec="http://schemas.microsoft.com/office/drawing/2017/decorative" val="1"/>
                    </a:ext>
                  </a:extLst>
                </p:cNvPr>
                <p:cNvSpPr>
                  <a:spLocks noChangeArrowheads="1"/>
                </p:cNvSpPr>
                <p:nvPr/>
              </p:nvSpPr>
              <p:spPr bwMode="auto">
                <a:xfrm>
                  <a:off x="-2437247" y="4728580"/>
                  <a:ext cx="1399516" cy="828273"/>
                </a:xfrm>
                <a:custGeom>
                  <a:avLst/>
                  <a:gdLst>
                    <a:gd name="connsiteX0" fmla="*/ 564093 w 1399516"/>
                    <a:gd name="connsiteY0" fmla="*/ 0 h 828272"/>
                    <a:gd name="connsiteX1" fmla="*/ 861986 w 1399516"/>
                    <a:gd name="connsiteY1" fmla="*/ 121298 h 828272"/>
                    <a:gd name="connsiteX2" fmla="*/ 892246 w 1399516"/>
                    <a:gd name="connsiteY2" fmla="*/ 157351 h 828272"/>
                    <a:gd name="connsiteX3" fmla="*/ 922109 w 1399516"/>
                    <a:gd name="connsiteY3" fmla="*/ 148319 h 828272"/>
                    <a:gd name="connsiteX4" fmla="*/ 978232 w 1399516"/>
                    <a:gd name="connsiteY4" fmla="*/ 142806 h 828272"/>
                    <a:gd name="connsiteX5" fmla="*/ 1256710 w 1399516"/>
                    <a:gd name="connsiteY5" fmla="*/ 414137 h 828272"/>
                    <a:gd name="connsiteX6" fmla="*/ 1235997 w 1399516"/>
                    <a:gd name="connsiteY6" fmla="*/ 514100 h 828272"/>
                    <a:gd name="connsiteX7" fmla="*/ 1238055 w 1399516"/>
                    <a:gd name="connsiteY7" fmla="*/ 514100 h 828272"/>
                    <a:gd name="connsiteX8" fmla="*/ 1242193 w 1399516"/>
                    <a:gd name="connsiteY8" fmla="*/ 514100 h 828272"/>
                    <a:gd name="connsiteX9" fmla="*/ 1399516 w 1399516"/>
                    <a:gd name="connsiteY9" fmla="*/ 671186 h 828272"/>
                    <a:gd name="connsiteX10" fmla="*/ 1242193 w 1399516"/>
                    <a:gd name="connsiteY10" fmla="*/ 828272 h 828272"/>
                    <a:gd name="connsiteX11" fmla="*/ 615003 w 1399516"/>
                    <a:gd name="connsiteY11" fmla="*/ 828272 h 828272"/>
                    <a:gd name="connsiteX12" fmla="*/ 564093 w 1399516"/>
                    <a:gd name="connsiteY12" fmla="*/ 828272 h 828272"/>
                    <a:gd name="connsiteX13" fmla="*/ 509853 w 1399516"/>
                    <a:gd name="connsiteY13" fmla="*/ 828272 h 828272"/>
                    <a:gd name="connsiteX14" fmla="*/ 157323 w 1399516"/>
                    <a:gd name="connsiteY14" fmla="*/ 828272 h 828272"/>
                    <a:gd name="connsiteX15" fmla="*/ 0 w 1399516"/>
                    <a:gd name="connsiteY15" fmla="*/ 671186 h 828272"/>
                    <a:gd name="connsiteX16" fmla="*/ 96790 w 1399516"/>
                    <a:gd name="connsiteY16" fmla="*/ 526219 h 828272"/>
                    <a:gd name="connsiteX17" fmla="*/ 156622 w 1399516"/>
                    <a:gd name="connsiteY17" fmla="*/ 514240 h 828272"/>
                    <a:gd name="connsiteX18" fmla="*/ 151367 w 1399516"/>
                    <a:gd name="connsiteY18" fmla="*/ 497599 h 828272"/>
                    <a:gd name="connsiteX19" fmla="*/ 142808 w 1399516"/>
                    <a:gd name="connsiteY19" fmla="*/ 414136 h 828272"/>
                    <a:gd name="connsiteX20" fmla="*/ 564093 w 1399516"/>
                    <a:gd name="connsiteY20" fmla="*/ 0 h 82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516" h="828272">
                      <a:moveTo>
                        <a:pt x="564093" y="0"/>
                      </a:moveTo>
                      <a:cubicBezTo>
                        <a:pt x="680428" y="0"/>
                        <a:pt x="785749" y="46354"/>
                        <a:pt x="861986" y="121298"/>
                      </a:cubicBezTo>
                      <a:lnTo>
                        <a:pt x="892246" y="157351"/>
                      </a:lnTo>
                      <a:lnTo>
                        <a:pt x="922109" y="148319"/>
                      </a:lnTo>
                      <a:cubicBezTo>
                        <a:pt x="940237" y="144704"/>
                        <a:pt x="959007" y="142806"/>
                        <a:pt x="978232" y="142806"/>
                      </a:cubicBezTo>
                      <a:cubicBezTo>
                        <a:pt x="1132031" y="142806"/>
                        <a:pt x="1256710" y="264285"/>
                        <a:pt x="1256710" y="414137"/>
                      </a:cubicBezTo>
                      <a:lnTo>
                        <a:pt x="1235997" y="514100"/>
                      </a:lnTo>
                      <a:lnTo>
                        <a:pt x="1238055" y="514100"/>
                      </a:lnTo>
                      <a:cubicBezTo>
                        <a:pt x="1242193" y="514100"/>
                        <a:pt x="1242193" y="514100"/>
                        <a:pt x="1242193" y="514100"/>
                      </a:cubicBezTo>
                      <a:cubicBezTo>
                        <a:pt x="1330687" y="514100"/>
                        <a:pt x="1399516" y="582825"/>
                        <a:pt x="1399516" y="671186"/>
                      </a:cubicBezTo>
                      <a:cubicBezTo>
                        <a:pt x="1399516" y="759547"/>
                        <a:pt x="1330687" y="828272"/>
                        <a:pt x="1242193" y="828272"/>
                      </a:cubicBezTo>
                      <a:cubicBezTo>
                        <a:pt x="970976" y="828272"/>
                        <a:pt x="767562" y="828272"/>
                        <a:pt x="615003" y="828272"/>
                      </a:cubicBezTo>
                      <a:lnTo>
                        <a:pt x="564093" y="828272"/>
                      </a:lnTo>
                      <a:lnTo>
                        <a:pt x="509853" y="828272"/>
                      </a:lnTo>
                      <a:cubicBezTo>
                        <a:pt x="157323" y="828272"/>
                        <a:pt x="157323" y="828272"/>
                        <a:pt x="157323" y="828272"/>
                      </a:cubicBezTo>
                      <a:cubicBezTo>
                        <a:pt x="72106" y="828272"/>
                        <a:pt x="0" y="759547"/>
                        <a:pt x="0" y="671186"/>
                      </a:cubicBezTo>
                      <a:cubicBezTo>
                        <a:pt x="0" y="604915"/>
                        <a:pt x="40560" y="549690"/>
                        <a:pt x="96790" y="526219"/>
                      </a:cubicBezTo>
                      <a:lnTo>
                        <a:pt x="156622" y="514240"/>
                      </a:lnTo>
                      <a:lnTo>
                        <a:pt x="151367" y="497599"/>
                      </a:lnTo>
                      <a:cubicBezTo>
                        <a:pt x="145755" y="470640"/>
                        <a:pt x="142808" y="442726"/>
                        <a:pt x="142808" y="414136"/>
                      </a:cubicBezTo>
                      <a:cubicBezTo>
                        <a:pt x="142808" y="185415"/>
                        <a:pt x="331424" y="0"/>
                        <a:pt x="564093" y="0"/>
                      </a:cubicBezTo>
                      <a:close/>
                    </a:path>
                  </a:pathLst>
                </a:custGeom>
                <a:solidFill>
                  <a:schemeClr val="tx2"/>
                </a:solidFill>
                <a:ln w="9525">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4480E8CE-57E3-1E67-78DC-E2D591F9E9AB}"/>
                    </a:ext>
                  </a:extLst>
                </p:cNvPr>
                <p:cNvGrpSpPr/>
                <p:nvPr/>
              </p:nvGrpSpPr>
              <p:grpSpPr>
                <a:xfrm>
                  <a:off x="-1969809" y="4947050"/>
                  <a:ext cx="454807" cy="452709"/>
                  <a:chOff x="-3057369" y="2726374"/>
                  <a:chExt cx="342895" cy="341313"/>
                </a:xfrm>
                <a:solidFill>
                  <a:schemeClr val="accent2"/>
                </a:solidFill>
              </p:grpSpPr>
              <p:sp>
                <p:nvSpPr>
                  <p:cNvPr id="58" name="Freeform 88">
                    <a:extLst>
                      <a:ext uri="{FF2B5EF4-FFF2-40B4-BE49-F238E27FC236}">
                        <a16:creationId xmlns:a16="http://schemas.microsoft.com/office/drawing/2014/main" id="{74E7FB11-8444-42E5-4E19-6B3571E9321F}"/>
                      </a:ext>
                      <a:ext uri="{C183D7F6-B498-43B3-948B-1728B52AA6E4}">
                        <adec:decorative xmlns:adec="http://schemas.microsoft.com/office/drawing/2017/decorative" val="1"/>
                      </a:ext>
                    </a:extLst>
                  </p:cNvPr>
                  <p:cNvSpPr>
                    <a:spLocks noEditPoints="1"/>
                  </p:cNvSpPr>
                  <p:nvPr/>
                </p:nvSpPr>
                <p:spPr bwMode="auto">
                  <a:xfrm>
                    <a:off x="-3057369" y="2726374"/>
                    <a:ext cx="247651"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89">
                    <a:extLst>
                      <a:ext uri="{FF2B5EF4-FFF2-40B4-BE49-F238E27FC236}">
                        <a16:creationId xmlns:a16="http://schemas.microsoft.com/office/drawing/2014/main" id="{077F1237-80DC-5DDD-CCEC-061A647CAAFD}"/>
                      </a:ext>
                      <a:ext uri="{C183D7F6-B498-43B3-948B-1728B52AA6E4}">
                        <adec:decorative xmlns:adec="http://schemas.microsoft.com/office/drawing/2017/decorative" val="1"/>
                      </a:ext>
                    </a:extLst>
                  </p:cNvPr>
                  <p:cNvSpPr>
                    <a:spLocks/>
                  </p:cNvSpPr>
                  <p:nvPr/>
                </p:nvSpPr>
                <p:spPr bwMode="auto">
                  <a:xfrm>
                    <a:off x="-2879573" y="2902587"/>
                    <a:ext cx="165099"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grpSp>
          <p:cxnSp>
            <p:nvCxnSpPr>
              <p:cNvPr id="5" name="Connector: Elbow 4">
                <a:extLst>
                  <a:ext uri="{FF2B5EF4-FFF2-40B4-BE49-F238E27FC236}">
                    <a16:creationId xmlns:a16="http://schemas.microsoft.com/office/drawing/2014/main" id="{89FCA647-6D6C-23FD-263D-C0ECF43318AD}"/>
                  </a:ext>
                </a:extLst>
              </p:cNvPr>
              <p:cNvCxnSpPr>
                <a:cxnSpLocks/>
                <a:stCxn id="17" idx="3"/>
                <a:endCxn id="44" idx="0"/>
              </p:cNvCxnSpPr>
              <p:nvPr/>
            </p:nvCxnSpPr>
            <p:spPr>
              <a:xfrm>
                <a:off x="1186221" y="2050882"/>
                <a:ext cx="1000585" cy="1403821"/>
              </a:xfrm>
              <a:prstGeom prst="bentConnector2">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654F83-19B3-73BA-3B5F-C349B5DC2F44}"/>
                  </a:ext>
                </a:extLst>
              </p:cNvPr>
              <p:cNvCxnSpPr>
                <a:cxnSpLocks/>
                <a:stCxn id="30" idx="3"/>
                <a:endCxn id="44" idx="2"/>
              </p:cNvCxnSpPr>
              <p:nvPr/>
            </p:nvCxnSpPr>
            <p:spPr>
              <a:xfrm flipV="1">
                <a:off x="1165860" y="3879435"/>
                <a:ext cx="1020946" cy="1282129"/>
              </a:xfrm>
              <a:prstGeom prst="bentConnector2">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DAF69F6-25DB-0909-2717-ACB9D776204B}"/>
                  </a:ext>
                </a:extLst>
              </p:cNvPr>
              <p:cNvCxnSpPr>
                <a:cxnSpLocks/>
              </p:cNvCxnSpPr>
              <p:nvPr/>
            </p:nvCxnSpPr>
            <p:spPr>
              <a:xfrm>
                <a:off x="1186221" y="2920321"/>
                <a:ext cx="1000585" cy="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42B2BCA-489A-D601-EB41-4B96B4762FE7}"/>
                  </a:ext>
                </a:extLst>
              </p:cNvPr>
              <p:cNvCxnSpPr>
                <a:cxnSpLocks/>
                <a:stCxn id="23" idx="3"/>
              </p:cNvCxnSpPr>
              <p:nvPr/>
            </p:nvCxnSpPr>
            <p:spPr>
              <a:xfrm>
                <a:off x="1195628" y="4160291"/>
                <a:ext cx="1001358" cy="820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D46597FC-61E4-DF44-953F-08991532FC79}"/>
                  </a:ext>
                </a:extLst>
              </p:cNvPr>
              <p:cNvCxnSpPr>
                <a:cxnSpLocks/>
              </p:cNvCxnSpPr>
              <p:nvPr/>
            </p:nvCxnSpPr>
            <p:spPr>
              <a:xfrm>
                <a:off x="2832540" y="3704698"/>
                <a:ext cx="468546"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A25666B1-BEB7-34AC-E70D-C203472C7CF3}"/>
                  </a:ext>
                </a:extLst>
              </p:cNvPr>
              <p:cNvGrpSpPr/>
              <p:nvPr/>
            </p:nvGrpSpPr>
            <p:grpSpPr>
              <a:xfrm>
                <a:off x="3399585" y="2939719"/>
                <a:ext cx="1320250" cy="1546722"/>
                <a:chOff x="3301086" y="3260968"/>
                <a:chExt cx="1320250" cy="1546722"/>
              </a:xfrm>
            </p:grpSpPr>
            <p:grpSp>
              <p:nvGrpSpPr>
                <p:cNvPr id="85" name="Group 84">
                  <a:extLst>
                    <a:ext uri="{FF2B5EF4-FFF2-40B4-BE49-F238E27FC236}">
                      <a16:creationId xmlns:a16="http://schemas.microsoft.com/office/drawing/2014/main" id="{3AA41720-1420-49F1-8879-C173FB2720E6}"/>
                    </a:ext>
                  </a:extLst>
                </p:cNvPr>
                <p:cNvGrpSpPr/>
                <p:nvPr/>
              </p:nvGrpSpPr>
              <p:grpSpPr>
                <a:xfrm>
                  <a:off x="3301086" y="3260968"/>
                  <a:ext cx="1315566" cy="489365"/>
                  <a:chOff x="3040380" y="2226795"/>
                  <a:chExt cx="1315566" cy="489365"/>
                </a:xfrm>
              </p:grpSpPr>
              <p:sp>
                <p:nvSpPr>
                  <p:cNvPr id="82" name="Left Bracket 81">
                    <a:extLst>
                      <a:ext uri="{FF2B5EF4-FFF2-40B4-BE49-F238E27FC236}">
                        <a16:creationId xmlns:a16="http://schemas.microsoft.com/office/drawing/2014/main" id="{254F452E-D0B0-0D8F-0287-67F4FC826980}"/>
                      </a:ext>
                    </a:extLst>
                  </p:cNvPr>
                  <p:cNvSpPr/>
                  <p:nvPr/>
                </p:nvSpPr>
                <p:spPr>
                  <a:xfrm>
                    <a:off x="3040380"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Left Bracket 82">
                    <a:extLst>
                      <a:ext uri="{FF2B5EF4-FFF2-40B4-BE49-F238E27FC236}">
                        <a16:creationId xmlns:a16="http://schemas.microsoft.com/office/drawing/2014/main" id="{F6E8E40F-76C9-75FE-9D76-E01BD6568115}"/>
                      </a:ext>
                    </a:extLst>
                  </p:cNvPr>
                  <p:cNvSpPr/>
                  <p:nvPr/>
                </p:nvSpPr>
                <p:spPr>
                  <a:xfrm rot="10800000">
                    <a:off x="4208934"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4753D74D-6A56-3830-49FE-FD3BD7C18BF7}"/>
                      </a:ext>
                    </a:extLst>
                  </p:cNvPr>
                  <p:cNvSpPr txBox="1"/>
                  <p:nvPr/>
                </p:nvSpPr>
                <p:spPr>
                  <a:xfrm>
                    <a:off x="3040380" y="2226795"/>
                    <a:ext cx="131556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2, -1 , 0, 1 </a:t>
                    </a:r>
                  </a:p>
                </p:txBody>
              </p:sp>
            </p:grpSp>
            <p:grpSp>
              <p:nvGrpSpPr>
                <p:cNvPr id="90" name="Group 89">
                  <a:extLst>
                    <a:ext uri="{FF2B5EF4-FFF2-40B4-BE49-F238E27FC236}">
                      <a16:creationId xmlns:a16="http://schemas.microsoft.com/office/drawing/2014/main" id="{E49C793F-1287-EBF5-D2AD-A026AB56D60D}"/>
                    </a:ext>
                  </a:extLst>
                </p:cNvPr>
                <p:cNvGrpSpPr/>
                <p:nvPr/>
              </p:nvGrpSpPr>
              <p:grpSpPr>
                <a:xfrm>
                  <a:off x="3301086" y="3789647"/>
                  <a:ext cx="1315566" cy="489365"/>
                  <a:chOff x="3040380" y="2226795"/>
                  <a:chExt cx="1315566" cy="489365"/>
                </a:xfrm>
              </p:grpSpPr>
              <p:sp>
                <p:nvSpPr>
                  <p:cNvPr id="91" name="Left Bracket 90">
                    <a:extLst>
                      <a:ext uri="{FF2B5EF4-FFF2-40B4-BE49-F238E27FC236}">
                        <a16:creationId xmlns:a16="http://schemas.microsoft.com/office/drawing/2014/main" id="{C9774E53-E49B-8E3C-08E5-72AC3FFBBD53}"/>
                      </a:ext>
                    </a:extLst>
                  </p:cNvPr>
                  <p:cNvSpPr/>
                  <p:nvPr/>
                </p:nvSpPr>
                <p:spPr>
                  <a:xfrm>
                    <a:off x="3040380"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Left Bracket 91">
                    <a:extLst>
                      <a:ext uri="{FF2B5EF4-FFF2-40B4-BE49-F238E27FC236}">
                        <a16:creationId xmlns:a16="http://schemas.microsoft.com/office/drawing/2014/main" id="{C297DFB7-3F31-4793-E384-2E2E96C6AA2C}"/>
                      </a:ext>
                    </a:extLst>
                  </p:cNvPr>
                  <p:cNvSpPr/>
                  <p:nvPr/>
                </p:nvSpPr>
                <p:spPr>
                  <a:xfrm rot="10800000">
                    <a:off x="4208934"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228603D2-794D-2233-E7D9-C6EF30F1D4D5}"/>
                      </a:ext>
                    </a:extLst>
                  </p:cNvPr>
                  <p:cNvSpPr txBox="1"/>
                  <p:nvPr/>
                </p:nvSpPr>
                <p:spPr>
                  <a:xfrm>
                    <a:off x="3040380" y="2226795"/>
                    <a:ext cx="131556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2, 3, 4, 5</a:t>
                    </a:r>
                  </a:p>
                </p:txBody>
              </p:sp>
            </p:grpSp>
            <p:grpSp>
              <p:nvGrpSpPr>
                <p:cNvPr id="103" name="Group 102">
                  <a:extLst>
                    <a:ext uri="{FF2B5EF4-FFF2-40B4-BE49-F238E27FC236}">
                      <a16:creationId xmlns:a16="http://schemas.microsoft.com/office/drawing/2014/main" id="{0F4C0AEB-EACF-6E73-46B4-ECD463723D70}"/>
                    </a:ext>
                  </a:extLst>
                </p:cNvPr>
                <p:cNvGrpSpPr/>
                <p:nvPr/>
              </p:nvGrpSpPr>
              <p:grpSpPr>
                <a:xfrm>
                  <a:off x="3305770" y="4318325"/>
                  <a:ext cx="1315566" cy="489365"/>
                  <a:chOff x="3040380" y="2226795"/>
                  <a:chExt cx="1315566" cy="489365"/>
                </a:xfrm>
              </p:grpSpPr>
              <p:sp>
                <p:nvSpPr>
                  <p:cNvPr id="104" name="Left Bracket 103">
                    <a:extLst>
                      <a:ext uri="{FF2B5EF4-FFF2-40B4-BE49-F238E27FC236}">
                        <a16:creationId xmlns:a16="http://schemas.microsoft.com/office/drawing/2014/main" id="{86A8F410-E5A6-F17F-3DC3-4BFFAC87A4D4}"/>
                      </a:ext>
                    </a:extLst>
                  </p:cNvPr>
                  <p:cNvSpPr/>
                  <p:nvPr/>
                </p:nvSpPr>
                <p:spPr>
                  <a:xfrm>
                    <a:off x="3040380"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Left Bracket 104">
                    <a:extLst>
                      <a:ext uri="{FF2B5EF4-FFF2-40B4-BE49-F238E27FC236}">
                        <a16:creationId xmlns:a16="http://schemas.microsoft.com/office/drawing/2014/main" id="{BD3A7BC5-1BCC-7045-76D1-7C843AFB7B64}"/>
                      </a:ext>
                    </a:extLst>
                  </p:cNvPr>
                  <p:cNvSpPr/>
                  <p:nvPr/>
                </p:nvSpPr>
                <p:spPr>
                  <a:xfrm rot="10800000">
                    <a:off x="4208934"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D49526FA-E559-B851-E0D9-7DC1957429FD}"/>
                      </a:ext>
                    </a:extLst>
                  </p:cNvPr>
                  <p:cNvSpPr txBox="1"/>
                  <p:nvPr/>
                </p:nvSpPr>
                <p:spPr>
                  <a:xfrm>
                    <a:off x="3040380" y="2226795"/>
                    <a:ext cx="131556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6, 7, 8, 9 </a:t>
                    </a:r>
                  </a:p>
                </p:txBody>
              </p:sp>
            </p:grpSp>
          </p:grpSp>
          <p:sp>
            <p:nvSpPr>
              <p:cNvPr id="47" name="TextBox 46">
                <a:extLst>
                  <a:ext uri="{FF2B5EF4-FFF2-40B4-BE49-F238E27FC236}">
                    <a16:creationId xmlns:a16="http://schemas.microsoft.com/office/drawing/2014/main" id="{EDEC750E-203A-D90E-2471-FC3B21C60084}"/>
                  </a:ext>
                </a:extLst>
              </p:cNvPr>
              <p:cNvSpPr txBox="1"/>
              <p:nvPr/>
            </p:nvSpPr>
            <p:spPr>
              <a:xfrm>
                <a:off x="5498713" y="5249765"/>
                <a:ext cx="1179329" cy="2585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Results</a:t>
                </a:r>
              </a:p>
            </p:txBody>
          </p:sp>
          <p:grpSp>
            <p:nvGrpSpPr>
              <p:cNvPr id="118" name="Group 117">
                <a:extLst>
                  <a:ext uri="{FF2B5EF4-FFF2-40B4-BE49-F238E27FC236}">
                    <a16:creationId xmlns:a16="http://schemas.microsoft.com/office/drawing/2014/main" id="{26A2556E-EE17-A19D-8AD2-B1FA723D75A6}"/>
                  </a:ext>
                </a:extLst>
              </p:cNvPr>
              <p:cNvGrpSpPr/>
              <p:nvPr/>
            </p:nvGrpSpPr>
            <p:grpSpPr>
              <a:xfrm>
                <a:off x="7379160" y="3468398"/>
                <a:ext cx="1315566" cy="489365"/>
                <a:chOff x="3040380" y="2226795"/>
                <a:chExt cx="1315566" cy="489365"/>
              </a:xfrm>
            </p:grpSpPr>
            <p:sp>
              <p:nvSpPr>
                <p:cNvPr id="123" name="Left Bracket 122">
                  <a:extLst>
                    <a:ext uri="{FF2B5EF4-FFF2-40B4-BE49-F238E27FC236}">
                      <a16:creationId xmlns:a16="http://schemas.microsoft.com/office/drawing/2014/main" id="{4E28C22D-AC6E-3DE6-093F-49EADC72EFAF}"/>
                    </a:ext>
                  </a:extLst>
                </p:cNvPr>
                <p:cNvSpPr/>
                <p:nvPr/>
              </p:nvSpPr>
              <p:spPr>
                <a:xfrm>
                  <a:off x="3040380"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Left Bracket 123">
                  <a:extLst>
                    <a:ext uri="{FF2B5EF4-FFF2-40B4-BE49-F238E27FC236}">
                      <a16:creationId xmlns:a16="http://schemas.microsoft.com/office/drawing/2014/main" id="{ED134D3E-04BB-74B3-C7FD-C0162D78A1FE}"/>
                    </a:ext>
                  </a:extLst>
                </p:cNvPr>
                <p:cNvSpPr/>
                <p:nvPr/>
              </p:nvSpPr>
              <p:spPr>
                <a:xfrm rot="10800000">
                  <a:off x="4208934" y="2258097"/>
                  <a:ext cx="147012" cy="381274"/>
                </a:xfrm>
                <a:prstGeom prst="leftBracket">
                  <a:avLst>
                    <a:gd name="adj" fmla="val 0"/>
                  </a:avLst>
                </a:prstGeom>
                <a:ln w="28575">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D7A70A78-264B-BD8B-E38B-72213BFC4EB4}"/>
                    </a:ext>
                  </a:extLst>
                </p:cNvPr>
                <p:cNvSpPr txBox="1"/>
                <p:nvPr/>
              </p:nvSpPr>
              <p:spPr>
                <a:xfrm>
                  <a:off x="3040380" y="2226795"/>
                  <a:ext cx="131556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2, 3, 4, 5</a:t>
                  </a:r>
                </a:p>
              </p:txBody>
            </p:sp>
          </p:grpSp>
          <p:cxnSp>
            <p:nvCxnSpPr>
              <p:cNvPr id="138" name="Straight Arrow Connector 137">
                <a:extLst>
                  <a:ext uri="{FF2B5EF4-FFF2-40B4-BE49-F238E27FC236}">
                    <a16:creationId xmlns:a16="http://schemas.microsoft.com/office/drawing/2014/main" id="{557ACFAB-4CBD-A0AA-AD4A-3CC484538182}"/>
                  </a:ext>
                </a:extLst>
              </p:cNvPr>
              <p:cNvCxnSpPr>
                <a:cxnSpLocks/>
                <a:stCxn id="49" idx="1"/>
              </p:cNvCxnSpPr>
              <p:nvPr/>
            </p:nvCxnSpPr>
            <p:spPr>
              <a:xfrm flipH="1" flipV="1">
                <a:off x="8818151" y="3704698"/>
                <a:ext cx="535528" cy="7723"/>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Connector: Elbow 161">
                <a:extLst>
                  <a:ext uri="{FF2B5EF4-FFF2-40B4-BE49-F238E27FC236}">
                    <a16:creationId xmlns:a16="http://schemas.microsoft.com/office/drawing/2014/main" id="{1999FE35-7BBD-4C0A-F545-C51975AFA62A}"/>
                  </a:ext>
                </a:extLst>
              </p:cNvPr>
              <p:cNvCxnSpPr>
                <a:cxnSpLocks/>
                <a:stCxn id="125" idx="1"/>
              </p:cNvCxnSpPr>
              <p:nvPr/>
            </p:nvCxnSpPr>
            <p:spPr>
              <a:xfrm rot="10800000">
                <a:off x="6519624" y="3024987"/>
                <a:ext cx="859537" cy="688095"/>
              </a:xfrm>
              <a:prstGeom prst="bentConnector3">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Connector: Elbow 162">
                <a:extLst>
                  <a:ext uri="{FF2B5EF4-FFF2-40B4-BE49-F238E27FC236}">
                    <a16:creationId xmlns:a16="http://schemas.microsoft.com/office/drawing/2014/main" id="{5695088C-6574-578F-9C45-3E33CE099C8D}"/>
                  </a:ext>
                </a:extLst>
              </p:cNvPr>
              <p:cNvCxnSpPr>
                <a:cxnSpLocks/>
                <a:stCxn id="93" idx="3"/>
              </p:cNvCxnSpPr>
              <p:nvPr/>
            </p:nvCxnSpPr>
            <p:spPr>
              <a:xfrm flipV="1">
                <a:off x="4715151" y="3024986"/>
                <a:ext cx="890072" cy="688095"/>
              </a:xfrm>
              <a:prstGeom prst="bentConnector3">
                <a:avLst>
                  <a:gd name="adj1" fmla="val 50000"/>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BDA97606-066D-E361-7C74-9C7E048132E2}"/>
                  </a:ext>
                </a:extLst>
              </p:cNvPr>
              <p:cNvCxnSpPr>
                <a:cxnSpLocks/>
              </p:cNvCxnSpPr>
              <p:nvPr/>
            </p:nvCxnSpPr>
            <p:spPr>
              <a:xfrm>
                <a:off x="6062423" y="3712420"/>
                <a:ext cx="0" cy="697232"/>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F821199B-AD83-B689-421C-24BC778EBE27}"/>
                  </a:ext>
                </a:extLst>
              </p:cNvPr>
              <p:cNvSpPr txBox="1"/>
              <p:nvPr/>
            </p:nvSpPr>
            <p:spPr>
              <a:xfrm>
                <a:off x="622090" y="1477681"/>
                <a:ext cx="1511355" cy="2862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4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Data Sources</a:t>
                </a:r>
              </a:p>
            </p:txBody>
          </p:sp>
          <p:sp>
            <p:nvSpPr>
              <p:cNvPr id="174" name="Browser_4" title="Icon of a website or an app window">
                <a:extLst>
                  <a:ext uri="{FF2B5EF4-FFF2-40B4-BE49-F238E27FC236}">
                    <a16:creationId xmlns:a16="http://schemas.microsoft.com/office/drawing/2014/main" id="{C1E47E86-FBDE-F027-E564-67D0C7050002}"/>
                  </a:ext>
                </a:extLst>
              </p:cNvPr>
              <p:cNvSpPr>
                <a:spLocks noChangeAspect="1" noEditPoints="1"/>
              </p:cNvSpPr>
              <p:nvPr/>
            </p:nvSpPr>
            <p:spPr bwMode="auto">
              <a:xfrm>
                <a:off x="5815310" y="4753426"/>
                <a:ext cx="494226" cy="36576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DB58098D-EF50-1866-DE2E-595E66FD5DFA}"/>
                </a:ext>
              </a:extLst>
            </p:cNvPr>
            <p:cNvSpPr txBox="1"/>
            <p:nvPr/>
          </p:nvSpPr>
          <p:spPr>
            <a:xfrm>
              <a:off x="520357" y="5782993"/>
              <a:ext cx="840662" cy="424732"/>
            </a:xfrm>
            <a:prstGeom prst="rect">
              <a:avLst/>
            </a:prstGeom>
            <a:noFill/>
          </p:spPr>
          <p:txBody>
            <a:bodyPr wrap="square" lIns="0" tIns="45720" rIns="91440" bIns="45720" anchor="t">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a:rPr>
                <a:t>...and more!</a:t>
              </a:r>
              <a:endPar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endParaRPr>
            </a:p>
          </p:txBody>
        </p:sp>
        <p:cxnSp>
          <p:nvCxnSpPr>
            <p:cNvPr id="7" name="Straight Connector 6">
              <a:extLst>
                <a:ext uri="{FF2B5EF4-FFF2-40B4-BE49-F238E27FC236}">
                  <a16:creationId xmlns:a16="http://schemas.microsoft.com/office/drawing/2014/main" id="{8F5B5B14-066A-6C31-EAA4-059ECB4056F9}"/>
                </a:ext>
              </a:extLst>
            </p:cNvPr>
            <p:cNvCxnSpPr>
              <a:cxnSpLocks/>
            </p:cNvCxnSpPr>
            <p:nvPr/>
          </p:nvCxnSpPr>
          <p:spPr>
            <a:xfrm>
              <a:off x="1206917" y="5178172"/>
              <a:ext cx="1001358" cy="820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 name="Connector: Elbow 10">
            <a:extLst>
              <a:ext uri="{FF2B5EF4-FFF2-40B4-BE49-F238E27FC236}">
                <a16:creationId xmlns:a16="http://schemas.microsoft.com/office/drawing/2014/main" id="{92E38F2D-5B2F-7816-C4E0-FFBA645EE6DB}"/>
              </a:ext>
              <a:ext uri="{C183D7F6-B498-43B3-948B-1728B52AA6E4}">
                <adec:decorative xmlns:adec="http://schemas.microsoft.com/office/drawing/2017/decorative" val="1"/>
              </a:ext>
            </a:extLst>
          </p:cNvPr>
          <p:cNvCxnSpPr>
            <a:cxnSpLocks/>
          </p:cNvCxnSpPr>
          <p:nvPr/>
        </p:nvCxnSpPr>
        <p:spPr>
          <a:xfrm flipV="1">
            <a:off x="6453808" y="3073378"/>
            <a:ext cx="4785692" cy="1882055"/>
          </a:xfrm>
          <a:prstGeom prst="bentConnector3">
            <a:avLst>
              <a:gd name="adj1" fmla="val 100056"/>
            </a:avLst>
          </a:prstGeom>
          <a:ln>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4708672-CD47-8D5B-1A99-55136EBA9FD4}"/>
              </a:ext>
              <a:ext uri="{C183D7F6-B498-43B3-948B-1728B52AA6E4}">
                <adec:decorative xmlns:adec="http://schemas.microsoft.com/office/drawing/2017/decorative" val="1"/>
              </a:ext>
            </a:extLst>
          </p:cNvPr>
          <p:cNvGrpSpPr/>
          <p:nvPr/>
        </p:nvGrpSpPr>
        <p:grpSpPr>
          <a:xfrm>
            <a:off x="10152553" y="2663499"/>
            <a:ext cx="1828800" cy="228600"/>
            <a:chOff x="10152553" y="2663499"/>
            <a:chExt cx="1828800" cy="228600"/>
          </a:xfrm>
        </p:grpSpPr>
        <p:sp>
          <p:nvSpPr>
            <p:cNvPr id="33" name="Rectangle: Rounded Corners 32">
              <a:extLst>
                <a:ext uri="{FF2B5EF4-FFF2-40B4-BE49-F238E27FC236}">
                  <a16:creationId xmlns:a16="http://schemas.microsoft.com/office/drawing/2014/main" id="{D0D5CE49-49B1-B942-B756-46493A3B8CA7}"/>
                </a:ext>
              </a:extLst>
            </p:cNvPr>
            <p:cNvSpPr/>
            <p:nvPr/>
          </p:nvSpPr>
          <p:spPr bwMode="auto">
            <a:xfrm>
              <a:off x="10152553" y="2663499"/>
              <a:ext cx="1828800" cy="22860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 name="Graphic 28" descr="Magnifying glass with solid fill">
              <a:extLst>
                <a:ext uri="{FF2B5EF4-FFF2-40B4-BE49-F238E27FC236}">
                  <a16:creationId xmlns:a16="http://schemas.microsoft.com/office/drawing/2014/main" id="{AF0F6F41-69AD-22CC-8AA7-6DC77D17126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10208" y="2688715"/>
              <a:ext cx="178167" cy="178167"/>
            </a:xfrm>
            <a:prstGeom prst="rect">
              <a:avLst/>
            </a:prstGeom>
          </p:spPr>
        </p:pic>
      </p:grpSp>
      <p:cxnSp>
        <p:nvCxnSpPr>
          <p:cNvPr id="64" name="Connector: Elbow 63">
            <a:extLst>
              <a:ext uri="{FF2B5EF4-FFF2-40B4-BE49-F238E27FC236}">
                <a16:creationId xmlns:a16="http://schemas.microsoft.com/office/drawing/2014/main" id="{6A2B1358-FBBE-91EB-0B11-69563D8277EB}"/>
              </a:ext>
              <a:ext uri="{C183D7F6-B498-43B3-948B-1728B52AA6E4}">
                <adec:decorative xmlns:adec="http://schemas.microsoft.com/office/drawing/2017/decorative" val="1"/>
              </a:ext>
            </a:extLst>
          </p:cNvPr>
          <p:cNvCxnSpPr>
            <a:cxnSpLocks/>
          </p:cNvCxnSpPr>
          <p:nvPr/>
        </p:nvCxnSpPr>
        <p:spPr>
          <a:xfrm rot="5400000">
            <a:off x="10607477" y="3185618"/>
            <a:ext cx="547508" cy="386341"/>
          </a:xfrm>
          <a:prstGeom prst="bentConnector2">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BB21C05-641A-C9B5-32E8-205FC190DA03}"/>
              </a:ext>
            </a:extLst>
          </p:cNvPr>
          <p:cNvSpPr txBox="1"/>
          <p:nvPr/>
        </p:nvSpPr>
        <p:spPr>
          <a:xfrm>
            <a:off x="5485006" y="3196531"/>
            <a:ext cx="1315566" cy="4247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Azure Cognitive </a:t>
            </a:r>
          </a:p>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200" b="0" i="0" u="none" strike="noStrike" kern="0" cap="none" spc="0" normalizeH="0" baseline="0" noProof="0">
                <a:ln>
                  <a:noFill/>
                </a:ln>
                <a:gradFill>
                  <a:gsLst>
                    <a:gs pos="18939">
                      <a:srgbClr val="FFFFFF"/>
                    </a:gs>
                    <a:gs pos="43000">
                      <a:srgbClr val="FFFFFF"/>
                    </a:gs>
                  </a:gsLst>
                  <a:lin ang="18900000" scaled="0"/>
                </a:gradFill>
                <a:effectLst/>
                <a:uLnTx/>
                <a:uFillTx/>
                <a:latin typeface="Segoe UI Semibold"/>
                <a:ea typeface="+mn-ea"/>
                <a:cs typeface="Segoe UI" panose="020B0502040204020203" pitchFamily="34" charset="0"/>
              </a:rPr>
              <a:t>Search</a:t>
            </a:r>
          </a:p>
        </p:txBody>
      </p:sp>
    </p:spTree>
    <p:extLst>
      <p:ext uri="{BB962C8B-B14F-4D97-AF65-F5344CB8AC3E}">
        <p14:creationId xmlns:p14="http://schemas.microsoft.com/office/powerpoint/2010/main" val="36780917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A95E508-5303-9E3B-CFD8-8E1F827AB6F2}"/>
              </a:ext>
            </a:extLst>
          </p:cNvPr>
          <p:cNvSpPr txBox="1">
            <a:spLocks/>
          </p:cNvSpPr>
          <p:nvPr/>
        </p:nvSpPr>
        <p:spPr>
          <a:xfrm>
            <a:off x="3296996" y="457200"/>
            <a:ext cx="5601054" cy="49244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Segoe UI Semibold"/>
                <a:ea typeface="+mn-ea"/>
                <a:cs typeface="Segoe UI" pitchFamily="34" charset="0"/>
              </a:rPr>
              <a:t>A leader in the industry…</a:t>
            </a:r>
          </a:p>
        </p:txBody>
      </p:sp>
      <p:sp>
        <p:nvSpPr>
          <p:cNvPr id="6" name="Text Placeholder 3">
            <a:extLst>
              <a:ext uri="{FF2B5EF4-FFF2-40B4-BE49-F238E27FC236}">
                <a16:creationId xmlns:a16="http://schemas.microsoft.com/office/drawing/2014/main" id="{BDDAF842-6DCA-EFAC-197E-AA2B5BC8CD8B}"/>
              </a:ext>
            </a:extLst>
          </p:cNvPr>
          <p:cNvSpPr txBox="1">
            <a:spLocks/>
          </p:cNvSpPr>
          <p:nvPr/>
        </p:nvSpPr>
        <p:spPr>
          <a:xfrm>
            <a:off x="4987660" y="6063616"/>
            <a:ext cx="762266" cy="13849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1">
                    <a:lumMod val="60000"/>
                    <a:lumOff val="40000"/>
                  </a:schemeClr>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900" b="0" i="0" u="none" strike="noStrike" kern="1200" cap="none" spc="0" normalizeH="0" baseline="0" noProof="0">
                <a:ln>
                  <a:noFill/>
                </a:ln>
                <a:noFill/>
                <a:effectLst/>
                <a:uLnTx/>
                <a:uFillTx/>
                <a:latin typeface="Segoe UI"/>
                <a:ea typeface="+mn-ea"/>
                <a:cs typeface="Segoe UI" panose="020B0502040204020203" pitchFamily="34" charset="0"/>
              </a:rPr>
              <a:t>©Garner, Inc</a:t>
            </a:r>
          </a:p>
        </p:txBody>
      </p:sp>
      <p:sp>
        <p:nvSpPr>
          <p:cNvPr id="7" name="Text Placeholder 2">
            <a:extLst>
              <a:ext uri="{FF2B5EF4-FFF2-40B4-BE49-F238E27FC236}">
                <a16:creationId xmlns:a16="http://schemas.microsoft.com/office/drawing/2014/main" id="{2153F6E4-A710-8B55-69D5-89CFA82C5AC4}"/>
              </a:ext>
            </a:extLst>
          </p:cNvPr>
          <p:cNvSpPr txBox="1">
            <a:spLocks/>
          </p:cNvSpPr>
          <p:nvPr/>
        </p:nvSpPr>
        <p:spPr>
          <a:xfrm>
            <a:off x="6942759" y="1850334"/>
            <a:ext cx="4543277" cy="4111318"/>
          </a:xfrm>
          <a:prstGeom prst="rect">
            <a:avLst/>
          </a:prstGeom>
          <a:solidFill>
            <a:schemeClr val="bg1">
              <a:lumMod val="75000"/>
              <a:alpha val="26000"/>
            </a:schemeClr>
          </a:solidFill>
          <a:ln>
            <a:noFill/>
          </a:ln>
        </p:spPr>
        <p:txBody>
          <a:bodyPr vert="horz" wrap="square" lIns="365760" tIns="365760" rIns="365760" bIns="36576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1200"/>
              </a:spcBef>
              <a:spcAft>
                <a:spcPts val="0"/>
              </a:spcAft>
              <a:buClrTx/>
              <a:buSzPct val="90000"/>
              <a:buFont typeface="Arial" panose="020B0604020202020204" pitchFamily="34" charset="0"/>
              <a:buNone/>
              <a:tabLst/>
              <a:defRPr sz="1400" b="1" kern="1200" spc="0" baseline="0">
                <a:solidFill>
                  <a:schemeClr val="tx2"/>
                </a:soli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200" kern="1200" spc="0" baseline="0">
                <a:solidFill>
                  <a:schemeClr val="tx2"/>
                </a:soli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100" kern="1200" cap="all" spc="100" baseline="0">
                <a:solidFill>
                  <a:schemeClr val="tx2"/>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100" kern="1200" spc="0" baseline="0">
                <a:solidFill>
                  <a:schemeClr val="tx2"/>
                </a:soli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1">
                    <a:lumMod val="60000"/>
                    <a:lumOff val="40000"/>
                  </a:schemeClr>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effectLst/>
                <a:uLnTx/>
                <a:uFillTx/>
                <a:latin typeface="Segoe UI"/>
                <a:ea typeface="+mn-ea"/>
                <a:cs typeface="Segoe UI" panose="020B0502040204020203" pitchFamily="34" charset="0"/>
              </a:rPr>
              <a:t>“Microsoft is a Leader in this Magic Quadrant. Its Microsoft Search and Azure Cognitive Search products are broadly focused on EX and CX applications for digital workplace search and custom applications, respectively.”</a:t>
            </a:r>
          </a:p>
          <a:p>
            <a:pPr marL="0" marR="0" lvl="0" indent="0" algn="r" defTabSz="932742" rtl="0" eaLnBrk="1" fontAlgn="auto" latinLnBrk="0" hangingPunct="1">
              <a:lnSpc>
                <a:spcPct val="107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r" defTabSz="932742" rtl="0" eaLnBrk="1" fontAlgn="auto" latinLnBrk="0" hangingPunct="1">
              <a:lnSpc>
                <a:spcPct val="107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r" defTabSz="932742" rtl="0" eaLnBrk="1" fontAlgn="auto" latinLnBrk="0" hangingPunct="1">
              <a:lnSpc>
                <a:spcPct val="107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r" defTabSz="932742" rtl="0" eaLnBrk="1" fontAlgn="auto" latinLnBrk="0" hangingPunct="1">
              <a:lnSpc>
                <a:spcPct val="107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effectLst/>
                <a:uLnTx/>
                <a:uFillTx/>
                <a:latin typeface="Segoe UI"/>
                <a:ea typeface="+mn-ea"/>
                <a:cs typeface="Segoe UI" panose="020B0502040204020203" pitchFamily="34" charset="0"/>
              </a:rPr>
              <a:t>Gartner Magic Quadrant, Insights Engine, 2022</a:t>
            </a:r>
            <a:endParaRPr kumimoji="0" lang="en-US" sz="1400" b="0" i="0" u="none" strike="noStrike" kern="1200" cap="none" spc="0" normalizeH="0" baseline="0" noProof="0" dirty="0">
              <a:ln>
                <a:noFill/>
              </a:ln>
              <a:effectLst/>
              <a:uLnTx/>
              <a:uFillTx/>
              <a:latin typeface="Calibri"/>
              <a:ea typeface="Calibri" panose="020F0502020204030204" pitchFamily="34" charset="0"/>
              <a:cs typeface="Times New Roman"/>
            </a:endParaRPr>
          </a:p>
        </p:txBody>
      </p:sp>
      <p:pic>
        <p:nvPicPr>
          <p:cNvPr id="8" name="Picture 6" descr="A picture containing text, screenshot, diagram, number&#10;&#10;Description automatically generated">
            <a:extLst>
              <a:ext uri="{FF2B5EF4-FFF2-40B4-BE49-F238E27FC236}">
                <a16:creationId xmlns:a16="http://schemas.microsoft.com/office/drawing/2014/main" id="{2C6D7FE1-07A8-0AED-35FC-811A0A38575E}"/>
              </a:ext>
            </a:extLst>
          </p:cNvPr>
          <p:cNvPicPr>
            <a:picLocks noChangeAspect="1"/>
          </p:cNvPicPr>
          <p:nvPr/>
        </p:nvPicPr>
        <p:blipFill>
          <a:blip r:embed="rId2"/>
          <a:stretch>
            <a:fillRect/>
          </a:stretch>
        </p:blipFill>
        <p:spPr>
          <a:xfrm>
            <a:off x="1225138" y="1237702"/>
            <a:ext cx="4870862" cy="5261593"/>
          </a:xfrm>
          <a:prstGeom prst="rect">
            <a:avLst/>
          </a:prstGeom>
        </p:spPr>
      </p:pic>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C1A5D5D0-8578-E9EB-AF22-A6F58AF34CAC}"/>
                  </a:ext>
                </a:extLst>
              </p14:cNvPr>
              <p14:cNvContentPartPr/>
              <p14:nvPr/>
            </p14:nvContentPartPr>
            <p14:xfrm>
              <a:off x="4148760" y="2946187"/>
              <a:ext cx="478440" cy="16920"/>
            </p14:xfrm>
          </p:contentPart>
        </mc:Choice>
        <mc:Fallback xmlns="">
          <p:pic>
            <p:nvPicPr>
              <p:cNvPr id="9" name="Ink 8">
                <a:extLst>
                  <a:ext uri="{FF2B5EF4-FFF2-40B4-BE49-F238E27FC236}">
                    <a16:creationId xmlns:a16="http://schemas.microsoft.com/office/drawing/2014/main" id="{C1A5D5D0-8578-E9EB-AF22-A6F58AF34CAC}"/>
                  </a:ext>
                </a:extLst>
              </p:cNvPr>
              <p:cNvPicPr/>
              <p:nvPr/>
            </p:nvPicPr>
            <p:blipFill>
              <a:blip r:embed="rId4"/>
              <a:stretch>
                <a:fillRect/>
              </a:stretch>
            </p:blipFill>
            <p:spPr>
              <a:xfrm>
                <a:off x="4094801" y="2838187"/>
                <a:ext cx="585999" cy="232560"/>
              </a:xfrm>
              <a:prstGeom prst="rect">
                <a:avLst/>
              </a:prstGeom>
            </p:spPr>
          </p:pic>
        </mc:Fallback>
      </mc:AlternateContent>
    </p:spTree>
    <p:extLst>
      <p:ext uri="{BB962C8B-B14F-4D97-AF65-F5344CB8AC3E}">
        <p14:creationId xmlns:p14="http://schemas.microsoft.com/office/powerpoint/2010/main" val="253967153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0299F-91DC-39F8-0D60-C488E12D49BA}"/>
              </a:ext>
            </a:extLst>
          </p:cNvPr>
          <p:cNvSpPr>
            <a:spLocks noGrp="1"/>
          </p:cNvSpPr>
          <p:nvPr>
            <p:ph type="title"/>
          </p:nvPr>
        </p:nvSpPr>
        <p:spPr>
          <a:xfrm>
            <a:off x="588263" y="457200"/>
            <a:ext cx="11018520" cy="800219"/>
          </a:xfrm>
        </p:spPr>
        <p:txBody>
          <a:bodyPr/>
          <a:lstStyle/>
          <a:p>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Choosing an Embedding Model</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Key Factors for Selecting the Optimal Model for Your Use Case</a:t>
            </a:r>
            <a:endParaRPr lang="en-US"/>
          </a:p>
        </p:txBody>
      </p:sp>
      <p:sp>
        <p:nvSpPr>
          <p:cNvPr id="3" name="Text Placeholder 2">
            <a:extLst>
              <a:ext uri="{FF2B5EF4-FFF2-40B4-BE49-F238E27FC236}">
                <a16:creationId xmlns:a16="http://schemas.microsoft.com/office/drawing/2014/main" id="{0818A73D-BB6F-9EFC-616F-1E7C79CCAB37}"/>
              </a:ext>
            </a:extLst>
          </p:cNvPr>
          <p:cNvSpPr>
            <a:spLocks noGrp="1"/>
          </p:cNvSpPr>
          <p:nvPr>
            <p:ph type="body" sz="quarter" idx="16"/>
          </p:nvPr>
        </p:nvSpPr>
        <p:spPr>
          <a:xfrm>
            <a:off x="584200" y="1941111"/>
            <a:ext cx="5219700" cy="338554"/>
          </a:xfrm>
        </p:spPr>
        <p:txBody>
          <a:bodyPr/>
          <a:lstStyle/>
          <a:p>
            <a:r>
              <a:rPr lang="en-US" sz="2200" b="1">
                <a:cs typeface="Segoe UI"/>
              </a:rPr>
              <a:t>Model Characteristics</a:t>
            </a:r>
          </a:p>
        </p:txBody>
      </p:sp>
      <p:sp>
        <p:nvSpPr>
          <p:cNvPr id="4" name="Text Placeholder 3">
            <a:extLst>
              <a:ext uri="{FF2B5EF4-FFF2-40B4-BE49-F238E27FC236}">
                <a16:creationId xmlns:a16="http://schemas.microsoft.com/office/drawing/2014/main" id="{88CCE862-21C5-4AFE-E723-E8B82A84CEEE}"/>
              </a:ext>
            </a:extLst>
          </p:cNvPr>
          <p:cNvSpPr>
            <a:spLocks noGrp="1"/>
          </p:cNvSpPr>
          <p:nvPr>
            <p:ph type="body" sz="quarter" idx="14"/>
          </p:nvPr>
        </p:nvSpPr>
        <p:spPr>
          <a:xfrm>
            <a:off x="584200" y="2588811"/>
            <a:ext cx="5219700" cy="2154436"/>
          </a:xfrm>
        </p:spPr>
        <p:txBody>
          <a:bodyPr/>
          <a:lstStyle/>
          <a:p>
            <a:r>
              <a:rPr lang="en-US" sz="2000"/>
              <a:t>Task Specificity</a:t>
            </a:r>
          </a:p>
          <a:p>
            <a:r>
              <a:rPr lang="en-US" sz="2000"/>
              <a:t>Performance</a:t>
            </a:r>
          </a:p>
          <a:p>
            <a:r>
              <a:rPr lang="en-US" sz="2000"/>
              <a:t>Context Awareness</a:t>
            </a:r>
          </a:p>
          <a:p>
            <a:r>
              <a:rPr lang="en-US" sz="2000"/>
              <a:t>Model Size and Inference Speed</a:t>
            </a:r>
          </a:p>
          <a:p>
            <a:r>
              <a:rPr lang="en-US" sz="2000"/>
              <a:t>Language Support</a:t>
            </a:r>
          </a:p>
          <a:p>
            <a:r>
              <a:rPr lang="en-US" sz="2000"/>
              <a:t>Customizability (ability to fine-tune)</a:t>
            </a:r>
          </a:p>
        </p:txBody>
      </p:sp>
      <p:sp>
        <p:nvSpPr>
          <p:cNvPr id="5" name="Text Placeholder 4">
            <a:extLst>
              <a:ext uri="{FF2B5EF4-FFF2-40B4-BE49-F238E27FC236}">
                <a16:creationId xmlns:a16="http://schemas.microsoft.com/office/drawing/2014/main" id="{1C267A98-9D9E-F058-30F4-0BD63B9A81C5}"/>
              </a:ext>
            </a:extLst>
          </p:cNvPr>
          <p:cNvSpPr>
            <a:spLocks noGrp="1"/>
          </p:cNvSpPr>
          <p:nvPr>
            <p:ph type="body" sz="quarter" idx="17"/>
          </p:nvPr>
        </p:nvSpPr>
        <p:spPr>
          <a:xfrm>
            <a:off x="6397625" y="1941111"/>
            <a:ext cx="5219700" cy="338554"/>
          </a:xfrm>
        </p:spPr>
        <p:txBody>
          <a:bodyPr/>
          <a:lstStyle/>
          <a:p>
            <a:r>
              <a:rPr lang="en-US" sz="2200" b="1">
                <a:cs typeface="Segoe UI"/>
              </a:rPr>
              <a:t>Implementation Considerations</a:t>
            </a:r>
          </a:p>
        </p:txBody>
      </p:sp>
      <p:sp>
        <p:nvSpPr>
          <p:cNvPr id="6" name="Text Placeholder 5">
            <a:extLst>
              <a:ext uri="{FF2B5EF4-FFF2-40B4-BE49-F238E27FC236}">
                <a16:creationId xmlns:a16="http://schemas.microsoft.com/office/drawing/2014/main" id="{DED27138-68C9-F408-07BB-BED5D14283A7}"/>
              </a:ext>
            </a:extLst>
          </p:cNvPr>
          <p:cNvSpPr>
            <a:spLocks noGrp="1"/>
          </p:cNvSpPr>
          <p:nvPr>
            <p:ph type="body" sz="quarter" idx="15"/>
          </p:nvPr>
        </p:nvSpPr>
        <p:spPr>
          <a:xfrm>
            <a:off x="6397625" y="2588811"/>
            <a:ext cx="5219700" cy="2154436"/>
          </a:xfrm>
        </p:spPr>
        <p:txBody>
          <a:bodyPr/>
          <a:lstStyle/>
          <a:p>
            <a:r>
              <a:rPr lang="en-US" sz="2000"/>
              <a:t>Training Time and Complexity</a:t>
            </a:r>
          </a:p>
          <a:p>
            <a:r>
              <a:rPr lang="en-US" sz="2000"/>
              <a:t>Pre-Trained Models</a:t>
            </a:r>
          </a:p>
          <a:p>
            <a:r>
              <a:rPr lang="en-US" sz="2000"/>
              <a:t>Integration </a:t>
            </a:r>
          </a:p>
          <a:p>
            <a:r>
              <a:rPr lang="en-US" sz="2000"/>
              <a:t>Community Support and Updates</a:t>
            </a:r>
          </a:p>
          <a:p>
            <a:r>
              <a:rPr lang="en-US" sz="2000"/>
              <a:t>Cost </a:t>
            </a:r>
          </a:p>
          <a:p>
            <a:endParaRPr lang="en-US" sz="2000"/>
          </a:p>
        </p:txBody>
      </p:sp>
      <p:sp>
        <p:nvSpPr>
          <p:cNvPr id="7" name="TextBox 6">
            <a:extLst>
              <a:ext uri="{FF2B5EF4-FFF2-40B4-BE49-F238E27FC236}">
                <a16:creationId xmlns:a16="http://schemas.microsoft.com/office/drawing/2014/main" id="{0E73B51F-53FE-15B7-873F-905BDCDD11A3}"/>
              </a:ext>
            </a:extLst>
          </p:cNvPr>
          <p:cNvSpPr txBox="1"/>
          <p:nvPr/>
        </p:nvSpPr>
        <p:spPr>
          <a:xfrm>
            <a:off x="663575" y="5722064"/>
            <a:ext cx="10864850" cy="49244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We recommend Azure OpenAI service “</a:t>
            </a:r>
            <a:r>
              <a:rPr kumimoji="0" lang="en-US" sz="1600" b="0" i="0" u="none" strike="noStrike" kern="1200" cap="none" spc="0" normalizeH="0" baseline="0" noProof="0" dirty="0">
                <a:ln>
                  <a:noFill/>
                </a:ln>
                <a:solidFill>
                  <a:schemeClr val="accent1"/>
                </a:solidFill>
                <a:effectLst/>
                <a:uLnTx/>
                <a:uFillTx/>
                <a:latin typeface="Segoe UI"/>
                <a:ea typeface="+mn-ea"/>
                <a:cs typeface="+mn-cs"/>
              </a:rPr>
              <a:t>text-embedding-ada-002</a:t>
            </a:r>
            <a:r>
              <a:rPr kumimoji="0" lang="en-US" sz="1600" b="0" i="0" u="none" strike="noStrike" kern="1200" cap="none" spc="0" normalizeH="0" baseline="0" noProof="0">
                <a:ln>
                  <a:noFill/>
                </a:ln>
                <a:solidFill>
                  <a:srgbClr val="FFFFFF"/>
                </a:solidFill>
                <a:effectLst/>
                <a:uLnTx/>
                <a:uFillTx/>
                <a:latin typeface="Segoe UI"/>
                <a:ea typeface="+mn-ea"/>
                <a:cs typeface="+mn-cs"/>
              </a:rPr>
              <a:t>” for </a:t>
            </a:r>
            <a:r>
              <a:rPr kumimoji="0" lang="en-US" sz="1600" b="0" i="0" u="sng" strike="noStrike" kern="1200" cap="none" spc="0" normalizeH="0" baseline="0" noProof="0" dirty="0">
                <a:ln>
                  <a:noFill/>
                </a:ln>
                <a:solidFill>
                  <a:srgbClr val="FFFFFF"/>
                </a:solidFill>
                <a:effectLst/>
                <a:uLnTx/>
                <a:uFillTx/>
                <a:latin typeface="Segoe UI"/>
                <a:ea typeface="+mn-ea"/>
                <a:cs typeface="+mn-cs"/>
              </a:rPr>
              <a:t>text embeddings</a:t>
            </a:r>
            <a:endParaRPr kumimoji="0" lang="en-US" sz="1600" b="0" i="0" u="sng" strike="noStrike" kern="1200" cap="none" spc="0" normalizeH="0" baseline="0" noProof="0" dirty="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We recommend Azure AI Vision </a:t>
            </a:r>
            <a:r>
              <a:rPr kumimoji="0" lang="en-US" sz="1600" b="0" i="0" u="none" strike="noStrike" kern="1200" cap="none" spc="0" normalizeH="0" baseline="0" noProof="0" dirty="0">
                <a:ln>
                  <a:noFill/>
                </a:ln>
                <a:solidFill>
                  <a:schemeClr val="accent1"/>
                </a:solidFill>
                <a:effectLst/>
                <a:uLnTx/>
                <a:uFillTx/>
                <a:latin typeface="Segoe UI"/>
                <a:ea typeface="+mn-ea"/>
                <a:cs typeface="+mn-cs"/>
              </a:rPr>
              <a:t>Image Retrieval API </a:t>
            </a:r>
            <a:r>
              <a:rPr kumimoji="0" lang="en-US" sz="1600" b="0" i="0" u="none" strike="noStrike" kern="1200" cap="none" spc="0" normalizeH="0" baseline="0" noProof="0">
                <a:ln>
                  <a:noFill/>
                </a:ln>
                <a:solidFill>
                  <a:srgbClr val="FFFFFF"/>
                </a:solidFill>
                <a:effectLst/>
                <a:uLnTx/>
                <a:uFillTx/>
                <a:latin typeface="Segoe UI"/>
                <a:ea typeface="+mn-ea"/>
                <a:cs typeface="+mn-cs"/>
              </a:rPr>
              <a:t>for </a:t>
            </a:r>
            <a:r>
              <a:rPr kumimoji="0" lang="en-US" sz="1600" b="0" i="0" u="sng" strike="noStrike" kern="1200" cap="none" spc="0" normalizeH="0" baseline="0" noProof="0" dirty="0">
                <a:ln>
                  <a:noFill/>
                </a:ln>
                <a:solidFill>
                  <a:srgbClr val="FFFFFF"/>
                </a:solidFill>
                <a:effectLst/>
                <a:uLnTx/>
                <a:uFillTx/>
                <a:latin typeface="Segoe UI"/>
                <a:ea typeface="+mn-ea"/>
                <a:cs typeface="+mn-cs"/>
              </a:rPr>
              <a:t>image embeddings</a:t>
            </a:r>
            <a:endParaRPr kumimoji="0" lang="en-US" sz="1600" b="0" i="0" u="sng" strike="noStrike" kern="1200" cap="none" spc="0" normalizeH="0" baseline="0" noProof="0" dirty="0">
              <a:ln>
                <a:noFill/>
              </a:ln>
              <a:solidFill>
                <a:srgbClr val="FFFFFF"/>
              </a:solidFill>
              <a:effectLst/>
              <a:uLnTx/>
              <a:uFillTx/>
              <a:latin typeface="Segoe UI"/>
              <a:ea typeface="+mn-ea"/>
              <a:cs typeface="Segoe UI"/>
            </a:endParaRPr>
          </a:p>
        </p:txBody>
      </p:sp>
    </p:spTree>
    <p:extLst>
      <p:ext uri="{BB962C8B-B14F-4D97-AF65-F5344CB8AC3E}">
        <p14:creationId xmlns:p14="http://schemas.microsoft.com/office/powerpoint/2010/main" val="124276222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1F925-4314-DFAE-5532-AD0BA1F6F76B}"/>
              </a:ext>
            </a:extLst>
          </p:cNvPr>
          <p:cNvSpPr>
            <a:spLocks noGrp="1"/>
          </p:cNvSpPr>
          <p:nvPr>
            <p:ph type="title"/>
          </p:nvPr>
        </p:nvSpPr>
        <p:spPr/>
        <p:txBody>
          <a:bodyPr/>
          <a:lstStyle/>
          <a:p>
            <a:r>
              <a:rPr lang="en-US"/>
              <a:t>Similarity Metrics</a:t>
            </a:r>
          </a:p>
        </p:txBody>
      </p:sp>
      <p:sp>
        <p:nvSpPr>
          <p:cNvPr id="3" name="Content Placeholder 2">
            <a:extLst>
              <a:ext uri="{FF2B5EF4-FFF2-40B4-BE49-F238E27FC236}">
                <a16:creationId xmlns:a16="http://schemas.microsoft.com/office/drawing/2014/main" id="{42EE5199-3778-4BC3-372E-E0736E3751E8}"/>
              </a:ext>
            </a:extLst>
          </p:cNvPr>
          <p:cNvSpPr>
            <a:spLocks noGrp="1"/>
          </p:cNvSpPr>
          <p:nvPr>
            <p:ph sz="quarter" idx="10"/>
          </p:nvPr>
        </p:nvSpPr>
        <p:spPr>
          <a:xfrm>
            <a:off x="584200" y="1842931"/>
            <a:ext cx="3749675" cy="3533275"/>
          </a:xfrm>
        </p:spPr>
        <p:txBody>
          <a:bodyPr/>
          <a:lstStyle/>
          <a:p>
            <a:r>
              <a:rPr lang="en-US" b="1"/>
              <a:t>Cosine similarity</a:t>
            </a:r>
          </a:p>
          <a:p>
            <a:r>
              <a:rPr lang="en-US"/>
              <a:t>Dot Product</a:t>
            </a:r>
          </a:p>
          <a:p>
            <a:r>
              <a:rPr lang="en-US"/>
              <a:t>Euclidean distance</a:t>
            </a:r>
          </a:p>
          <a:p>
            <a:r>
              <a:rPr lang="en-US"/>
              <a:t>Angular</a:t>
            </a:r>
          </a:p>
          <a:p>
            <a:r>
              <a:rPr lang="en-US"/>
              <a:t>Jaccard</a:t>
            </a:r>
          </a:p>
          <a:p>
            <a:r>
              <a:rPr lang="en-US"/>
              <a:t>Many more!</a:t>
            </a:r>
          </a:p>
          <a:p>
            <a:endParaRPr lang="en-US"/>
          </a:p>
        </p:txBody>
      </p:sp>
      <p:pic>
        <p:nvPicPr>
          <p:cNvPr id="5" name="Picture 4">
            <a:extLst>
              <a:ext uri="{FF2B5EF4-FFF2-40B4-BE49-F238E27FC236}">
                <a16:creationId xmlns:a16="http://schemas.microsoft.com/office/drawing/2014/main" id="{E87FCB1A-21B9-0CF2-8C40-0EB936000DA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208967" y="2652710"/>
            <a:ext cx="6257925" cy="1546842"/>
          </a:xfrm>
          <a:prstGeom prst="rect">
            <a:avLst/>
          </a:prstGeom>
        </p:spPr>
      </p:pic>
      <p:sp>
        <p:nvSpPr>
          <p:cNvPr id="6" name="TextBox 5">
            <a:extLst>
              <a:ext uri="{FF2B5EF4-FFF2-40B4-BE49-F238E27FC236}">
                <a16:creationId xmlns:a16="http://schemas.microsoft.com/office/drawing/2014/main" id="{A8D33D8A-7B18-8F67-1C87-18F79865994A}"/>
              </a:ext>
            </a:extLst>
          </p:cNvPr>
          <p:cNvSpPr txBox="1"/>
          <p:nvPr/>
        </p:nvSpPr>
        <p:spPr>
          <a:xfrm>
            <a:off x="514350" y="6400800"/>
            <a:ext cx="1109243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https://platform.openai.com/docs/guides/embeddings/which-distance-function-should-i-use</a:t>
            </a:r>
          </a:p>
        </p:txBody>
      </p:sp>
    </p:spTree>
    <p:extLst>
      <p:ext uri="{BB962C8B-B14F-4D97-AF65-F5344CB8AC3E}">
        <p14:creationId xmlns:p14="http://schemas.microsoft.com/office/powerpoint/2010/main" val="308642273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6F805-C784-DE79-43A6-B9A95F390900}"/>
              </a:ext>
            </a:extLst>
          </p:cNvPr>
          <p:cNvSpPr>
            <a:spLocks noGrp="1"/>
          </p:cNvSpPr>
          <p:nvPr>
            <p:ph type="body" sz="quarter" idx="16"/>
          </p:nvPr>
        </p:nvSpPr>
        <p:spPr>
          <a:xfrm>
            <a:off x="2037906" y="3110785"/>
            <a:ext cx="2313432" cy="553998"/>
          </a:xfrm>
        </p:spPr>
        <p:txBody>
          <a:bodyPr/>
          <a:lstStyle/>
          <a:p>
            <a:r>
              <a:rPr lang="en-US"/>
              <a:t>Dump a Bunch of Data</a:t>
            </a:r>
          </a:p>
        </p:txBody>
      </p:sp>
      <p:sp>
        <p:nvSpPr>
          <p:cNvPr id="6" name="Text Placeholder 5">
            <a:extLst>
              <a:ext uri="{FF2B5EF4-FFF2-40B4-BE49-F238E27FC236}">
                <a16:creationId xmlns:a16="http://schemas.microsoft.com/office/drawing/2014/main" id="{191CFF56-A375-4BF1-35D3-09387E7D28EB}"/>
              </a:ext>
            </a:extLst>
          </p:cNvPr>
          <p:cNvSpPr>
            <a:spLocks noGrp="1"/>
          </p:cNvSpPr>
          <p:nvPr>
            <p:ph type="body" sz="quarter" idx="17"/>
          </p:nvPr>
        </p:nvSpPr>
        <p:spPr>
          <a:xfrm>
            <a:off x="4939284" y="3110785"/>
            <a:ext cx="2313432" cy="276999"/>
          </a:xfrm>
        </p:spPr>
        <p:txBody>
          <a:bodyPr/>
          <a:lstStyle/>
          <a:p>
            <a:r>
              <a:rPr lang="en-US"/>
              <a:t>Run a Query</a:t>
            </a:r>
          </a:p>
        </p:txBody>
      </p:sp>
      <p:sp>
        <p:nvSpPr>
          <p:cNvPr id="8" name="Text Placeholder 7">
            <a:extLst>
              <a:ext uri="{FF2B5EF4-FFF2-40B4-BE49-F238E27FC236}">
                <a16:creationId xmlns:a16="http://schemas.microsoft.com/office/drawing/2014/main" id="{3B04D5CE-BCD8-0023-420E-CC808B9B7A19}"/>
              </a:ext>
            </a:extLst>
          </p:cNvPr>
          <p:cNvSpPr>
            <a:spLocks noGrp="1"/>
          </p:cNvSpPr>
          <p:nvPr>
            <p:ph type="body" sz="quarter" idx="18"/>
          </p:nvPr>
        </p:nvSpPr>
        <p:spPr>
          <a:xfrm>
            <a:off x="7840663" y="3110785"/>
            <a:ext cx="2313432" cy="553998"/>
          </a:xfrm>
        </p:spPr>
        <p:txBody>
          <a:bodyPr/>
          <a:lstStyle/>
          <a:p>
            <a:r>
              <a:rPr lang="en-US"/>
              <a:t>Get the Most Relevant Data Back</a:t>
            </a:r>
          </a:p>
        </p:txBody>
      </p:sp>
      <p:sp>
        <p:nvSpPr>
          <p:cNvPr id="9" name="Title 1">
            <a:extLst>
              <a:ext uri="{FF2B5EF4-FFF2-40B4-BE49-F238E27FC236}">
                <a16:creationId xmlns:a16="http://schemas.microsoft.com/office/drawing/2014/main" id="{DDF81DD2-8338-40C2-3D5A-D15191279C26}"/>
              </a:ext>
            </a:extLst>
          </p:cNvPr>
          <p:cNvSpPr>
            <a:spLocks noGrp="1"/>
          </p:cNvSpPr>
          <p:nvPr>
            <p:ph type="title"/>
          </p:nvPr>
        </p:nvSpPr>
        <p:spPr>
          <a:xfrm>
            <a:off x="588263" y="457200"/>
            <a:ext cx="11018520" cy="800219"/>
          </a:xfrm>
        </p:spPr>
        <p:txBody>
          <a:bodyPr/>
          <a:lstStyle/>
          <a:p>
            <a:pPr algn="l"/>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The Dream Scenario for Vector Search</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kumimoji="0" lang="en-US" sz="2000" b="0" i="0" u="none" strike="noStrike" kern="1200" cap="none" spc="-50" normalizeH="0" baseline="0" noProof="0">
                <a:ln w="3175">
                  <a:noFill/>
                </a:ln>
                <a:solidFill>
                  <a:srgbClr val="50E6FF"/>
                </a:solidFill>
                <a:effectLst/>
                <a:uLnTx/>
                <a:uFillTx/>
                <a:latin typeface="Segoe UI Semibold"/>
                <a:ea typeface="+mn-ea"/>
                <a:cs typeface="Segoe UI"/>
              </a:rPr>
              <a:t>Effortless Data Management and Relevant Search Results</a:t>
            </a:r>
            <a:endParaRPr lang="en-US"/>
          </a:p>
        </p:txBody>
      </p:sp>
      <p:pic>
        <p:nvPicPr>
          <p:cNvPr id="37" name="Graphic 36" descr="Database with solid fill">
            <a:extLst>
              <a:ext uri="{FF2B5EF4-FFF2-40B4-BE49-F238E27FC236}">
                <a16:creationId xmlns:a16="http://schemas.microsoft.com/office/drawing/2014/main" id="{03CED755-2AB1-461F-ECD5-59157D0619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37422" y="1849013"/>
            <a:ext cx="914400" cy="914400"/>
          </a:xfrm>
          <a:prstGeom prst="rect">
            <a:avLst/>
          </a:prstGeom>
        </p:spPr>
      </p:pic>
      <p:pic>
        <p:nvPicPr>
          <p:cNvPr id="38" name="Graphic 37" descr="Research with solid fill">
            <a:extLst>
              <a:ext uri="{FF2B5EF4-FFF2-40B4-BE49-F238E27FC236}">
                <a16:creationId xmlns:a16="http://schemas.microsoft.com/office/drawing/2014/main" id="{B0CAB08B-4436-F810-160F-6640A5D2F5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638800" y="1849013"/>
            <a:ext cx="914400" cy="914400"/>
          </a:xfrm>
          <a:prstGeom prst="rect">
            <a:avLst/>
          </a:prstGeom>
        </p:spPr>
      </p:pic>
      <p:pic>
        <p:nvPicPr>
          <p:cNvPr id="39" name="Graphic 38" descr="Lightbulb and gear with solid fill">
            <a:extLst>
              <a:ext uri="{FF2B5EF4-FFF2-40B4-BE49-F238E27FC236}">
                <a16:creationId xmlns:a16="http://schemas.microsoft.com/office/drawing/2014/main" id="{2852F63F-62AA-B29D-EF3F-2B08BEDF01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40179" y="1849013"/>
            <a:ext cx="914400" cy="914400"/>
          </a:xfrm>
          <a:prstGeom prst="rect">
            <a:avLst/>
          </a:prstGeom>
        </p:spPr>
      </p:pic>
      <p:grpSp>
        <p:nvGrpSpPr>
          <p:cNvPr id="2" name="Group 1">
            <a:extLst>
              <a:ext uri="{FF2B5EF4-FFF2-40B4-BE49-F238E27FC236}">
                <a16:creationId xmlns:a16="http://schemas.microsoft.com/office/drawing/2014/main" id="{30CF42BC-448A-B2E9-5C7D-3B38C003C22E}"/>
              </a:ext>
              <a:ext uri="{C183D7F6-B498-43B3-948B-1728B52AA6E4}">
                <adec:decorative xmlns:adec="http://schemas.microsoft.com/office/drawing/2017/decorative" val="1"/>
              </a:ext>
            </a:extLst>
          </p:cNvPr>
          <p:cNvGrpSpPr/>
          <p:nvPr/>
        </p:nvGrpSpPr>
        <p:grpSpPr>
          <a:xfrm>
            <a:off x="203200" y="4140200"/>
            <a:ext cx="11226800" cy="2133600"/>
            <a:chOff x="203200" y="4140200"/>
            <a:chExt cx="11226800" cy="2133600"/>
          </a:xfrm>
        </p:grpSpPr>
        <p:sp>
          <p:nvSpPr>
            <p:cNvPr id="41" name="TextBox 40">
              <a:extLst>
                <a:ext uri="{FF2B5EF4-FFF2-40B4-BE49-F238E27FC236}">
                  <a16:creationId xmlns:a16="http://schemas.microsoft.com/office/drawing/2014/main" id="{3E0A5765-BA93-E64E-3C4B-6EB883E77633}"/>
                </a:ext>
              </a:extLst>
            </p:cNvPr>
            <p:cNvSpPr txBox="1"/>
            <p:nvPr/>
          </p:nvSpPr>
          <p:spPr>
            <a:xfrm>
              <a:off x="412306" y="4276923"/>
              <a:ext cx="162560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Segoe UI"/>
                  <a:ea typeface="+mn-ea"/>
                  <a:cs typeface="+mn-cs"/>
                </a:rPr>
                <a:t>Common Challenges</a:t>
              </a:r>
            </a:p>
          </p:txBody>
        </p:sp>
        <p:sp>
          <p:nvSpPr>
            <p:cNvPr id="42" name="TextBox 41">
              <a:extLst>
                <a:ext uri="{FF2B5EF4-FFF2-40B4-BE49-F238E27FC236}">
                  <a16:creationId xmlns:a16="http://schemas.microsoft.com/office/drawing/2014/main" id="{8AA2D9FD-2D7B-FCD8-F4E6-CB79A0FDB1EC}"/>
                </a:ext>
              </a:extLst>
            </p:cNvPr>
            <p:cNvSpPr txBox="1"/>
            <p:nvPr/>
          </p:nvSpPr>
          <p:spPr>
            <a:xfrm>
              <a:off x="2037906" y="4276803"/>
              <a:ext cx="2557462" cy="1538883"/>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calabil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Preprocessing</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plitting/Chunking</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Embedding management </a:t>
              </a:r>
            </a:p>
          </p:txBody>
        </p:sp>
        <p:sp>
          <p:nvSpPr>
            <p:cNvPr id="44" name="TextBox 43">
              <a:extLst>
                <a:ext uri="{FF2B5EF4-FFF2-40B4-BE49-F238E27FC236}">
                  <a16:creationId xmlns:a16="http://schemas.microsoft.com/office/drawing/2014/main" id="{9F1B2BAD-DDF1-B1D0-A40E-DDE1C7CBDA5E}"/>
                </a:ext>
              </a:extLst>
            </p:cNvPr>
            <p:cNvSpPr txBox="1"/>
            <p:nvPr/>
          </p:nvSpPr>
          <p:spPr>
            <a:xfrm>
              <a:off x="4939284" y="4276803"/>
              <a:ext cx="2557462" cy="12311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Query understanding</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Query flexibil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E5BF2FDB-44F7-95E3-6D66-CE3A2F7D909F}"/>
                </a:ext>
              </a:extLst>
            </p:cNvPr>
            <p:cNvSpPr txBox="1"/>
            <p:nvPr/>
          </p:nvSpPr>
          <p:spPr>
            <a:xfrm>
              <a:off x="7840663" y="4236302"/>
              <a:ext cx="2557462" cy="1231106"/>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Ranking accurac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Result Diversity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arch algorithm</a:t>
              </a: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E8C820F8-2869-FCC0-1E45-74B08961D9DC}"/>
                </a:ext>
              </a:extLst>
            </p:cNvPr>
            <p:cNvSpPr/>
            <p:nvPr/>
          </p:nvSpPr>
          <p:spPr bwMode="auto">
            <a:xfrm>
              <a:off x="203200" y="4140200"/>
              <a:ext cx="11226800" cy="2133600"/>
            </a:xfrm>
            <a:prstGeom prst="rect">
              <a:avLst/>
            </a:prstGeom>
            <a:noFill/>
            <a:ln w="28575">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60710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B622AEB-2EB0-24EB-7632-B40B063CA0E8}"/>
              </a:ext>
            </a:extLst>
          </p:cNvPr>
          <p:cNvSpPr>
            <a:spLocks noGrp="1"/>
          </p:cNvSpPr>
          <p:nvPr>
            <p:ph type="title"/>
          </p:nvPr>
        </p:nvSpPr>
        <p:spPr>
          <a:xfrm>
            <a:off x="588263" y="457200"/>
            <a:ext cx="11018520" cy="800219"/>
          </a:xfrm>
        </p:spPr>
        <p:txBody>
          <a:bodyPr/>
          <a:lstStyle/>
          <a:p>
            <a:r>
              <a:rPr lang="en-US" sz="3200">
                <a:solidFill>
                  <a:srgbClr val="FFFFFF"/>
                </a:solidFill>
                <a:cs typeface="Segoe UI"/>
              </a:rPr>
              <a:t>Introducing vector search in Azure AI Search</a:t>
            </a:r>
            <a:br>
              <a:rPr lang="en-US" sz="2000">
                <a:cs typeface="Segoe UI"/>
              </a:rPr>
            </a:br>
            <a:r>
              <a:rPr lang="en-US" sz="2000">
                <a:solidFill>
                  <a:schemeClr val="accent1"/>
                </a:solidFill>
                <a:cs typeface="Segoe UI"/>
              </a:rPr>
              <a:t>Revolutionize indexing and retrieval augmented generation for LLM Apps</a:t>
            </a:r>
          </a:p>
        </p:txBody>
      </p:sp>
      <p:sp>
        <p:nvSpPr>
          <p:cNvPr id="36" name="TextBox 35">
            <a:extLst>
              <a:ext uri="{FF2B5EF4-FFF2-40B4-BE49-F238E27FC236}">
                <a16:creationId xmlns:a16="http://schemas.microsoft.com/office/drawing/2014/main" id="{C5F322FA-8495-4C31-7D17-77D77E8C0C1A}"/>
              </a:ext>
            </a:extLst>
          </p:cNvPr>
          <p:cNvSpPr txBox="1"/>
          <p:nvPr/>
        </p:nvSpPr>
        <p:spPr>
          <a:xfrm>
            <a:off x="2922372" y="2663370"/>
            <a:ext cx="1179328" cy="3139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mages</a:t>
            </a:r>
          </a:p>
        </p:txBody>
      </p:sp>
      <p:sp>
        <p:nvSpPr>
          <p:cNvPr id="40" name="TextBox 39">
            <a:extLst>
              <a:ext uri="{FF2B5EF4-FFF2-40B4-BE49-F238E27FC236}">
                <a16:creationId xmlns:a16="http://schemas.microsoft.com/office/drawing/2014/main" id="{6D75B2FF-E501-C48E-DF32-D673B473EAB6}"/>
              </a:ext>
            </a:extLst>
          </p:cNvPr>
          <p:cNvSpPr txBox="1"/>
          <p:nvPr/>
        </p:nvSpPr>
        <p:spPr>
          <a:xfrm>
            <a:off x="4122961" y="2663370"/>
            <a:ext cx="1179328" cy="3139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udio</a:t>
            </a:r>
          </a:p>
        </p:txBody>
      </p:sp>
      <p:sp>
        <p:nvSpPr>
          <p:cNvPr id="41" name="TextBox 40">
            <a:extLst>
              <a:ext uri="{FF2B5EF4-FFF2-40B4-BE49-F238E27FC236}">
                <a16:creationId xmlns:a16="http://schemas.microsoft.com/office/drawing/2014/main" id="{01BF1E58-FB48-4282-F756-FD7AC83950E1}"/>
              </a:ext>
            </a:extLst>
          </p:cNvPr>
          <p:cNvSpPr txBox="1"/>
          <p:nvPr/>
        </p:nvSpPr>
        <p:spPr>
          <a:xfrm>
            <a:off x="5323550" y="2663370"/>
            <a:ext cx="1179328" cy="313932"/>
          </a:xfrm>
          <a:prstGeom prst="rect">
            <a:avLst/>
          </a:prstGeom>
          <a:noFill/>
        </p:spPr>
        <p:txBody>
          <a:bodyPr wrap="square" lIns="0">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Video</a:t>
            </a:r>
          </a:p>
        </p:txBody>
      </p:sp>
      <p:sp>
        <p:nvSpPr>
          <p:cNvPr id="5" name="TextBox 4">
            <a:extLst>
              <a:ext uri="{FF2B5EF4-FFF2-40B4-BE49-F238E27FC236}">
                <a16:creationId xmlns:a16="http://schemas.microsoft.com/office/drawing/2014/main" id="{4DB4B79B-99DF-2E7C-844A-0404B209DAC3}"/>
              </a:ext>
            </a:extLst>
          </p:cNvPr>
          <p:cNvSpPr txBox="1"/>
          <p:nvPr/>
        </p:nvSpPr>
        <p:spPr>
          <a:xfrm>
            <a:off x="6524139" y="2663370"/>
            <a:ext cx="1179328" cy="313932"/>
          </a:xfrm>
          <a:prstGeom prst="rect">
            <a:avLst/>
          </a:prstGeom>
          <a:noFill/>
        </p:spPr>
        <p:txBody>
          <a:bodyPr wrap="square" lIns="0" tIns="45720" rIns="91440" bIns="45720" anchor="t">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a:rPr>
              <a:t>Graphs</a:t>
            </a:r>
            <a:endPar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42" name="TextBox 41">
            <a:extLst>
              <a:ext uri="{FF2B5EF4-FFF2-40B4-BE49-F238E27FC236}">
                <a16:creationId xmlns:a16="http://schemas.microsoft.com/office/drawing/2014/main" id="{71EB2C12-CA80-269C-09EF-2047C37E452E}"/>
              </a:ext>
            </a:extLst>
          </p:cNvPr>
          <p:cNvSpPr txBox="1"/>
          <p:nvPr/>
        </p:nvSpPr>
        <p:spPr>
          <a:xfrm>
            <a:off x="7788228" y="2663370"/>
            <a:ext cx="1179328" cy="313932"/>
          </a:xfrm>
          <a:prstGeom prst="rect">
            <a:avLst/>
          </a:prstGeom>
          <a:noFill/>
        </p:spPr>
        <p:txBody>
          <a:bodyPr wrap="square" lIns="0" tIns="45720" rIns="91440" bIns="45720" anchor="t">
            <a:spAutoFit/>
          </a:bodyPr>
          <a:lstStyle/>
          <a:p>
            <a:pPr marL="0" marR="0" lvl="1" indent="0" algn="ctr" defTabSz="914102" rtl="0" eaLnBrk="1" fontAlgn="base" latinLnBrk="0" hangingPunct="1">
              <a:lnSpc>
                <a:spcPct val="90000"/>
              </a:lnSpc>
              <a:spcBef>
                <a:spcPts val="0"/>
              </a:spcBef>
              <a:spcAft>
                <a:spcPct val="0"/>
              </a:spcAft>
              <a:buClrTx/>
              <a:buSzPct val="90000"/>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a:rPr>
              <a:t>Text</a:t>
            </a:r>
            <a:endParaRPr kumimoji="0" lang="en-US" sz="1600" b="0" i="0" u="none" strike="noStrike" kern="0" cap="none" spc="0" normalizeH="0" baseline="0" noProof="0" err="1">
              <a:ln>
                <a:noFill/>
              </a:ln>
              <a:solidFill>
                <a:srgbClr val="FFFFFF"/>
              </a:soli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B92F3CA5-FC01-745D-B757-665890029F73}"/>
              </a:ext>
            </a:extLst>
          </p:cNvPr>
          <p:cNvSpPr txBox="1"/>
          <p:nvPr/>
        </p:nvSpPr>
        <p:spPr>
          <a:xfrm>
            <a:off x="675956" y="3692282"/>
            <a:ext cx="6097979" cy="126188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Leverage data from any data store</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Improve relevancy </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Query across multiple types of data </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Quickly search through large data sets</a:t>
            </a:r>
          </a:p>
        </p:txBody>
      </p:sp>
      <p:sp>
        <p:nvSpPr>
          <p:cNvPr id="9" name="TextBox 8">
            <a:extLst>
              <a:ext uri="{FF2B5EF4-FFF2-40B4-BE49-F238E27FC236}">
                <a16:creationId xmlns:a16="http://schemas.microsoft.com/office/drawing/2014/main" id="{147735F0-936D-608F-7E11-959EBD71C7BD}"/>
              </a:ext>
            </a:extLst>
          </p:cNvPr>
          <p:cNvSpPr txBox="1"/>
          <p:nvPr/>
        </p:nvSpPr>
        <p:spPr>
          <a:xfrm>
            <a:off x="6112465" y="3692282"/>
            <a:ext cx="5217225" cy="12105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Deploy with enterprise-grade security</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Easily scale with changing workloads</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a:rPr>
              <a:t>Build retrieval plugins for OpenAI's ChatGPT using Azure OpenAI service</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A5B81CE1-91F0-43C2-D1D4-E4B060CF5FBB}"/>
              </a:ext>
              <a:ext uri="{C183D7F6-B498-43B3-948B-1728B52AA6E4}">
                <adec:decorative xmlns:adec="http://schemas.microsoft.com/office/drawing/2017/decorative" val="1"/>
              </a:ext>
            </a:extLst>
          </p:cNvPr>
          <p:cNvGrpSpPr/>
          <p:nvPr/>
        </p:nvGrpSpPr>
        <p:grpSpPr>
          <a:xfrm>
            <a:off x="5722714" y="2233367"/>
            <a:ext cx="381000" cy="295275"/>
            <a:chOff x="8479868" y="2263783"/>
            <a:chExt cx="381000" cy="295275"/>
          </a:xfrm>
        </p:grpSpPr>
        <p:sp>
          <p:nvSpPr>
            <p:cNvPr id="33" name="Freeform: Shape 32">
              <a:extLst>
                <a:ext uri="{FF2B5EF4-FFF2-40B4-BE49-F238E27FC236}">
                  <a16:creationId xmlns:a16="http://schemas.microsoft.com/office/drawing/2014/main" id="{5DE71889-6D53-B5B4-83A1-E05032119405}"/>
                </a:ext>
              </a:extLst>
            </p:cNvPr>
            <p:cNvSpPr/>
            <p:nvPr/>
          </p:nvSpPr>
          <p:spPr>
            <a:xfrm>
              <a:off x="8551305" y="232569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4" name="Freeform: Shape 33">
              <a:extLst>
                <a:ext uri="{FF2B5EF4-FFF2-40B4-BE49-F238E27FC236}">
                  <a16:creationId xmlns:a16="http://schemas.microsoft.com/office/drawing/2014/main" id="{2B28025F-E349-71F9-CA0D-F194D8E1F824}"/>
                </a:ext>
              </a:extLst>
            </p:cNvPr>
            <p:cNvSpPr/>
            <p:nvPr/>
          </p:nvSpPr>
          <p:spPr>
            <a:xfrm>
              <a:off x="8551305" y="236379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5" name="Freeform: Shape 34">
              <a:extLst>
                <a:ext uri="{FF2B5EF4-FFF2-40B4-BE49-F238E27FC236}">
                  <a16:creationId xmlns:a16="http://schemas.microsoft.com/office/drawing/2014/main" id="{FBD00D0C-7E39-7A24-5EB6-442796A13B5A}"/>
                </a:ext>
              </a:extLst>
            </p:cNvPr>
            <p:cNvSpPr/>
            <p:nvPr/>
          </p:nvSpPr>
          <p:spPr>
            <a:xfrm>
              <a:off x="8532255" y="234474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7" name="Freeform: Shape 36">
              <a:extLst>
                <a:ext uri="{FF2B5EF4-FFF2-40B4-BE49-F238E27FC236}">
                  <a16:creationId xmlns:a16="http://schemas.microsoft.com/office/drawing/2014/main" id="{09477AC4-F0C9-B9EA-8BB9-44AE99521D98}"/>
                </a:ext>
              </a:extLst>
            </p:cNvPr>
            <p:cNvSpPr/>
            <p:nvPr/>
          </p:nvSpPr>
          <p:spPr>
            <a:xfrm>
              <a:off x="8570355" y="234474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8" name="Freeform: Shape 37">
              <a:extLst>
                <a:ext uri="{FF2B5EF4-FFF2-40B4-BE49-F238E27FC236}">
                  <a16:creationId xmlns:a16="http://schemas.microsoft.com/office/drawing/2014/main" id="{3EF6725B-31C1-9056-1807-298C28D28EAA}"/>
                </a:ext>
              </a:extLst>
            </p:cNvPr>
            <p:cNvSpPr/>
            <p:nvPr/>
          </p:nvSpPr>
          <p:spPr>
            <a:xfrm>
              <a:off x="8684655" y="230664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39" name="Freeform: Shape 38">
              <a:extLst>
                <a:ext uri="{FF2B5EF4-FFF2-40B4-BE49-F238E27FC236}">
                  <a16:creationId xmlns:a16="http://schemas.microsoft.com/office/drawing/2014/main" id="{6C4A13E0-4BB4-C827-EEBE-5796693D32A9}"/>
                </a:ext>
              </a:extLst>
            </p:cNvPr>
            <p:cNvSpPr/>
            <p:nvPr/>
          </p:nvSpPr>
          <p:spPr>
            <a:xfrm>
              <a:off x="8684655" y="234474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3" name="Freeform: Shape 42">
              <a:extLst>
                <a:ext uri="{FF2B5EF4-FFF2-40B4-BE49-F238E27FC236}">
                  <a16:creationId xmlns:a16="http://schemas.microsoft.com/office/drawing/2014/main" id="{03EF9B27-DA0E-BEF2-7C03-D85C04277011}"/>
                </a:ext>
              </a:extLst>
            </p:cNvPr>
            <p:cNvSpPr/>
            <p:nvPr/>
          </p:nvSpPr>
          <p:spPr>
            <a:xfrm>
              <a:off x="8665605" y="232569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4" name="Freeform: Shape 43">
              <a:extLst>
                <a:ext uri="{FF2B5EF4-FFF2-40B4-BE49-F238E27FC236}">
                  <a16:creationId xmlns:a16="http://schemas.microsoft.com/office/drawing/2014/main" id="{A7E34136-168B-783A-8BD1-759364AE44E0}"/>
                </a:ext>
              </a:extLst>
            </p:cNvPr>
            <p:cNvSpPr/>
            <p:nvPr/>
          </p:nvSpPr>
          <p:spPr>
            <a:xfrm>
              <a:off x="8703705" y="2325696"/>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5" name="Freeform: Shape 44">
              <a:extLst>
                <a:ext uri="{FF2B5EF4-FFF2-40B4-BE49-F238E27FC236}">
                  <a16:creationId xmlns:a16="http://schemas.microsoft.com/office/drawing/2014/main" id="{9B39FED5-82E7-9F3C-307F-E113FFC8D343}"/>
                </a:ext>
              </a:extLst>
            </p:cNvPr>
            <p:cNvSpPr/>
            <p:nvPr/>
          </p:nvSpPr>
          <p:spPr>
            <a:xfrm>
              <a:off x="8765618" y="2397133"/>
              <a:ext cx="95250" cy="161925"/>
            </a:xfrm>
            <a:custGeom>
              <a:avLst/>
              <a:gdLst>
                <a:gd name="connsiteX0" fmla="*/ 66675 w 95250"/>
                <a:gd name="connsiteY0" fmla="*/ 0 h 161925"/>
                <a:gd name="connsiteX1" fmla="*/ 38100 w 95250"/>
                <a:gd name="connsiteY1" fmla="*/ 28575 h 161925"/>
                <a:gd name="connsiteX2" fmla="*/ 0 w 95250"/>
                <a:gd name="connsiteY2" fmla="*/ 28575 h 161925"/>
                <a:gd name="connsiteX3" fmla="*/ 0 w 95250"/>
                <a:gd name="connsiteY3" fmla="*/ 133350 h 161925"/>
                <a:gd name="connsiteX4" fmla="*/ 38100 w 95250"/>
                <a:gd name="connsiteY4" fmla="*/ 133350 h 161925"/>
                <a:gd name="connsiteX5" fmla="*/ 66675 w 95250"/>
                <a:gd name="connsiteY5" fmla="*/ 161925 h 161925"/>
                <a:gd name="connsiteX6" fmla="*/ 95250 w 95250"/>
                <a:gd name="connsiteY6" fmla="*/ 161925 h 161925"/>
                <a:gd name="connsiteX7" fmla="*/ 95250 w 95250"/>
                <a:gd name="connsiteY7"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61925">
                  <a:moveTo>
                    <a:pt x="66675" y="0"/>
                  </a:moveTo>
                  <a:lnTo>
                    <a:pt x="38100" y="28575"/>
                  </a:lnTo>
                  <a:lnTo>
                    <a:pt x="0" y="28575"/>
                  </a:lnTo>
                  <a:lnTo>
                    <a:pt x="0" y="133350"/>
                  </a:lnTo>
                  <a:lnTo>
                    <a:pt x="38100" y="133350"/>
                  </a:lnTo>
                  <a:lnTo>
                    <a:pt x="66675" y="161925"/>
                  </a:lnTo>
                  <a:lnTo>
                    <a:pt x="95250" y="161925"/>
                  </a:lnTo>
                  <a:lnTo>
                    <a:pt x="95250" y="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46" name="Freeform: Shape 45">
              <a:extLst>
                <a:ext uri="{FF2B5EF4-FFF2-40B4-BE49-F238E27FC236}">
                  <a16:creationId xmlns:a16="http://schemas.microsoft.com/office/drawing/2014/main" id="{1A40CF8D-4E26-5028-C90B-7D1FF224CF68}"/>
                </a:ext>
              </a:extLst>
            </p:cNvPr>
            <p:cNvSpPr/>
            <p:nvPr/>
          </p:nvSpPr>
          <p:spPr>
            <a:xfrm>
              <a:off x="8479868" y="2263783"/>
              <a:ext cx="285750" cy="295275"/>
            </a:xfrm>
            <a:custGeom>
              <a:avLst/>
              <a:gdLst>
                <a:gd name="connsiteX0" fmla="*/ 214313 w 285750"/>
                <a:gd name="connsiteY0" fmla="*/ 114300 h 295275"/>
                <a:gd name="connsiteX1" fmla="*/ 171450 w 285750"/>
                <a:gd name="connsiteY1" fmla="*/ 71438 h 295275"/>
                <a:gd name="connsiteX2" fmla="*/ 214313 w 285750"/>
                <a:gd name="connsiteY2" fmla="*/ 28575 h 295275"/>
                <a:gd name="connsiteX3" fmla="*/ 257175 w 285750"/>
                <a:gd name="connsiteY3" fmla="*/ 71438 h 295275"/>
                <a:gd name="connsiteX4" fmla="*/ 214313 w 285750"/>
                <a:gd name="connsiteY4" fmla="*/ 114300 h 295275"/>
                <a:gd name="connsiteX5" fmla="*/ 228600 w 285750"/>
                <a:gd name="connsiteY5" fmla="*/ 266700 h 295275"/>
                <a:gd name="connsiteX6" fmla="*/ 219075 w 285750"/>
                <a:gd name="connsiteY6" fmla="*/ 257175 h 295275"/>
                <a:gd name="connsiteX7" fmla="*/ 228600 w 285750"/>
                <a:gd name="connsiteY7" fmla="*/ 247650 h 295275"/>
                <a:gd name="connsiteX8" fmla="*/ 238125 w 285750"/>
                <a:gd name="connsiteY8" fmla="*/ 257175 h 295275"/>
                <a:gd name="connsiteX9" fmla="*/ 228600 w 285750"/>
                <a:gd name="connsiteY9" fmla="*/ 266700 h 295275"/>
                <a:gd name="connsiteX10" fmla="*/ 138113 w 285750"/>
                <a:gd name="connsiteY10" fmla="*/ 133350 h 295275"/>
                <a:gd name="connsiteX11" fmla="*/ 150971 w 285750"/>
                <a:gd name="connsiteY11" fmla="*/ 104299 h 295275"/>
                <a:gd name="connsiteX12" fmla="*/ 178594 w 285750"/>
                <a:gd name="connsiteY12" fmla="*/ 133350 h 295275"/>
                <a:gd name="connsiteX13" fmla="*/ 138113 w 285750"/>
                <a:gd name="connsiteY13" fmla="*/ 133350 h 295275"/>
                <a:gd name="connsiteX14" fmla="*/ 80963 w 285750"/>
                <a:gd name="connsiteY14" fmla="*/ 133350 h 295275"/>
                <a:gd name="connsiteX15" fmla="*/ 38100 w 285750"/>
                <a:gd name="connsiteY15" fmla="*/ 90488 h 295275"/>
                <a:gd name="connsiteX16" fmla="*/ 80963 w 285750"/>
                <a:gd name="connsiteY16" fmla="*/ 47625 h 295275"/>
                <a:gd name="connsiteX17" fmla="*/ 123825 w 285750"/>
                <a:gd name="connsiteY17" fmla="*/ 90488 h 295275"/>
                <a:gd name="connsiteX18" fmla="*/ 80963 w 285750"/>
                <a:gd name="connsiteY18" fmla="*/ 133350 h 295275"/>
                <a:gd name="connsiteX19" fmla="*/ 249555 w 285750"/>
                <a:gd name="connsiteY19" fmla="*/ 133350 h 295275"/>
                <a:gd name="connsiteX20" fmla="*/ 285750 w 285750"/>
                <a:gd name="connsiteY20" fmla="*/ 71438 h 295275"/>
                <a:gd name="connsiteX21" fmla="*/ 214313 w 285750"/>
                <a:gd name="connsiteY21" fmla="*/ 0 h 295275"/>
                <a:gd name="connsiteX22" fmla="*/ 144304 w 285750"/>
                <a:gd name="connsiteY22" fmla="*/ 57626 h 295275"/>
                <a:gd name="connsiteX23" fmla="*/ 80963 w 285750"/>
                <a:gd name="connsiteY23" fmla="*/ 19050 h 295275"/>
                <a:gd name="connsiteX24" fmla="*/ 9525 w 285750"/>
                <a:gd name="connsiteY24" fmla="*/ 90488 h 295275"/>
                <a:gd name="connsiteX25" fmla="*/ 38100 w 285750"/>
                <a:gd name="connsiteY25" fmla="*/ 147638 h 295275"/>
                <a:gd name="connsiteX26" fmla="*/ 38100 w 285750"/>
                <a:gd name="connsiteY26" fmla="*/ 161925 h 295275"/>
                <a:gd name="connsiteX27" fmla="*/ 28575 w 285750"/>
                <a:gd name="connsiteY27" fmla="*/ 161925 h 295275"/>
                <a:gd name="connsiteX28" fmla="*/ 19050 w 285750"/>
                <a:gd name="connsiteY28" fmla="*/ 152400 h 295275"/>
                <a:gd name="connsiteX29" fmla="*/ 0 w 285750"/>
                <a:gd name="connsiteY29" fmla="*/ 152400 h 295275"/>
                <a:gd name="connsiteX30" fmla="*/ 0 w 285750"/>
                <a:gd name="connsiteY30" fmla="*/ 200025 h 295275"/>
                <a:gd name="connsiteX31" fmla="*/ 19050 w 285750"/>
                <a:gd name="connsiteY31" fmla="*/ 200025 h 295275"/>
                <a:gd name="connsiteX32" fmla="*/ 28575 w 285750"/>
                <a:gd name="connsiteY32" fmla="*/ 190500 h 295275"/>
                <a:gd name="connsiteX33" fmla="*/ 38100 w 285750"/>
                <a:gd name="connsiteY33" fmla="*/ 190500 h 295275"/>
                <a:gd name="connsiteX34" fmla="*/ 38100 w 285750"/>
                <a:gd name="connsiteY34" fmla="*/ 276225 h 295275"/>
                <a:gd name="connsiteX35" fmla="*/ 57150 w 285750"/>
                <a:gd name="connsiteY35" fmla="*/ 295275 h 295275"/>
                <a:gd name="connsiteX36" fmla="*/ 247650 w 285750"/>
                <a:gd name="connsiteY36" fmla="*/ 295275 h 295275"/>
                <a:gd name="connsiteX37" fmla="*/ 266700 w 285750"/>
                <a:gd name="connsiteY37" fmla="*/ 276225 h 295275"/>
                <a:gd name="connsiteX38" fmla="*/ 266700 w 285750"/>
                <a:gd name="connsiteY38" fmla="*/ 152400 h 295275"/>
                <a:gd name="connsiteX39" fmla="*/ 249555 w 285750"/>
                <a:gd name="connsiteY39" fmla="*/ 13335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0" h="295275">
                  <a:moveTo>
                    <a:pt x="214313" y="114300"/>
                  </a:moveTo>
                  <a:cubicBezTo>
                    <a:pt x="190500" y="114300"/>
                    <a:pt x="171450" y="95250"/>
                    <a:pt x="171450" y="71438"/>
                  </a:cubicBezTo>
                  <a:cubicBezTo>
                    <a:pt x="171450" y="47625"/>
                    <a:pt x="190500" y="28575"/>
                    <a:pt x="214313" y="28575"/>
                  </a:cubicBezTo>
                  <a:cubicBezTo>
                    <a:pt x="238125" y="28575"/>
                    <a:pt x="257175" y="47625"/>
                    <a:pt x="257175" y="71438"/>
                  </a:cubicBezTo>
                  <a:cubicBezTo>
                    <a:pt x="257175" y="95250"/>
                    <a:pt x="238125" y="114300"/>
                    <a:pt x="214313" y="114300"/>
                  </a:cubicBezTo>
                  <a:close/>
                  <a:moveTo>
                    <a:pt x="228600" y="266700"/>
                  </a:moveTo>
                  <a:cubicBezTo>
                    <a:pt x="223361" y="266700"/>
                    <a:pt x="219075" y="262414"/>
                    <a:pt x="219075" y="257175"/>
                  </a:cubicBezTo>
                  <a:cubicBezTo>
                    <a:pt x="219075" y="251936"/>
                    <a:pt x="223361" y="247650"/>
                    <a:pt x="228600" y="247650"/>
                  </a:cubicBezTo>
                  <a:cubicBezTo>
                    <a:pt x="233839" y="247650"/>
                    <a:pt x="238125" y="251936"/>
                    <a:pt x="238125" y="257175"/>
                  </a:cubicBezTo>
                  <a:cubicBezTo>
                    <a:pt x="238125" y="262414"/>
                    <a:pt x="233839" y="266700"/>
                    <a:pt x="228600" y="266700"/>
                  </a:cubicBezTo>
                  <a:close/>
                  <a:moveTo>
                    <a:pt x="138113" y="133350"/>
                  </a:moveTo>
                  <a:cubicBezTo>
                    <a:pt x="144304" y="124778"/>
                    <a:pt x="149066" y="115253"/>
                    <a:pt x="150971" y="104299"/>
                  </a:cubicBezTo>
                  <a:cubicBezTo>
                    <a:pt x="157163" y="116205"/>
                    <a:pt x="167164" y="126206"/>
                    <a:pt x="178594" y="133350"/>
                  </a:cubicBezTo>
                  <a:lnTo>
                    <a:pt x="138113" y="133350"/>
                  </a:lnTo>
                  <a:close/>
                  <a:moveTo>
                    <a:pt x="80963" y="133350"/>
                  </a:moveTo>
                  <a:cubicBezTo>
                    <a:pt x="57150" y="133350"/>
                    <a:pt x="38100" y="114300"/>
                    <a:pt x="38100" y="90488"/>
                  </a:cubicBezTo>
                  <a:cubicBezTo>
                    <a:pt x="38100" y="66675"/>
                    <a:pt x="57150" y="47625"/>
                    <a:pt x="80963" y="47625"/>
                  </a:cubicBezTo>
                  <a:cubicBezTo>
                    <a:pt x="104775" y="47625"/>
                    <a:pt x="123825" y="66675"/>
                    <a:pt x="123825" y="90488"/>
                  </a:cubicBezTo>
                  <a:cubicBezTo>
                    <a:pt x="123825" y="114300"/>
                    <a:pt x="104775" y="133350"/>
                    <a:pt x="80963" y="133350"/>
                  </a:cubicBezTo>
                  <a:close/>
                  <a:moveTo>
                    <a:pt x="249555" y="133350"/>
                  </a:moveTo>
                  <a:cubicBezTo>
                    <a:pt x="270986" y="120968"/>
                    <a:pt x="285750" y="98107"/>
                    <a:pt x="285750" y="71438"/>
                  </a:cubicBezTo>
                  <a:cubicBezTo>
                    <a:pt x="285750" y="31909"/>
                    <a:pt x="253841" y="0"/>
                    <a:pt x="214313" y="0"/>
                  </a:cubicBezTo>
                  <a:cubicBezTo>
                    <a:pt x="179546" y="0"/>
                    <a:pt x="150971" y="24765"/>
                    <a:pt x="144304" y="57626"/>
                  </a:cubicBezTo>
                  <a:cubicBezTo>
                    <a:pt x="132398" y="34766"/>
                    <a:pt x="108585" y="19050"/>
                    <a:pt x="80963" y="19050"/>
                  </a:cubicBezTo>
                  <a:cubicBezTo>
                    <a:pt x="41434" y="19050"/>
                    <a:pt x="9525" y="50959"/>
                    <a:pt x="9525" y="90488"/>
                  </a:cubicBezTo>
                  <a:cubicBezTo>
                    <a:pt x="9525" y="113824"/>
                    <a:pt x="20955" y="134303"/>
                    <a:pt x="38100" y="147638"/>
                  </a:cubicBezTo>
                  <a:lnTo>
                    <a:pt x="38100" y="161925"/>
                  </a:lnTo>
                  <a:lnTo>
                    <a:pt x="28575" y="161925"/>
                  </a:lnTo>
                  <a:lnTo>
                    <a:pt x="19050" y="152400"/>
                  </a:lnTo>
                  <a:lnTo>
                    <a:pt x="0" y="152400"/>
                  </a:lnTo>
                  <a:lnTo>
                    <a:pt x="0" y="200025"/>
                  </a:lnTo>
                  <a:lnTo>
                    <a:pt x="19050" y="200025"/>
                  </a:lnTo>
                  <a:lnTo>
                    <a:pt x="28575" y="190500"/>
                  </a:lnTo>
                  <a:lnTo>
                    <a:pt x="38100" y="190500"/>
                  </a:lnTo>
                  <a:lnTo>
                    <a:pt x="38100" y="276225"/>
                  </a:lnTo>
                  <a:cubicBezTo>
                    <a:pt x="38100" y="286703"/>
                    <a:pt x="46672" y="295275"/>
                    <a:pt x="57150" y="295275"/>
                  </a:cubicBezTo>
                  <a:lnTo>
                    <a:pt x="247650" y="295275"/>
                  </a:lnTo>
                  <a:cubicBezTo>
                    <a:pt x="258128" y="295275"/>
                    <a:pt x="266700" y="286703"/>
                    <a:pt x="266700" y="276225"/>
                  </a:cubicBezTo>
                  <a:lnTo>
                    <a:pt x="266700" y="152400"/>
                  </a:lnTo>
                  <a:cubicBezTo>
                    <a:pt x="266700" y="142399"/>
                    <a:pt x="259080" y="134303"/>
                    <a:pt x="249555" y="133350"/>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grpSp>
      <p:sp>
        <p:nvSpPr>
          <p:cNvPr id="48" name="Graphic 24">
            <a:extLst>
              <a:ext uri="{FF2B5EF4-FFF2-40B4-BE49-F238E27FC236}">
                <a16:creationId xmlns:a16="http://schemas.microsoft.com/office/drawing/2014/main" id="{B3153CFC-D80F-66FE-519D-EA65D2A419F7}"/>
              </a:ext>
              <a:ext uri="{C183D7F6-B498-43B3-948B-1728B52AA6E4}">
                <adec:decorative xmlns:adec="http://schemas.microsoft.com/office/drawing/2017/decorative" val="1"/>
              </a:ext>
            </a:extLst>
          </p:cNvPr>
          <p:cNvSpPr/>
          <p:nvPr/>
        </p:nvSpPr>
        <p:spPr>
          <a:xfrm>
            <a:off x="4531650" y="2219079"/>
            <a:ext cx="361950" cy="323850"/>
          </a:xfrm>
          <a:custGeom>
            <a:avLst/>
            <a:gdLst>
              <a:gd name="connsiteX0" fmla="*/ 180975 w 361950"/>
              <a:gd name="connsiteY0" fmla="*/ 0 h 323850"/>
              <a:gd name="connsiteX1" fmla="*/ 0 w 361950"/>
              <a:gd name="connsiteY1" fmla="*/ 180975 h 323850"/>
              <a:gd name="connsiteX2" fmla="*/ 0 w 361950"/>
              <a:gd name="connsiteY2" fmla="*/ 266700 h 323850"/>
              <a:gd name="connsiteX3" fmla="*/ 14288 w 361950"/>
              <a:gd name="connsiteY3" fmla="*/ 280988 h 323850"/>
              <a:gd name="connsiteX4" fmla="*/ 28575 w 361950"/>
              <a:gd name="connsiteY4" fmla="*/ 266700 h 323850"/>
              <a:gd name="connsiteX5" fmla="*/ 28575 w 361950"/>
              <a:gd name="connsiteY5" fmla="*/ 261938 h 323850"/>
              <a:gd name="connsiteX6" fmla="*/ 47625 w 361950"/>
              <a:gd name="connsiteY6" fmla="*/ 261938 h 323850"/>
              <a:gd name="connsiteX7" fmla="*/ 47625 w 361950"/>
              <a:gd name="connsiteY7" fmla="*/ 304800 h 323850"/>
              <a:gd name="connsiteX8" fmla="*/ 66675 w 361950"/>
              <a:gd name="connsiteY8" fmla="*/ 323850 h 323850"/>
              <a:gd name="connsiteX9" fmla="*/ 95250 w 361950"/>
              <a:gd name="connsiteY9" fmla="*/ 323850 h 323850"/>
              <a:gd name="connsiteX10" fmla="*/ 114300 w 361950"/>
              <a:gd name="connsiteY10" fmla="*/ 304800 h 323850"/>
              <a:gd name="connsiteX11" fmla="*/ 114300 w 361950"/>
              <a:gd name="connsiteY11" fmla="*/ 200025 h 323850"/>
              <a:gd name="connsiteX12" fmla="*/ 95250 w 361950"/>
              <a:gd name="connsiteY12" fmla="*/ 180975 h 323850"/>
              <a:gd name="connsiteX13" fmla="*/ 66675 w 361950"/>
              <a:gd name="connsiteY13" fmla="*/ 180975 h 323850"/>
              <a:gd name="connsiteX14" fmla="*/ 47625 w 361950"/>
              <a:gd name="connsiteY14" fmla="*/ 200025 h 323850"/>
              <a:gd name="connsiteX15" fmla="*/ 47625 w 361950"/>
              <a:gd name="connsiteY15" fmla="*/ 242888 h 323850"/>
              <a:gd name="connsiteX16" fmla="*/ 28575 w 361950"/>
              <a:gd name="connsiteY16" fmla="*/ 242888 h 323850"/>
              <a:gd name="connsiteX17" fmla="*/ 28575 w 361950"/>
              <a:gd name="connsiteY17" fmla="*/ 180975 h 323850"/>
              <a:gd name="connsiteX18" fmla="*/ 180975 w 361950"/>
              <a:gd name="connsiteY18" fmla="*/ 28575 h 323850"/>
              <a:gd name="connsiteX19" fmla="*/ 333375 w 361950"/>
              <a:gd name="connsiteY19" fmla="*/ 180975 h 323850"/>
              <a:gd name="connsiteX20" fmla="*/ 333375 w 361950"/>
              <a:gd name="connsiteY20" fmla="*/ 242888 h 323850"/>
              <a:gd name="connsiteX21" fmla="*/ 314325 w 361950"/>
              <a:gd name="connsiteY21" fmla="*/ 242888 h 323850"/>
              <a:gd name="connsiteX22" fmla="*/ 314325 w 361950"/>
              <a:gd name="connsiteY22" fmla="*/ 200025 h 323850"/>
              <a:gd name="connsiteX23" fmla="*/ 295275 w 361950"/>
              <a:gd name="connsiteY23" fmla="*/ 180975 h 323850"/>
              <a:gd name="connsiteX24" fmla="*/ 266700 w 361950"/>
              <a:gd name="connsiteY24" fmla="*/ 180975 h 323850"/>
              <a:gd name="connsiteX25" fmla="*/ 247650 w 361950"/>
              <a:gd name="connsiteY25" fmla="*/ 200025 h 323850"/>
              <a:gd name="connsiteX26" fmla="*/ 247650 w 361950"/>
              <a:gd name="connsiteY26" fmla="*/ 304800 h 323850"/>
              <a:gd name="connsiteX27" fmla="*/ 266700 w 361950"/>
              <a:gd name="connsiteY27" fmla="*/ 323850 h 323850"/>
              <a:gd name="connsiteX28" fmla="*/ 295275 w 361950"/>
              <a:gd name="connsiteY28" fmla="*/ 323850 h 323850"/>
              <a:gd name="connsiteX29" fmla="*/ 314325 w 361950"/>
              <a:gd name="connsiteY29" fmla="*/ 304800 h 323850"/>
              <a:gd name="connsiteX30" fmla="*/ 314325 w 361950"/>
              <a:gd name="connsiteY30" fmla="*/ 261938 h 323850"/>
              <a:gd name="connsiteX31" fmla="*/ 333375 w 361950"/>
              <a:gd name="connsiteY31" fmla="*/ 261938 h 323850"/>
              <a:gd name="connsiteX32" fmla="*/ 333375 w 361950"/>
              <a:gd name="connsiteY32" fmla="*/ 266700 h 323850"/>
              <a:gd name="connsiteX33" fmla="*/ 347663 w 361950"/>
              <a:gd name="connsiteY33" fmla="*/ 280988 h 323850"/>
              <a:gd name="connsiteX34" fmla="*/ 361950 w 361950"/>
              <a:gd name="connsiteY34" fmla="*/ 266700 h 323850"/>
              <a:gd name="connsiteX35" fmla="*/ 361950 w 361950"/>
              <a:gd name="connsiteY35" fmla="*/ 180975 h 323850"/>
              <a:gd name="connsiteX36" fmla="*/ 180975 w 361950"/>
              <a:gd name="connsiteY3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1950" h="323850">
                <a:moveTo>
                  <a:pt x="180975" y="0"/>
                </a:moveTo>
                <a:cubicBezTo>
                  <a:pt x="80963" y="0"/>
                  <a:pt x="0" y="80963"/>
                  <a:pt x="0" y="180975"/>
                </a:cubicBezTo>
                <a:lnTo>
                  <a:pt x="0" y="266700"/>
                </a:lnTo>
                <a:cubicBezTo>
                  <a:pt x="0" y="274796"/>
                  <a:pt x="6191" y="280988"/>
                  <a:pt x="14288" y="280988"/>
                </a:cubicBezTo>
                <a:cubicBezTo>
                  <a:pt x="22384" y="280988"/>
                  <a:pt x="28575" y="274796"/>
                  <a:pt x="28575" y="266700"/>
                </a:cubicBezTo>
                <a:lnTo>
                  <a:pt x="28575" y="261938"/>
                </a:lnTo>
                <a:lnTo>
                  <a:pt x="47625" y="261938"/>
                </a:lnTo>
                <a:lnTo>
                  <a:pt x="47625" y="304800"/>
                </a:lnTo>
                <a:cubicBezTo>
                  <a:pt x="47625" y="315278"/>
                  <a:pt x="56197" y="323850"/>
                  <a:pt x="66675" y="323850"/>
                </a:cubicBezTo>
                <a:lnTo>
                  <a:pt x="95250" y="323850"/>
                </a:lnTo>
                <a:cubicBezTo>
                  <a:pt x="105728" y="323850"/>
                  <a:pt x="114300" y="315278"/>
                  <a:pt x="114300" y="304800"/>
                </a:cubicBezTo>
                <a:lnTo>
                  <a:pt x="114300" y="200025"/>
                </a:lnTo>
                <a:cubicBezTo>
                  <a:pt x="114300" y="189548"/>
                  <a:pt x="105728" y="180975"/>
                  <a:pt x="95250" y="180975"/>
                </a:cubicBezTo>
                <a:lnTo>
                  <a:pt x="66675" y="180975"/>
                </a:lnTo>
                <a:cubicBezTo>
                  <a:pt x="56197" y="180975"/>
                  <a:pt x="47625" y="189548"/>
                  <a:pt x="47625" y="200025"/>
                </a:cubicBezTo>
                <a:lnTo>
                  <a:pt x="47625" y="242888"/>
                </a:lnTo>
                <a:lnTo>
                  <a:pt x="28575" y="242888"/>
                </a:lnTo>
                <a:lnTo>
                  <a:pt x="28575" y="180975"/>
                </a:lnTo>
                <a:cubicBezTo>
                  <a:pt x="28575" y="97155"/>
                  <a:pt x="97155" y="28575"/>
                  <a:pt x="180975" y="28575"/>
                </a:cubicBezTo>
                <a:cubicBezTo>
                  <a:pt x="264795" y="28575"/>
                  <a:pt x="333375" y="97155"/>
                  <a:pt x="333375" y="180975"/>
                </a:cubicBezTo>
                <a:lnTo>
                  <a:pt x="333375" y="242888"/>
                </a:lnTo>
                <a:lnTo>
                  <a:pt x="314325" y="242888"/>
                </a:lnTo>
                <a:lnTo>
                  <a:pt x="314325" y="200025"/>
                </a:lnTo>
                <a:cubicBezTo>
                  <a:pt x="314325" y="189548"/>
                  <a:pt x="305753" y="180975"/>
                  <a:pt x="295275" y="180975"/>
                </a:cubicBezTo>
                <a:lnTo>
                  <a:pt x="266700" y="180975"/>
                </a:lnTo>
                <a:cubicBezTo>
                  <a:pt x="256223" y="180975"/>
                  <a:pt x="247650" y="189548"/>
                  <a:pt x="247650" y="200025"/>
                </a:cubicBezTo>
                <a:lnTo>
                  <a:pt x="247650" y="304800"/>
                </a:lnTo>
                <a:cubicBezTo>
                  <a:pt x="247650" y="315278"/>
                  <a:pt x="256223" y="323850"/>
                  <a:pt x="266700" y="323850"/>
                </a:cubicBezTo>
                <a:lnTo>
                  <a:pt x="295275" y="323850"/>
                </a:lnTo>
                <a:cubicBezTo>
                  <a:pt x="305753" y="323850"/>
                  <a:pt x="314325" y="315278"/>
                  <a:pt x="314325" y="304800"/>
                </a:cubicBezTo>
                <a:lnTo>
                  <a:pt x="314325" y="261938"/>
                </a:lnTo>
                <a:lnTo>
                  <a:pt x="333375" y="261938"/>
                </a:lnTo>
                <a:lnTo>
                  <a:pt x="333375" y="266700"/>
                </a:lnTo>
                <a:cubicBezTo>
                  <a:pt x="333375" y="274796"/>
                  <a:pt x="339566" y="280988"/>
                  <a:pt x="347663" y="280988"/>
                </a:cubicBezTo>
                <a:cubicBezTo>
                  <a:pt x="355759" y="280988"/>
                  <a:pt x="361950" y="274796"/>
                  <a:pt x="361950" y="266700"/>
                </a:cubicBezTo>
                <a:lnTo>
                  <a:pt x="361950" y="180975"/>
                </a:lnTo>
                <a:cubicBezTo>
                  <a:pt x="361950" y="80963"/>
                  <a:pt x="280988" y="0"/>
                  <a:pt x="180975" y="0"/>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grpSp>
        <p:nvGrpSpPr>
          <p:cNvPr id="20" name="Group 19">
            <a:extLst>
              <a:ext uri="{FF2B5EF4-FFF2-40B4-BE49-F238E27FC236}">
                <a16:creationId xmlns:a16="http://schemas.microsoft.com/office/drawing/2014/main" id="{6B4359C1-F7B3-01BF-88E6-86FF03CB8510}"/>
              </a:ext>
              <a:ext uri="{C183D7F6-B498-43B3-948B-1728B52AA6E4}">
                <adec:decorative xmlns:adec="http://schemas.microsoft.com/office/drawing/2017/decorative" val="1"/>
              </a:ext>
            </a:extLst>
          </p:cNvPr>
          <p:cNvGrpSpPr/>
          <p:nvPr/>
        </p:nvGrpSpPr>
        <p:grpSpPr>
          <a:xfrm>
            <a:off x="8166755" y="2190504"/>
            <a:ext cx="295275" cy="381000"/>
            <a:chOff x="11028786" y="2241157"/>
            <a:chExt cx="295275" cy="381000"/>
          </a:xfrm>
        </p:grpSpPr>
        <p:sp>
          <p:nvSpPr>
            <p:cNvPr id="12" name="Freeform: Shape 11">
              <a:extLst>
                <a:ext uri="{FF2B5EF4-FFF2-40B4-BE49-F238E27FC236}">
                  <a16:creationId xmlns:a16="http://schemas.microsoft.com/office/drawing/2014/main" id="{2A25EFED-F0FC-7DF3-BD1A-F4E8DAB58D36}"/>
                </a:ext>
              </a:extLst>
            </p:cNvPr>
            <p:cNvSpPr/>
            <p:nvPr/>
          </p:nvSpPr>
          <p:spPr>
            <a:xfrm>
              <a:off x="11028786" y="2241157"/>
              <a:ext cx="295275" cy="381000"/>
            </a:xfrm>
            <a:custGeom>
              <a:avLst/>
              <a:gdLst>
                <a:gd name="connsiteX0" fmla="*/ 28575 w 295275"/>
                <a:gd name="connsiteY0" fmla="*/ 352425 h 381000"/>
                <a:gd name="connsiteX1" fmla="*/ 28575 w 295275"/>
                <a:gd name="connsiteY1" fmla="*/ 28575 h 381000"/>
                <a:gd name="connsiteX2" fmla="*/ 147638 w 295275"/>
                <a:gd name="connsiteY2" fmla="*/ 28575 h 381000"/>
                <a:gd name="connsiteX3" fmla="*/ 147638 w 295275"/>
                <a:gd name="connsiteY3" fmla="*/ 128588 h 381000"/>
                <a:gd name="connsiteX4" fmla="*/ 266700 w 295275"/>
                <a:gd name="connsiteY4" fmla="*/ 128588 h 381000"/>
                <a:gd name="connsiteX5" fmla="*/ 266700 w 295275"/>
                <a:gd name="connsiteY5" fmla="*/ 352425 h 381000"/>
                <a:gd name="connsiteX6" fmla="*/ 28575 w 295275"/>
                <a:gd name="connsiteY6" fmla="*/ 352425 h 381000"/>
                <a:gd name="connsiteX7" fmla="*/ 176213 w 295275"/>
                <a:gd name="connsiteY7" fmla="*/ 40481 h 381000"/>
                <a:gd name="connsiteX8" fmla="*/ 235744 w 295275"/>
                <a:gd name="connsiteY8" fmla="*/ 100013 h 381000"/>
                <a:gd name="connsiteX9" fmla="*/ 176213 w 295275"/>
                <a:gd name="connsiteY9" fmla="*/ 100013 h 381000"/>
                <a:gd name="connsiteX10" fmla="*/ 176213 w 295275"/>
                <a:gd name="connsiteY10" fmla="*/ 40481 h 381000"/>
                <a:gd name="connsiteX11" fmla="*/ 176213 w 295275"/>
                <a:gd name="connsiteY11" fmla="*/ 0 h 381000"/>
                <a:gd name="connsiteX12" fmla="*/ 0 w 295275"/>
                <a:gd name="connsiteY12" fmla="*/ 0 h 381000"/>
                <a:gd name="connsiteX13" fmla="*/ 0 w 295275"/>
                <a:gd name="connsiteY13" fmla="*/ 381000 h 381000"/>
                <a:gd name="connsiteX14" fmla="*/ 295275 w 295275"/>
                <a:gd name="connsiteY14" fmla="*/ 381000 h 381000"/>
                <a:gd name="connsiteX15" fmla="*/ 295275 w 295275"/>
                <a:gd name="connsiteY15" fmla="*/ 104775 h 381000"/>
                <a:gd name="connsiteX16" fmla="*/ 176213 w 295275"/>
                <a:gd name="connsiteY16"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5275" h="381000">
                  <a:moveTo>
                    <a:pt x="28575" y="352425"/>
                  </a:moveTo>
                  <a:lnTo>
                    <a:pt x="28575" y="28575"/>
                  </a:lnTo>
                  <a:lnTo>
                    <a:pt x="147638" y="28575"/>
                  </a:lnTo>
                  <a:lnTo>
                    <a:pt x="147638" y="128588"/>
                  </a:lnTo>
                  <a:lnTo>
                    <a:pt x="266700" y="128588"/>
                  </a:lnTo>
                  <a:lnTo>
                    <a:pt x="266700" y="352425"/>
                  </a:lnTo>
                  <a:lnTo>
                    <a:pt x="28575" y="352425"/>
                  </a:lnTo>
                  <a:close/>
                  <a:moveTo>
                    <a:pt x="176213" y="40481"/>
                  </a:moveTo>
                  <a:lnTo>
                    <a:pt x="235744" y="100013"/>
                  </a:lnTo>
                  <a:lnTo>
                    <a:pt x="176213" y="100013"/>
                  </a:lnTo>
                  <a:lnTo>
                    <a:pt x="176213" y="40481"/>
                  </a:lnTo>
                  <a:close/>
                  <a:moveTo>
                    <a:pt x="176213" y="0"/>
                  </a:moveTo>
                  <a:lnTo>
                    <a:pt x="0" y="0"/>
                  </a:lnTo>
                  <a:lnTo>
                    <a:pt x="0" y="381000"/>
                  </a:lnTo>
                  <a:lnTo>
                    <a:pt x="295275" y="381000"/>
                  </a:lnTo>
                  <a:lnTo>
                    <a:pt x="295275" y="104775"/>
                  </a:lnTo>
                  <a:lnTo>
                    <a:pt x="176213" y="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13" name="Freeform: Shape 12">
              <a:extLst>
                <a:ext uri="{FF2B5EF4-FFF2-40B4-BE49-F238E27FC236}">
                  <a16:creationId xmlns:a16="http://schemas.microsoft.com/office/drawing/2014/main" id="{C113C7F4-7334-0D2E-61F8-0E80B7F12A30}"/>
                </a:ext>
              </a:extLst>
            </p:cNvPr>
            <p:cNvSpPr/>
            <p:nvPr/>
          </p:nvSpPr>
          <p:spPr>
            <a:xfrm>
              <a:off x="11085936" y="24173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14" name="Freeform: Shape 13">
              <a:extLst>
                <a:ext uri="{FF2B5EF4-FFF2-40B4-BE49-F238E27FC236}">
                  <a16:creationId xmlns:a16="http://schemas.microsoft.com/office/drawing/2014/main" id="{51724B22-444E-AC8D-06F8-8BD731EDB0BC}"/>
                </a:ext>
              </a:extLst>
            </p:cNvPr>
            <p:cNvSpPr/>
            <p:nvPr/>
          </p:nvSpPr>
          <p:spPr>
            <a:xfrm>
              <a:off x="11085936" y="2379269"/>
              <a:ext cx="61912" cy="19050"/>
            </a:xfrm>
            <a:custGeom>
              <a:avLst/>
              <a:gdLst>
                <a:gd name="connsiteX0" fmla="*/ 0 w 61912"/>
                <a:gd name="connsiteY0" fmla="*/ 0 h 19050"/>
                <a:gd name="connsiteX1" fmla="*/ 61913 w 61912"/>
                <a:gd name="connsiteY1" fmla="*/ 0 h 19050"/>
                <a:gd name="connsiteX2" fmla="*/ 61913 w 61912"/>
                <a:gd name="connsiteY2" fmla="*/ 19050 h 19050"/>
                <a:gd name="connsiteX3" fmla="*/ 0 w 6191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61912" h="19050">
                  <a:moveTo>
                    <a:pt x="0" y="0"/>
                  </a:moveTo>
                  <a:lnTo>
                    <a:pt x="61913" y="0"/>
                  </a:lnTo>
                  <a:lnTo>
                    <a:pt x="61913"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15" name="Freeform: Shape 14">
              <a:extLst>
                <a:ext uri="{FF2B5EF4-FFF2-40B4-BE49-F238E27FC236}">
                  <a16:creationId xmlns:a16="http://schemas.microsoft.com/office/drawing/2014/main" id="{6878B7D2-0A42-57BA-133D-BE30F9B08D29}"/>
                </a:ext>
              </a:extLst>
            </p:cNvPr>
            <p:cNvSpPr/>
            <p:nvPr/>
          </p:nvSpPr>
          <p:spPr>
            <a:xfrm>
              <a:off x="11085936" y="24554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16" name="Freeform: Shape 15">
              <a:extLst>
                <a:ext uri="{FF2B5EF4-FFF2-40B4-BE49-F238E27FC236}">
                  <a16:creationId xmlns:a16="http://schemas.microsoft.com/office/drawing/2014/main" id="{B44EE107-FE81-2FBC-FBC4-80F7EA2955CD}"/>
                </a:ext>
              </a:extLst>
            </p:cNvPr>
            <p:cNvSpPr/>
            <p:nvPr/>
          </p:nvSpPr>
          <p:spPr>
            <a:xfrm>
              <a:off x="11085936" y="24935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sp>
          <p:nvSpPr>
            <p:cNvPr id="19" name="Freeform: Shape 18">
              <a:extLst>
                <a:ext uri="{FF2B5EF4-FFF2-40B4-BE49-F238E27FC236}">
                  <a16:creationId xmlns:a16="http://schemas.microsoft.com/office/drawing/2014/main" id="{6906EA8D-FD51-B538-7CF1-CA3096BEEF7F}"/>
                </a:ext>
              </a:extLst>
            </p:cNvPr>
            <p:cNvSpPr/>
            <p:nvPr/>
          </p:nvSpPr>
          <p:spPr>
            <a:xfrm>
              <a:off x="11085936" y="2531669"/>
              <a:ext cx="180975" cy="19050"/>
            </a:xfrm>
            <a:custGeom>
              <a:avLst/>
              <a:gdLst>
                <a:gd name="connsiteX0" fmla="*/ 0 w 180975"/>
                <a:gd name="connsiteY0" fmla="*/ 0 h 19050"/>
                <a:gd name="connsiteX1" fmla="*/ 180975 w 180975"/>
                <a:gd name="connsiteY1" fmla="*/ 0 h 19050"/>
                <a:gd name="connsiteX2" fmla="*/ 180975 w 180975"/>
                <a:gd name="connsiteY2" fmla="*/ 19050 h 19050"/>
                <a:gd name="connsiteX3" fmla="*/ 0 w 18097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80975" h="19050">
                  <a:moveTo>
                    <a:pt x="0" y="0"/>
                  </a:moveTo>
                  <a:lnTo>
                    <a:pt x="180975" y="0"/>
                  </a:lnTo>
                  <a:lnTo>
                    <a:pt x="180975" y="19050"/>
                  </a:lnTo>
                  <a:lnTo>
                    <a:pt x="0" y="19050"/>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50E6FF"/>
                </a:solidFill>
                <a:effectLst/>
                <a:uLnTx/>
                <a:uFillTx/>
                <a:latin typeface="Segoe UI Semibold"/>
                <a:ea typeface="+mn-ea"/>
                <a:cs typeface="+mn-cs"/>
              </a:endParaRPr>
            </a:p>
          </p:txBody>
        </p:sp>
      </p:grpSp>
      <p:grpSp>
        <p:nvGrpSpPr>
          <p:cNvPr id="54" name="Group 53">
            <a:extLst>
              <a:ext uri="{FF2B5EF4-FFF2-40B4-BE49-F238E27FC236}">
                <a16:creationId xmlns:a16="http://schemas.microsoft.com/office/drawing/2014/main" id="{2798A758-5818-4E13-C8E9-3C0C3A11A619}"/>
              </a:ext>
              <a:ext uri="{C183D7F6-B498-43B3-948B-1728B52AA6E4}">
                <adec:decorative xmlns:adec="http://schemas.microsoft.com/office/drawing/2017/decorative" val="1"/>
              </a:ext>
            </a:extLst>
          </p:cNvPr>
          <p:cNvGrpSpPr/>
          <p:nvPr/>
        </p:nvGrpSpPr>
        <p:grpSpPr>
          <a:xfrm>
            <a:off x="3295343" y="2207673"/>
            <a:ext cx="433387" cy="346662"/>
            <a:chOff x="6154995" y="2245449"/>
            <a:chExt cx="433387" cy="346662"/>
          </a:xfrm>
        </p:grpSpPr>
        <p:sp>
          <p:nvSpPr>
            <p:cNvPr id="50" name="Freeform: Shape 49">
              <a:extLst>
                <a:ext uri="{FF2B5EF4-FFF2-40B4-BE49-F238E27FC236}">
                  <a16:creationId xmlns:a16="http://schemas.microsoft.com/office/drawing/2014/main" id="{2B69E8A9-ED22-136F-40A6-BE97D5A7BD3A}"/>
                </a:ext>
              </a:extLst>
            </p:cNvPr>
            <p:cNvSpPr/>
            <p:nvPr/>
          </p:nvSpPr>
          <p:spPr>
            <a:xfrm>
              <a:off x="6393120" y="2417566"/>
              <a:ext cx="96258" cy="117404"/>
            </a:xfrm>
            <a:custGeom>
              <a:avLst/>
              <a:gdLst>
                <a:gd name="connsiteX0" fmla="*/ 95250 w 96258"/>
                <a:gd name="connsiteY0" fmla="*/ 106966 h 117404"/>
                <a:gd name="connsiteX1" fmla="*/ 30051 w 96258"/>
                <a:gd name="connsiteY1" fmla="*/ 3048 h 117404"/>
                <a:gd name="connsiteX2" fmla="*/ 24575 w 96258"/>
                <a:gd name="connsiteY2" fmla="*/ 0 h 117404"/>
                <a:gd name="connsiteX3" fmla="*/ 19050 w 96258"/>
                <a:gd name="connsiteY3" fmla="*/ 3048 h 117404"/>
                <a:gd name="connsiteX4" fmla="*/ 0 w 96258"/>
                <a:gd name="connsiteY4" fmla="*/ 33623 h 117404"/>
                <a:gd name="connsiteX5" fmla="*/ 40862 w 96258"/>
                <a:gd name="connsiteY5" fmla="*/ 99727 h 117404"/>
                <a:gd name="connsiteX6" fmla="*/ 42863 w 96258"/>
                <a:gd name="connsiteY6" fmla="*/ 117396 h 117404"/>
                <a:gd name="connsiteX7" fmla="*/ 89059 w 96258"/>
                <a:gd name="connsiteY7" fmla="*/ 117396 h 117404"/>
                <a:gd name="connsiteX8" fmla="*/ 96250 w 96258"/>
                <a:gd name="connsiteY8" fmla="*/ 110888 h 117404"/>
                <a:gd name="connsiteX9" fmla="*/ 95250 w 96258"/>
                <a:gd name="connsiteY9" fmla="*/ 106966 h 11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258" h="117404">
                  <a:moveTo>
                    <a:pt x="95250" y="106966"/>
                  </a:moveTo>
                  <a:lnTo>
                    <a:pt x="30051" y="3048"/>
                  </a:lnTo>
                  <a:cubicBezTo>
                    <a:pt x="28885" y="1144"/>
                    <a:pt x="26808" y="-12"/>
                    <a:pt x="24575" y="0"/>
                  </a:cubicBezTo>
                  <a:cubicBezTo>
                    <a:pt x="22331" y="-1"/>
                    <a:pt x="20245" y="1150"/>
                    <a:pt x="19050" y="3048"/>
                  </a:cubicBezTo>
                  <a:lnTo>
                    <a:pt x="0" y="33623"/>
                  </a:lnTo>
                  <a:lnTo>
                    <a:pt x="40862" y="99727"/>
                  </a:lnTo>
                  <a:cubicBezTo>
                    <a:pt x="44320" y="104956"/>
                    <a:pt x="45064" y="111525"/>
                    <a:pt x="42863" y="117396"/>
                  </a:cubicBezTo>
                  <a:lnTo>
                    <a:pt x="89059" y="117396"/>
                  </a:lnTo>
                  <a:cubicBezTo>
                    <a:pt x="92842" y="117585"/>
                    <a:pt x="96062" y="114671"/>
                    <a:pt x="96250" y="110888"/>
                  </a:cubicBezTo>
                  <a:cubicBezTo>
                    <a:pt x="96319" y="109510"/>
                    <a:pt x="95971" y="108143"/>
                    <a:pt x="95250" y="106966"/>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51" name="Freeform: Shape 50">
              <a:extLst>
                <a:ext uri="{FF2B5EF4-FFF2-40B4-BE49-F238E27FC236}">
                  <a16:creationId xmlns:a16="http://schemas.microsoft.com/office/drawing/2014/main" id="{F25A12E1-CA17-BC77-AA09-AB8B99ED2D6C}"/>
                </a:ext>
              </a:extLst>
            </p:cNvPr>
            <p:cNvSpPr/>
            <p:nvPr/>
          </p:nvSpPr>
          <p:spPr>
            <a:xfrm>
              <a:off x="6196120" y="2353983"/>
              <a:ext cx="222548" cy="181040"/>
            </a:xfrm>
            <a:custGeom>
              <a:avLst/>
              <a:gdLst>
                <a:gd name="connsiteX0" fmla="*/ 221288 w 222548"/>
                <a:gd name="connsiteY0" fmla="*/ 171168 h 181040"/>
                <a:gd name="connsiteX1" fmla="*/ 117704 w 222548"/>
                <a:gd name="connsiteY1" fmla="*/ 2623 h 181040"/>
                <a:gd name="connsiteX2" fmla="*/ 112132 w 222548"/>
                <a:gd name="connsiteY2" fmla="*/ 4 h 181040"/>
                <a:gd name="connsiteX3" fmla="*/ 111274 w 222548"/>
                <a:gd name="connsiteY3" fmla="*/ 4 h 181040"/>
                <a:gd name="connsiteX4" fmla="*/ 110417 w 222548"/>
                <a:gd name="connsiteY4" fmla="*/ 4 h 181040"/>
                <a:gd name="connsiteX5" fmla="*/ 104845 w 222548"/>
                <a:gd name="connsiteY5" fmla="*/ 2623 h 181040"/>
                <a:gd name="connsiteX6" fmla="*/ 1261 w 222548"/>
                <a:gd name="connsiteY6" fmla="*/ 171168 h 181040"/>
                <a:gd name="connsiteX7" fmla="*/ 737 w 222548"/>
                <a:gd name="connsiteY7" fmla="*/ 178169 h 181040"/>
                <a:gd name="connsiteX8" fmla="*/ 6499 w 222548"/>
                <a:gd name="connsiteY8" fmla="*/ 180979 h 181040"/>
                <a:gd name="connsiteX9" fmla="*/ 216049 w 222548"/>
                <a:gd name="connsiteY9" fmla="*/ 180979 h 181040"/>
                <a:gd name="connsiteX10" fmla="*/ 221812 w 222548"/>
                <a:gd name="connsiteY10" fmla="*/ 178169 h 181040"/>
                <a:gd name="connsiteX11" fmla="*/ 221288 w 222548"/>
                <a:gd name="connsiteY11" fmla="*/ 171168 h 181040"/>
                <a:gd name="connsiteX12" fmla="*/ 128610 w 222548"/>
                <a:gd name="connsiteY12" fmla="*/ 81585 h 181040"/>
                <a:gd name="connsiteX13" fmla="*/ 112132 w 222548"/>
                <a:gd name="connsiteY13" fmla="*/ 96254 h 181040"/>
                <a:gd name="connsiteX14" fmla="*/ 95653 w 222548"/>
                <a:gd name="connsiteY14" fmla="*/ 81585 h 181040"/>
                <a:gd name="connsiteX15" fmla="*/ 68412 w 222548"/>
                <a:gd name="connsiteY15" fmla="*/ 98064 h 181040"/>
                <a:gd name="connsiteX16" fmla="*/ 111274 w 222548"/>
                <a:gd name="connsiteY16" fmla="*/ 28579 h 181040"/>
                <a:gd name="connsiteX17" fmla="*/ 152994 w 222548"/>
                <a:gd name="connsiteY17" fmla="*/ 96254 h 18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2548" h="181040">
                  <a:moveTo>
                    <a:pt x="221288" y="171168"/>
                  </a:moveTo>
                  <a:lnTo>
                    <a:pt x="117704" y="2623"/>
                  </a:lnTo>
                  <a:cubicBezTo>
                    <a:pt x="116374" y="906"/>
                    <a:pt x="114302" y="-68"/>
                    <a:pt x="112132" y="4"/>
                  </a:cubicBezTo>
                  <a:lnTo>
                    <a:pt x="111274" y="4"/>
                  </a:lnTo>
                  <a:lnTo>
                    <a:pt x="110417" y="4"/>
                  </a:lnTo>
                  <a:cubicBezTo>
                    <a:pt x="108247" y="-68"/>
                    <a:pt x="106174" y="906"/>
                    <a:pt x="104845" y="2623"/>
                  </a:cubicBezTo>
                  <a:lnTo>
                    <a:pt x="1261" y="171168"/>
                  </a:lnTo>
                  <a:cubicBezTo>
                    <a:pt x="-207" y="173221"/>
                    <a:pt x="-409" y="175920"/>
                    <a:pt x="737" y="178169"/>
                  </a:cubicBezTo>
                  <a:cubicBezTo>
                    <a:pt x="1892" y="180206"/>
                    <a:pt x="4182" y="181323"/>
                    <a:pt x="6499" y="180979"/>
                  </a:cubicBezTo>
                  <a:lnTo>
                    <a:pt x="216049" y="180979"/>
                  </a:lnTo>
                  <a:cubicBezTo>
                    <a:pt x="218366" y="181323"/>
                    <a:pt x="220657" y="180206"/>
                    <a:pt x="221812" y="178169"/>
                  </a:cubicBezTo>
                  <a:cubicBezTo>
                    <a:pt x="222957" y="175920"/>
                    <a:pt x="222755" y="173221"/>
                    <a:pt x="221288" y="171168"/>
                  </a:cubicBezTo>
                  <a:close/>
                  <a:moveTo>
                    <a:pt x="128610" y="81585"/>
                  </a:moveTo>
                  <a:lnTo>
                    <a:pt x="112132" y="96254"/>
                  </a:lnTo>
                  <a:lnTo>
                    <a:pt x="95653" y="81585"/>
                  </a:lnTo>
                  <a:lnTo>
                    <a:pt x="68412" y="98064"/>
                  </a:lnTo>
                  <a:lnTo>
                    <a:pt x="111274" y="28579"/>
                  </a:lnTo>
                  <a:lnTo>
                    <a:pt x="152994" y="96254"/>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52" name="Freeform: Shape 51">
              <a:extLst>
                <a:ext uri="{FF2B5EF4-FFF2-40B4-BE49-F238E27FC236}">
                  <a16:creationId xmlns:a16="http://schemas.microsoft.com/office/drawing/2014/main" id="{71522100-8D11-5EBD-E6B1-72D6890813A2}"/>
                </a:ext>
              </a:extLst>
            </p:cNvPr>
            <p:cNvSpPr/>
            <p:nvPr/>
          </p:nvSpPr>
          <p:spPr>
            <a:xfrm>
              <a:off x="6231195" y="2350224"/>
              <a:ext cx="28575" cy="28575"/>
            </a:xfrm>
            <a:custGeom>
              <a:avLst/>
              <a:gdLst>
                <a:gd name="connsiteX0" fmla="*/ 28575 w 28575"/>
                <a:gd name="connsiteY0" fmla="*/ 14288 h 28575"/>
                <a:gd name="connsiteX1" fmla="*/ 14288 w 28575"/>
                <a:gd name="connsiteY1" fmla="*/ 28575 h 28575"/>
                <a:gd name="connsiteX2" fmla="*/ 0 w 28575"/>
                <a:gd name="connsiteY2" fmla="*/ 14288 h 28575"/>
                <a:gd name="connsiteX3" fmla="*/ 14288 w 28575"/>
                <a:gd name="connsiteY3" fmla="*/ 0 h 28575"/>
                <a:gd name="connsiteX4" fmla="*/ 28575 w 28575"/>
                <a:gd name="connsiteY4" fmla="*/ 1428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575" y="14288"/>
                  </a:moveTo>
                  <a:cubicBezTo>
                    <a:pt x="28575" y="22178"/>
                    <a:pt x="22178" y="28575"/>
                    <a:pt x="14288" y="28575"/>
                  </a:cubicBezTo>
                  <a:cubicBezTo>
                    <a:pt x="6397" y="28575"/>
                    <a:pt x="0" y="22178"/>
                    <a:pt x="0" y="14288"/>
                  </a:cubicBezTo>
                  <a:cubicBezTo>
                    <a:pt x="0" y="6397"/>
                    <a:pt x="6397" y="0"/>
                    <a:pt x="14288" y="0"/>
                  </a:cubicBezTo>
                  <a:cubicBezTo>
                    <a:pt x="22178" y="0"/>
                    <a:pt x="28575" y="6397"/>
                    <a:pt x="28575" y="14288"/>
                  </a:cubicBez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
          <p:nvSpPr>
            <p:cNvPr id="53" name="Freeform: Shape 52">
              <a:extLst>
                <a:ext uri="{FF2B5EF4-FFF2-40B4-BE49-F238E27FC236}">
                  <a16:creationId xmlns:a16="http://schemas.microsoft.com/office/drawing/2014/main" id="{2B766FA7-472B-7D39-2CAB-C5A0A2E0C650}"/>
                </a:ext>
              </a:extLst>
            </p:cNvPr>
            <p:cNvSpPr/>
            <p:nvPr/>
          </p:nvSpPr>
          <p:spPr>
            <a:xfrm>
              <a:off x="6154995" y="2245449"/>
              <a:ext cx="433387" cy="346662"/>
            </a:xfrm>
            <a:custGeom>
              <a:avLst/>
              <a:gdLst>
                <a:gd name="connsiteX0" fmla="*/ 433388 w 433387"/>
                <a:gd name="connsiteY0" fmla="*/ 0 h 346662"/>
                <a:gd name="connsiteX1" fmla="*/ 52388 w 433387"/>
                <a:gd name="connsiteY1" fmla="*/ 0 h 346662"/>
                <a:gd name="connsiteX2" fmla="*/ 52388 w 433387"/>
                <a:gd name="connsiteY2" fmla="*/ 52388 h 346662"/>
                <a:gd name="connsiteX3" fmla="*/ 0 w 433387"/>
                <a:gd name="connsiteY3" fmla="*/ 52388 h 346662"/>
                <a:gd name="connsiteX4" fmla="*/ 0 w 433387"/>
                <a:gd name="connsiteY4" fmla="*/ 346662 h 346662"/>
                <a:gd name="connsiteX5" fmla="*/ 381000 w 433387"/>
                <a:gd name="connsiteY5" fmla="*/ 346662 h 346662"/>
                <a:gd name="connsiteX6" fmla="*/ 381000 w 433387"/>
                <a:gd name="connsiteY6" fmla="*/ 294275 h 346662"/>
                <a:gd name="connsiteX7" fmla="*/ 433388 w 433387"/>
                <a:gd name="connsiteY7" fmla="*/ 294275 h 346662"/>
                <a:gd name="connsiteX8" fmla="*/ 352425 w 433387"/>
                <a:gd name="connsiteY8" fmla="*/ 319088 h 346662"/>
                <a:gd name="connsiteX9" fmla="*/ 28575 w 433387"/>
                <a:gd name="connsiteY9" fmla="*/ 319088 h 346662"/>
                <a:gd name="connsiteX10" fmla="*/ 28575 w 433387"/>
                <a:gd name="connsiteY10" fmla="*/ 79962 h 346662"/>
                <a:gd name="connsiteX11" fmla="*/ 352425 w 433387"/>
                <a:gd name="connsiteY11" fmla="*/ 79962 h 346662"/>
                <a:gd name="connsiteX12" fmla="*/ 404813 w 433387"/>
                <a:gd name="connsiteY12" fmla="*/ 266700 h 346662"/>
                <a:gd name="connsiteX13" fmla="*/ 381000 w 433387"/>
                <a:gd name="connsiteY13" fmla="*/ 266700 h 346662"/>
                <a:gd name="connsiteX14" fmla="*/ 381000 w 433387"/>
                <a:gd name="connsiteY14" fmla="*/ 52388 h 346662"/>
                <a:gd name="connsiteX15" fmla="*/ 80963 w 433387"/>
                <a:gd name="connsiteY15" fmla="*/ 52388 h 346662"/>
                <a:gd name="connsiteX16" fmla="*/ 80963 w 433387"/>
                <a:gd name="connsiteY16" fmla="*/ 28575 h 346662"/>
                <a:gd name="connsiteX17" fmla="*/ 404813 w 433387"/>
                <a:gd name="connsiteY17" fmla="*/ 28575 h 34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7" h="346662">
                  <a:moveTo>
                    <a:pt x="433388" y="0"/>
                  </a:moveTo>
                  <a:lnTo>
                    <a:pt x="52388" y="0"/>
                  </a:lnTo>
                  <a:lnTo>
                    <a:pt x="52388" y="52388"/>
                  </a:lnTo>
                  <a:lnTo>
                    <a:pt x="0" y="52388"/>
                  </a:lnTo>
                  <a:lnTo>
                    <a:pt x="0" y="346662"/>
                  </a:lnTo>
                  <a:lnTo>
                    <a:pt x="381000" y="346662"/>
                  </a:lnTo>
                  <a:lnTo>
                    <a:pt x="381000" y="294275"/>
                  </a:lnTo>
                  <a:lnTo>
                    <a:pt x="433388" y="294275"/>
                  </a:lnTo>
                  <a:close/>
                  <a:moveTo>
                    <a:pt x="352425" y="319088"/>
                  </a:moveTo>
                  <a:lnTo>
                    <a:pt x="28575" y="319088"/>
                  </a:lnTo>
                  <a:lnTo>
                    <a:pt x="28575" y="79962"/>
                  </a:lnTo>
                  <a:lnTo>
                    <a:pt x="352425" y="79962"/>
                  </a:lnTo>
                  <a:close/>
                  <a:moveTo>
                    <a:pt x="404813" y="266700"/>
                  </a:moveTo>
                  <a:lnTo>
                    <a:pt x="381000" y="266700"/>
                  </a:lnTo>
                  <a:lnTo>
                    <a:pt x="381000" y="52388"/>
                  </a:lnTo>
                  <a:lnTo>
                    <a:pt x="80963" y="52388"/>
                  </a:lnTo>
                  <a:lnTo>
                    <a:pt x="80963" y="28575"/>
                  </a:lnTo>
                  <a:lnTo>
                    <a:pt x="404813" y="28575"/>
                  </a:lnTo>
                  <a:close/>
                </a:path>
              </a:pathLst>
            </a:custGeom>
            <a:solidFill>
              <a:schemeClr val="accent1"/>
            </a:solidFill>
            <a:effectLst>
              <a:outerShdw blurRad="63500" dist="127000" dir="2700000" algn="ctr" rotWithShape="0">
                <a:srgbClr val="000000">
                  <a:alpha val="50000"/>
                </a:srgb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grpSp>
      <p:pic>
        <p:nvPicPr>
          <p:cNvPr id="4" name="Graphic 3" descr="Workflow with solid fill">
            <a:extLst>
              <a:ext uri="{FF2B5EF4-FFF2-40B4-BE49-F238E27FC236}">
                <a16:creationId xmlns:a16="http://schemas.microsoft.com/office/drawing/2014/main" id="{0895A4A7-7DED-2356-32A7-CE9C262164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9409" y="2154582"/>
            <a:ext cx="494748" cy="505791"/>
          </a:xfrm>
          <a:prstGeom prst="rect">
            <a:avLst/>
          </a:prstGeom>
          <a:effectLst>
            <a:outerShdw blurRad="63500" dist="127000" dir="2700000" algn="ctr" rotWithShape="0">
              <a:srgbClr val="000000">
                <a:alpha val="50000"/>
              </a:srgbClr>
            </a:outerShdw>
          </a:effectLst>
        </p:spPr>
      </p:pic>
      <p:sp>
        <p:nvSpPr>
          <p:cNvPr id="2" name="Rounded Rectangle 18" descr="Public preview&#10;">
            <a:extLst>
              <a:ext uri="{FF2B5EF4-FFF2-40B4-BE49-F238E27FC236}">
                <a16:creationId xmlns:a16="http://schemas.microsoft.com/office/drawing/2014/main" id="{12E331DA-73F9-1468-095E-63F305745ED0}"/>
              </a:ext>
            </a:extLst>
          </p:cNvPr>
          <p:cNvSpPr/>
          <p:nvPr/>
        </p:nvSpPr>
        <p:spPr bwMode="auto">
          <a:xfrm>
            <a:off x="9854455" y="457200"/>
            <a:ext cx="1878697" cy="475428"/>
          </a:xfrm>
          <a:prstGeom prst="roundRect">
            <a:avLst>
              <a:gd name="adj" fmla="val 9671"/>
            </a:avLst>
          </a:prstGeom>
          <a:blipFill>
            <a:blip r:embed="rId5"/>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General Available</a:t>
            </a:r>
          </a:p>
        </p:txBody>
      </p:sp>
    </p:spTree>
    <p:extLst>
      <p:ext uri="{BB962C8B-B14F-4D97-AF65-F5344CB8AC3E}">
        <p14:creationId xmlns:p14="http://schemas.microsoft.com/office/powerpoint/2010/main" val="4214305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3.7037E-6 L -4.16667E-6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16" name="Table 17">
            <a:extLst>
              <a:ext uri="{FF2B5EF4-FFF2-40B4-BE49-F238E27FC236}">
                <a16:creationId xmlns:a16="http://schemas.microsoft.com/office/drawing/2014/main" id="{1709492E-5607-661E-16DD-C2079B9B749F}"/>
              </a:ext>
            </a:extLst>
          </p:cNvPr>
          <p:cNvGraphicFramePr>
            <a:graphicFrameLocks noGrp="1"/>
          </p:cNvGraphicFramePr>
          <p:nvPr/>
        </p:nvGraphicFramePr>
        <p:xfrm>
          <a:off x="442764" y="1485315"/>
          <a:ext cx="11319700" cy="4970184"/>
        </p:xfrm>
        <a:graphic>
          <a:graphicData uri="http://schemas.openxmlformats.org/drawingml/2006/table">
            <a:tbl>
              <a:tblPr firstRow="1" bandRow="1">
                <a:tableStyleId>{9D7B26C5-4107-4FEC-AEDC-1716B250A1EF}</a:tableStyleId>
              </a:tblPr>
              <a:tblGrid>
                <a:gridCol w="2829925">
                  <a:extLst>
                    <a:ext uri="{9D8B030D-6E8A-4147-A177-3AD203B41FA5}">
                      <a16:colId xmlns:a16="http://schemas.microsoft.com/office/drawing/2014/main" val="12356165"/>
                    </a:ext>
                  </a:extLst>
                </a:gridCol>
                <a:gridCol w="2829925">
                  <a:extLst>
                    <a:ext uri="{9D8B030D-6E8A-4147-A177-3AD203B41FA5}">
                      <a16:colId xmlns:a16="http://schemas.microsoft.com/office/drawing/2014/main" val="962452549"/>
                    </a:ext>
                  </a:extLst>
                </a:gridCol>
                <a:gridCol w="2829925">
                  <a:extLst>
                    <a:ext uri="{9D8B030D-6E8A-4147-A177-3AD203B41FA5}">
                      <a16:colId xmlns:a16="http://schemas.microsoft.com/office/drawing/2014/main" val="2505387342"/>
                    </a:ext>
                  </a:extLst>
                </a:gridCol>
                <a:gridCol w="2829925">
                  <a:extLst>
                    <a:ext uri="{9D8B030D-6E8A-4147-A177-3AD203B41FA5}">
                      <a16:colId xmlns:a16="http://schemas.microsoft.com/office/drawing/2014/main" val="4147388850"/>
                    </a:ext>
                  </a:extLst>
                </a:gridCol>
              </a:tblGrid>
              <a:tr h="1061466">
                <a:tc>
                  <a:txBody>
                    <a:bodyPr/>
                    <a:lstStyle/>
                    <a:p>
                      <a:endParaRPr lang="en-US">
                        <a:solidFill>
                          <a:schemeClr val="bg1"/>
                        </a:solidFill>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u="none" strike="noStrike" kern="1200" cap="none" spc="0" normalizeH="0" baseline="0" noProof="0">
                          <a:ln>
                            <a:noFill/>
                          </a:ln>
                          <a:solidFill>
                            <a:srgbClr val="50E6FF"/>
                          </a:solidFill>
                          <a:effectLst/>
                          <a:uLnTx/>
                          <a:uFillTx/>
                        </a:rPr>
                        <a:t>Full-text search</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u="none" strike="noStrike" kern="1200" cap="none" spc="0" normalizeH="0" baseline="0" noProof="0">
                          <a:ln>
                            <a:noFill/>
                          </a:ln>
                          <a:solidFill>
                            <a:srgbClr val="50E6FF"/>
                          </a:solidFill>
                          <a:effectLst/>
                          <a:uLnTx/>
                          <a:uFillTx/>
                        </a:rPr>
                        <a:t>(BM25)</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rtl="0" eaLnBrk="1" fontAlgn="auto" latinLnBrk="0" hangingPunct="1">
                        <a:lnSpc>
                          <a:spcPct val="90000"/>
                        </a:lnSpc>
                        <a:spcBef>
                          <a:spcPts val="0"/>
                        </a:spcBef>
                        <a:spcAft>
                          <a:spcPts val="600"/>
                        </a:spcAft>
                        <a:buClrTx/>
                        <a:buSzTx/>
                        <a:buFontTx/>
                        <a:buNone/>
                      </a:pPr>
                      <a:r>
                        <a:rPr lang="en-US" sz="2000" b="0" u="none" strike="noStrike" kern="1200" cap="none" spc="0" normalizeH="0" baseline="0" noProof="0">
                          <a:ln>
                            <a:noFill/>
                          </a:ln>
                          <a:solidFill>
                            <a:srgbClr val="50E6FF"/>
                          </a:solidFill>
                          <a:effectLst/>
                          <a:uLnTx/>
                          <a:uFillTx/>
                        </a:rPr>
                        <a:t>Pure Vector</a:t>
                      </a:r>
                      <a:r>
                        <a:rPr kumimoji="0" lang="en-US" sz="2000" b="0" u="none" strike="noStrike" kern="1200" cap="none" spc="0" normalizeH="0" baseline="0" noProof="0">
                          <a:ln>
                            <a:noFill/>
                          </a:ln>
                          <a:solidFill>
                            <a:srgbClr val="50E6FF"/>
                          </a:solidFill>
                          <a:effectLst/>
                          <a:uLnTx/>
                          <a:uFillTx/>
                        </a:rPr>
                        <a:t> search</a:t>
                      </a:r>
                    </a:p>
                    <a:p>
                      <a:pPr marL="0" marR="0" lvl="0" indent="0" algn="ctr" rtl="0" eaLnBrk="1" fontAlgn="auto" latinLnBrk="0" hangingPunct="1">
                        <a:lnSpc>
                          <a:spcPct val="90000"/>
                        </a:lnSpc>
                        <a:spcBef>
                          <a:spcPts val="0"/>
                        </a:spcBef>
                        <a:spcAft>
                          <a:spcPts val="600"/>
                        </a:spcAft>
                        <a:buClrTx/>
                        <a:buSzTx/>
                        <a:buFontTx/>
                        <a:buNone/>
                      </a:pPr>
                      <a:r>
                        <a:rPr kumimoji="0" lang="en-US" sz="2000" b="0" u="none" strike="noStrike" kern="1200" cap="none" spc="0" normalizeH="0" baseline="0" noProof="0">
                          <a:ln>
                            <a:noFill/>
                          </a:ln>
                          <a:solidFill>
                            <a:srgbClr val="50E6FF"/>
                          </a:solidFill>
                          <a:effectLst/>
                          <a:uLnTx/>
                          <a:uFillTx/>
                        </a:rPr>
                        <a:t>(ANN)</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u="none" strike="noStrike" kern="1200" cap="none" spc="0" normalizeH="0" baseline="0" noProof="0">
                          <a:ln>
                            <a:noFill/>
                          </a:ln>
                          <a:solidFill>
                            <a:srgbClr val="50E6FF"/>
                          </a:solidFill>
                          <a:effectLst/>
                          <a:uLnTx/>
                          <a:uFillTx/>
                        </a:rPr>
                        <a:t>Hybrid search</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u="none" strike="noStrike" kern="1200" cap="none" spc="0" normalizeH="0" baseline="0" noProof="0">
                          <a:ln>
                            <a:noFill/>
                          </a:ln>
                          <a:solidFill>
                            <a:srgbClr val="50E6FF"/>
                          </a:solidFill>
                          <a:effectLst/>
                          <a:uLnTx/>
                          <a:uFillTx/>
                        </a:rPr>
                        <a:t>(BM25 + ANN)</a:t>
                      </a:r>
                    </a:p>
                    <a:p>
                      <a:pPr algn="ctr"/>
                      <a:endParaRPr lang="en-US"/>
                    </a:p>
                  </a:txBody>
                  <a:tcP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99041849"/>
                  </a:ext>
                </a:extLst>
              </a:tr>
              <a:tr h="650564">
                <a:tc>
                  <a:txBody>
                    <a:bodyPr/>
                    <a:lstStyle/>
                    <a:p>
                      <a:r>
                        <a:rPr lang="en-US">
                          <a:solidFill>
                            <a:schemeClr val="bg1"/>
                          </a:solidFill>
                        </a:rPr>
                        <a:t>Exact keyword match</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765" kern="1200">
                        <a:solidFill>
                          <a:schemeClr val="bg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765" kern="1200">
                        <a:solidFill>
                          <a:schemeClr val="bg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765" kern="1200">
                        <a:solidFill>
                          <a:schemeClr val="bg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447757"/>
                  </a:ext>
                </a:extLst>
              </a:tr>
              <a:tr h="650564">
                <a:tc>
                  <a:txBody>
                    <a:bodyPr/>
                    <a:lstStyle/>
                    <a:p>
                      <a:r>
                        <a:rPr lang="en-US">
                          <a:solidFill>
                            <a:schemeClr val="bg1"/>
                          </a:solidFill>
                        </a:rPr>
                        <a:t>Proximity search</a:t>
                      </a: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16087940"/>
                  </a:ext>
                </a:extLst>
              </a:tr>
              <a:tr h="650564">
                <a:tc>
                  <a:txBody>
                    <a:bodyPr/>
                    <a:lstStyle/>
                    <a:p>
                      <a:r>
                        <a:rPr lang="en-US">
                          <a:solidFill>
                            <a:schemeClr val="bg1"/>
                          </a:solidFill>
                        </a:rPr>
                        <a:t>Term weighting</a:t>
                      </a: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49546454"/>
                  </a:ext>
                </a:extLst>
              </a:tr>
              <a:tr h="650564">
                <a:tc>
                  <a:txBody>
                    <a:bodyPr/>
                    <a:lstStyle/>
                    <a:p>
                      <a:r>
                        <a:rPr lang="en-US">
                          <a:solidFill>
                            <a:schemeClr val="bg1"/>
                          </a:solidFill>
                        </a:rPr>
                        <a:t>Semantic similarity search</a:t>
                      </a: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17420163"/>
                  </a:ext>
                </a:extLst>
              </a:tr>
              <a:tr h="650564">
                <a:tc>
                  <a:txBody>
                    <a:bodyPr/>
                    <a:lstStyle/>
                    <a:p>
                      <a:pPr lvl="0">
                        <a:buNone/>
                      </a:pPr>
                      <a:r>
                        <a:rPr lang="en-US" sz="1800" b="0" i="0" u="none" strike="noStrike" noProof="0">
                          <a:solidFill>
                            <a:schemeClr val="bg1"/>
                          </a:solidFill>
                          <a:latin typeface="Segoe UI"/>
                        </a:rPr>
                        <a:t>Multi-modal search</a:t>
                      </a:r>
                      <a:endParaRPr lang="en-US">
                        <a:solidFill>
                          <a:schemeClr val="bg1"/>
                        </a:solidFill>
                      </a:endParaRP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88898483"/>
                  </a:ext>
                </a:extLst>
              </a:tr>
              <a:tr h="650564">
                <a:tc>
                  <a:txBody>
                    <a:bodyPr/>
                    <a:lstStyle/>
                    <a:p>
                      <a:pPr lvl="0">
                        <a:buNone/>
                      </a:pPr>
                      <a:r>
                        <a:rPr lang="en-US" sz="1800" b="0" i="0" u="none" strike="noStrike" noProof="0">
                          <a:solidFill>
                            <a:schemeClr val="bg1"/>
                          </a:solidFill>
                          <a:latin typeface="Segoe UI"/>
                        </a:rPr>
                        <a:t>Multi-lingual search</a:t>
                      </a:r>
                      <a:endParaRPr lang="en-US">
                        <a:solidFill>
                          <a:schemeClr val="bg1"/>
                        </a:solidFill>
                      </a:endParaRP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endParaRPr lang="en-US"/>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endParaRPr lang="en-US" dirty="0"/>
                    </a:p>
                  </a:txBody>
                  <a:tcPr>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3692991428"/>
                  </a:ext>
                </a:extLst>
              </a:tr>
            </a:tbl>
          </a:graphicData>
        </a:graphic>
      </p:graphicFrame>
      <p:grpSp>
        <p:nvGrpSpPr>
          <p:cNvPr id="12" name="Group 11">
            <a:extLst>
              <a:ext uri="{FF2B5EF4-FFF2-40B4-BE49-F238E27FC236}">
                <a16:creationId xmlns:a16="http://schemas.microsoft.com/office/drawing/2014/main" id="{2272E684-0B97-B7AD-CA34-399B432E9A96}"/>
              </a:ext>
              <a:ext uri="{C183D7F6-B498-43B3-948B-1728B52AA6E4}">
                <adec:decorative xmlns:adec="http://schemas.microsoft.com/office/drawing/2017/decorative" val="1"/>
              </a:ext>
            </a:extLst>
          </p:cNvPr>
          <p:cNvGrpSpPr/>
          <p:nvPr/>
        </p:nvGrpSpPr>
        <p:grpSpPr>
          <a:xfrm>
            <a:off x="10152782" y="2618968"/>
            <a:ext cx="457200" cy="3740204"/>
            <a:chOff x="10152782" y="2618968"/>
            <a:chExt cx="457200" cy="3740204"/>
          </a:xfrm>
        </p:grpSpPr>
        <p:grpSp>
          <p:nvGrpSpPr>
            <p:cNvPr id="60" name="Group 59" descr="available">
              <a:extLst>
                <a:ext uri="{FF2B5EF4-FFF2-40B4-BE49-F238E27FC236}">
                  <a16:creationId xmlns:a16="http://schemas.microsoft.com/office/drawing/2014/main" id="{7E1E8EDE-20DC-2125-1D4B-743AFCA69311}"/>
                </a:ext>
              </a:extLst>
            </p:cNvPr>
            <p:cNvGrpSpPr>
              <a:grpSpLocks noChangeAspect="1"/>
            </p:cNvGrpSpPr>
            <p:nvPr/>
          </p:nvGrpSpPr>
          <p:grpSpPr>
            <a:xfrm>
              <a:off x="10152782" y="5901972"/>
              <a:ext cx="457200" cy="457200"/>
              <a:chOff x="5042429" y="1549400"/>
              <a:chExt cx="914400" cy="914400"/>
            </a:xfrm>
          </p:grpSpPr>
          <p:sp>
            <p:nvSpPr>
              <p:cNvPr id="61" name="Oval 60">
                <a:extLst>
                  <a:ext uri="{FF2B5EF4-FFF2-40B4-BE49-F238E27FC236}">
                    <a16:creationId xmlns:a16="http://schemas.microsoft.com/office/drawing/2014/main" id="{13D0DD48-CE0E-274D-B15A-141127B3F917}"/>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2" name="Graphic 61" descr="Checkmark with solid fill">
                <a:extLst>
                  <a:ext uri="{FF2B5EF4-FFF2-40B4-BE49-F238E27FC236}">
                    <a16:creationId xmlns:a16="http://schemas.microsoft.com/office/drawing/2014/main" id="{4CD85B3A-0034-45B0-474C-30739F82D0E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63" name="Group 62" descr="available">
              <a:extLst>
                <a:ext uri="{FF2B5EF4-FFF2-40B4-BE49-F238E27FC236}">
                  <a16:creationId xmlns:a16="http://schemas.microsoft.com/office/drawing/2014/main" id="{79277AAA-F41B-CBF6-8A03-3A928B17DC4D}"/>
                </a:ext>
              </a:extLst>
            </p:cNvPr>
            <p:cNvGrpSpPr>
              <a:grpSpLocks noChangeAspect="1"/>
            </p:cNvGrpSpPr>
            <p:nvPr/>
          </p:nvGrpSpPr>
          <p:grpSpPr>
            <a:xfrm>
              <a:off x="10152782" y="4589617"/>
              <a:ext cx="457200" cy="457200"/>
              <a:chOff x="5042429" y="1549400"/>
              <a:chExt cx="914400" cy="914400"/>
            </a:xfrm>
          </p:grpSpPr>
          <p:sp>
            <p:nvSpPr>
              <p:cNvPr id="64" name="Oval 63">
                <a:extLst>
                  <a:ext uri="{FF2B5EF4-FFF2-40B4-BE49-F238E27FC236}">
                    <a16:creationId xmlns:a16="http://schemas.microsoft.com/office/drawing/2014/main" id="{65EA179B-64FF-EB1B-FFA6-04B8A2ED1295}"/>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5" name="Graphic 64" descr="Checkmark with solid fill">
                <a:extLst>
                  <a:ext uri="{FF2B5EF4-FFF2-40B4-BE49-F238E27FC236}">
                    <a16:creationId xmlns:a16="http://schemas.microsoft.com/office/drawing/2014/main" id="{B0FE1FF0-B69B-8201-6007-CA563C9CED8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66" name="Group 65" descr="available">
              <a:extLst>
                <a:ext uri="{FF2B5EF4-FFF2-40B4-BE49-F238E27FC236}">
                  <a16:creationId xmlns:a16="http://schemas.microsoft.com/office/drawing/2014/main" id="{4AB25B0F-8968-8C18-C19E-3F554294B73E}"/>
                </a:ext>
              </a:extLst>
            </p:cNvPr>
            <p:cNvGrpSpPr>
              <a:grpSpLocks noChangeAspect="1"/>
            </p:cNvGrpSpPr>
            <p:nvPr/>
          </p:nvGrpSpPr>
          <p:grpSpPr>
            <a:xfrm>
              <a:off x="10152782" y="5241266"/>
              <a:ext cx="457200" cy="457200"/>
              <a:chOff x="5042429" y="1549400"/>
              <a:chExt cx="914400" cy="914400"/>
            </a:xfrm>
          </p:grpSpPr>
          <p:sp>
            <p:nvSpPr>
              <p:cNvPr id="67" name="Oval 66">
                <a:extLst>
                  <a:ext uri="{FF2B5EF4-FFF2-40B4-BE49-F238E27FC236}">
                    <a16:creationId xmlns:a16="http://schemas.microsoft.com/office/drawing/2014/main" id="{E2E67471-1CED-4F3D-B207-0F6A27AF15F8}"/>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Graphic 67" descr="Checkmark with solid fill">
                <a:extLst>
                  <a:ext uri="{FF2B5EF4-FFF2-40B4-BE49-F238E27FC236}">
                    <a16:creationId xmlns:a16="http://schemas.microsoft.com/office/drawing/2014/main" id="{CF752163-EF80-4E70-419C-B0BB949EFE2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69" name="Group 68" descr="available">
              <a:extLst>
                <a:ext uri="{FF2B5EF4-FFF2-40B4-BE49-F238E27FC236}">
                  <a16:creationId xmlns:a16="http://schemas.microsoft.com/office/drawing/2014/main" id="{B5C26919-9BD3-B7EF-D9DA-DA33D27F3BE2}"/>
                </a:ext>
              </a:extLst>
            </p:cNvPr>
            <p:cNvGrpSpPr>
              <a:grpSpLocks noChangeAspect="1"/>
            </p:cNvGrpSpPr>
            <p:nvPr/>
          </p:nvGrpSpPr>
          <p:grpSpPr>
            <a:xfrm>
              <a:off x="10152782" y="3906034"/>
              <a:ext cx="457200" cy="457200"/>
              <a:chOff x="5042429" y="1549400"/>
              <a:chExt cx="914400" cy="914400"/>
            </a:xfrm>
          </p:grpSpPr>
          <p:sp>
            <p:nvSpPr>
              <p:cNvPr id="70" name="Oval 69">
                <a:extLst>
                  <a:ext uri="{FF2B5EF4-FFF2-40B4-BE49-F238E27FC236}">
                    <a16:creationId xmlns:a16="http://schemas.microsoft.com/office/drawing/2014/main" id="{09DA4A43-D7FE-9D0C-1FC5-F419C6604A4F}"/>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 name="Graphic 70" descr="Checkmark with solid fill">
                <a:extLst>
                  <a:ext uri="{FF2B5EF4-FFF2-40B4-BE49-F238E27FC236}">
                    <a16:creationId xmlns:a16="http://schemas.microsoft.com/office/drawing/2014/main" id="{627BDFA9-41F1-D952-850C-FA262D43715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72" name="Group 71" descr="available">
              <a:extLst>
                <a:ext uri="{FF2B5EF4-FFF2-40B4-BE49-F238E27FC236}">
                  <a16:creationId xmlns:a16="http://schemas.microsoft.com/office/drawing/2014/main" id="{9B3B8FCC-80C5-94C3-FDC8-3EC08060C67C}"/>
                </a:ext>
              </a:extLst>
            </p:cNvPr>
            <p:cNvGrpSpPr>
              <a:grpSpLocks noChangeAspect="1"/>
            </p:cNvGrpSpPr>
            <p:nvPr/>
          </p:nvGrpSpPr>
          <p:grpSpPr>
            <a:xfrm>
              <a:off x="10152782" y="3254576"/>
              <a:ext cx="457200" cy="457200"/>
              <a:chOff x="5042429" y="1549400"/>
              <a:chExt cx="914400" cy="914400"/>
            </a:xfrm>
          </p:grpSpPr>
          <p:sp>
            <p:nvSpPr>
              <p:cNvPr id="73" name="Oval 72">
                <a:extLst>
                  <a:ext uri="{FF2B5EF4-FFF2-40B4-BE49-F238E27FC236}">
                    <a16:creationId xmlns:a16="http://schemas.microsoft.com/office/drawing/2014/main" id="{FF30579D-B59C-3E70-63EE-D5641A02A939}"/>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Graphic 73" descr="Checkmark with solid fill">
                <a:extLst>
                  <a:ext uri="{FF2B5EF4-FFF2-40B4-BE49-F238E27FC236}">
                    <a16:creationId xmlns:a16="http://schemas.microsoft.com/office/drawing/2014/main" id="{815441EC-70D2-0393-6326-DCBA888D01D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75" name="Group 74" descr="available">
              <a:extLst>
                <a:ext uri="{FF2B5EF4-FFF2-40B4-BE49-F238E27FC236}">
                  <a16:creationId xmlns:a16="http://schemas.microsoft.com/office/drawing/2014/main" id="{3745F8A4-C2B9-07C5-DC20-080F168D856D}"/>
                </a:ext>
              </a:extLst>
            </p:cNvPr>
            <p:cNvGrpSpPr>
              <a:grpSpLocks noChangeAspect="1"/>
            </p:cNvGrpSpPr>
            <p:nvPr/>
          </p:nvGrpSpPr>
          <p:grpSpPr>
            <a:xfrm>
              <a:off x="10152782" y="2618968"/>
              <a:ext cx="457200" cy="457200"/>
              <a:chOff x="5042429" y="1549400"/>
              <a:chExt cx="914400" cy="914400"/>
            </a:xfrm>
          </p:grpSpPr>
          <p:sp>
            <p:nvSpPr>
              <p:cNvPr id="76" name="Oval 75">
                <a:extLst>
                  <a:ext uri="{FF2B5EF4-FFF2-40B4-BE49-F238E27FC236}">
                    <a16:creationId xmlns:a16="http://schemas.microsoft.com/office/drawing/2014/main" id="{3DF6A8CD-07D9-D661-85DA-8CBB12D3ACAB}"/>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Graphic 76" descr="Checkmark with solid fill">
                <a:extLst>
                  <a:ext uri="{FF2B5EF4-FFF2-40B4-BE49-F238E27FC236}">
                    <a16:creationId xmlns:a16="http://schemas.microsoft.com/office/drawing/2014/main" id="{8FB4E5D9-F15B-DF13-482D-58AB22C486B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sp>
        <p:nvSpPr>
          <p:cNvPr id="95" name="Title 13">
            <a:extLst>
              <a:ext uri="{FF2B5EF4-FFF2-40B4-BE49-F238E27FC236}">
                <a16:creationId xmlns:a16="http://schemas.microsoft.com/office/drawing/2014/main" id="{A70A5715-1334-B936-5E97-183A867A2828}"/>
              </a:ext>
            </a:extLst>
          </p:cNvPr>
          <p:cNvSpPr txBox="1">
            <a:spLocks/>
          </p:cNvSpPr>
          <p:nvPr/>
        </p:nvSpPr>
        <p:spPr>
          <a:xfrm>
            <a:off x="624229" y="511970"/>
            <a:ext cx="11306469" cy="765402"/>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kern="1200" cap="none" spc="-49"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ts val="3137"/>
              </a:lnSpc>
              <a:spcBef>
                <a:spcPct val="0"/>
              </a:spcBef>
              <a:spcAft>
                <a:spcPts val="0"/>
              </a:spcAft>
              <a:buClrTx/>
              <a:buSzTx/>
              <a:buFontTx/>
              <a:buNone/>
              <a:tabLst/>
              <a:defRPr/>
            </a:pPr>
            <a:r>
              <a:rPr kumimoji="0" lang="en-US" sz="3200" b="0" i="0" u="none" strike="noStrike" kern="1200" cap="none" spc="-49" normalizeH="0" baseline="0" noProof="0">
                <a:ln w="3175">
                  <a:noFill/>
                </a:ln>
                <a:solidFill>
                  <a:srgbClr val="FFFFFF"/>
                </a:solidFill>
                <a:effectLst/>
                <a:uLnTx/>
                <a:uFillTx/>
                <a:latin typeface="Segoe UI Semibold"/>
                <a:ea typeface="+mn-ea"/>
                <a:cs typeface="Segoe UI"/>
              </a:rPr>
              <a:t>Retrieval Modes</a:t>
            </a:r>
            <a:br>
              <a:rPr kumimoji="0" lang="en-US" sz="2700" b="0" i="0" u="none" strike="noStrike" kern="1200" cap="none" spc="-49" normalizeH="0" baseline="0" noProof="0">
                <a:ln w="3175">
                  <a:noFill/>
                </a:ln>
                <a:solidFill>
                  <a:srgbClr val="000000"/>
                </a:solidFill>
                <a:effectLst/>
                <a:uLnTx/>
                <a:uFillTx/>
                <a:latin typeface="Segoe UI Semibold"/>
                <a:ea typeface="+mn-ea"/>
                <a:cs typeface="Segoe UI" pitchFamily="34" charset="0"/>
              </a:rPr>
            </a:br>
            <a:r>
              <a:rPr kumimoji="0" lang="en-US" sz="2000" b="0" i="0" u="none" strike="noStrike" kern="1200" cap="none" spc="-49" normalizeH="0" baseline="0" noProof="0">
                <a:ln w="3175">
                  <a:noFill/>
                </a:ln>
                <a:solidFill>
                  <a:srgbClr val="50E6FF"/>
                </a:solidFill>
                <a:effectLst/>
                <a:uLnTx/>
                <a:uFillTx/>
                <a:latin typeface="Segoe UI Semibold"/>
                <a:ea typeface="+mn-ea"/>
                <a:cs typeface="Segoe UI"/>
              </a:rPr>
              <a:t>Vector search is good, but Hybrid search is even better!</a:t>
            </a:r>
            <a:endParaRPr kumimoji="0" lang="en-US" sz="2745" b="0" i="0" u="none" strike="noStrike" kern="1200" cap="none" spc="-49" normalizeH="0" baseline="0" noProof="0">
              <a:ln w="3175">
                <a:noFill/>
              </a:ln>
              <a:solidFill>
                <a:srgbClr val="50E6FF"/>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34867CEE-0D3F-CD91-898D-B705CCFB0866}"/>
              </a:ext>
            </a:extLst>
          </p:cNvPr>
          <p:cNvSpPr>
            <a:spLocks noGrp="1"/>
          </p:cNvSpPr>
          <p:nvPr>
            <p:ph type="title"/>
          </p:nvPr>
        </p:nvSpPr>
        <p:spPr>
          <a:xfrm>
            <a:off x="455995" y="-403137"/>
            <a:ext cx="11306469" cy="403137"/>
          </a:xfrm>
        </p:spPr>
        <p:txBody>
          <a:bodyPr vert="horz" wrap="square" lIns="0" tIns="0" rIns="0" bIns="0" rtlCol="0" anchor="b">
            <a:spAutoFit/>
          </a:bodyPr>
          <a:lstStyle/>
          <a:p>
            <a:r>
              <a:rPr lang="en-US">
                <a:solidFill>
                  <a:schemeClr val="bg1"/>
                </a:solidFill>
              </a:rPr>
              <a:t>Retrieval modes</a:t>
            </a:r>
          </a:p>
        </p:txBody>
      </p:sp>
      <p:grpSp>
        <p:nvGrpSpPr>
          <p:cNvPr id="13" name="Group 12">
            <a:extLst>
              <a:ext uri="{FF2B5EF4-FFF2-40B4-BE49-F238E27FC236}">
                <a16:creationId xmlns:a16="http://schemas.microsoft.com/office/drawing/2014/main" id="{4C2B94EE-9B20-9398-9910-B0F9A324B1B0}"/>
              </a:ext>
              <a:ext uri="{C183D7F6-B498-43B3-948B-1728B52AA6E4}">
                <adec:decorative xmlns:adec="http://schemas.microsoft.com/office/drawing/2017/decorative" val="1"/>
              </a:ext>
            </a:extLst>
          </p:cNvPr>
          <p:cNvGrpSpPr/>
          <p:nvPr/>
        </p:nvGrpSpPr>
        <p:grpSpPr>
          <a:xfrm>
            <a:off x="7259044" y="2613392"/>
            <a:ext cx="461142" cy="3762113"/>
            <a:chOff x="7259044" y="2613392"/>
            <a:chExt cx="461142" cy="3762113"/>
          </a:xfrm>
        </p:grpSpPr>
        <p:grpSp>
          <p:nvGrpSpPr>
            <p:cNvPr id="18" name="Group 17" descr="not available">
              <a:extLst>
                <a:ext uri="{FF2B5EF4-FFF2-40B4-BE49-F238E27FC236}">
                  <a16:creationId xmlns:a16="http://schemas.microsoft.com/office/drawing/2014/main" id="{AB6B6B5F-2C9E-C2A9-4A2F-30ECDCF37CBA}"/>
                </a:ext>
              </a:extLst>
            </p:cNvPr>
            <p:cNvGrpSpPr>
              <a:grpSpLocks noChangeAspect="1"/>
            </p:cNvGrpSpPr>
            <p:nvPr/>
          </p:nvGrpSpPr>
          <p:grpSpPr>
            <a:xfrm>
              <a:off x="7259044" y="2613392"/>
              <a:ext cx="457200" cy="457200"/>
              <a:chOff x="5042429" y="1549400"/>
              <a:chExt cx="914400" cy="914400"/>
            </a:xfrm>
          </p:grpSpPr>
          <p:sp>
            <p:nvSpPr>
              <p:cNvPr id="19" name="Oval 18">
                <a:extLst>
                  <a:ext uri="{FF2B5EF4-FFF2-40B4-BE49-F238E27FC236}">
                    <a16:creationId xmlns:a16="http://schemas.microsoft.com/office/drawing/2014/main" id="{E2D4B0F2-466E-4CB5-477D-E69A1D5DA433}"/>
                  </a:ext>
                </a:extLst>
              </p:cNvPr>
              <p:cNvSpPr/>
              <p:nvPr/>
            </p:nvSpPr>
            <p:spPr bwMode="auto">
              <a:xfrm>
                <a:off x="5042429" y="1549400"/>
                <a:ext cx="914400" cy="91440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Close with solid fill">
                <a:extLst>
                  <a:ext uri="{FF2B5EF4-FFF2-40B4-BE49-F238E27FC236}">
                    <a16:creationId xmlns:a16="http://schemas.microsoft.com/office/drawing/2014/main" id="{8EA952BA-665F-D92F-BE89-8530308BB91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156729" y="1663700"/>
                <a:ext cx="685800" cy="685800"/>
              </a:xfrm>
              <a:prstGeom prst="rect">
                <a:avLst/>
              </a:prstGeom>
            </p:spPr>
          </p:pic>
        </p:grpSp>
        <p:grpSp>
          <p:nvGrpSpPr>
            <p:cNvPr id="84" name="Group 83" descr="available">
              <a:extLst>
                <a:ext uri="{FF2B5EF4-FFF2-40B4-BE49-F238E27FC236}">
                  <a16:creationId xmlns:a16="http://schemas.microsoft.com/office/drawing/2014/main" id="{6F9DF210-D84A-BB72-F3B7-45A17EDA08E8}"/>
                </a:ext>
              </a:extLst>
            </p:cNvPr>
            <p:cNvGrpSpPr>
              <a:grpSpLocks noChangeAspect="1"/>
            </p:cNvGrpSpPr>
            <p:nvPr/>
          </p:nvGrpSpPr>
          <p:grpSpPr>
            <a:xfrm>
              <a:off x="7262986" y="4605950"/>
              <a:ext cx="457200" cy="457200"/>
              <a:chOff x="5042429" y="1549400"/>
              <a:chExt cx="914400" cy="914400"/>
            </a:xfrm>
          </p:grpSpPr>
          <p:sp>
            <p:nvSpPr>
              <p:cNvPr id="85" name="Oval 84">
                <a:extLst>
                  <a:ext uri="{FF2B5EF4-FFF2-40B4-BE49-F238E27FC236}">
                    <a16:creationId xmlns:a16="http://schemas.microsoft.com/office/drawing/2014/main" id="{C5726100-B7A8-D7CE-5C2B-5FB627A9E777}"/>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6" name="Graphic 85" descr="Checkmark with solid fill">
                <a:extLst>
                  <a:ext uri="{FF2B5EF4-FFF2-40B4-BE49-F238E27FC236}">
                    <a16:creationId xmlns:a16="http://schemas.microsoft.com/office/drawing/2014/main" id="{61CAED75-D9BF-4050-FEAF-7369A17E981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87" name="Group 86" descr="available">
              <a:extLst>
                <a:ext uri="{FF2B5EF4-FFF2-40B4-BE49-F238E27FC236}">
                  <a16:creationId xmlns:a16="http://schemas.microsoft.com/office/drawing/2014/main" id="{63BE5E9F-8E52-45AF-1EF1-0610E8EB936D}"/>
                </a:ext>
              </a:extLst>
            </p:cNvPr>
            <p:cNvGrpSpPr>
              <a:grpSpLocks noChangeAspect="1"/>
            </p:cNvGrpSpPr>
            <p:nvPr/>
          </p:nvGrpSpPr>
          <p:grpSpPr>
            <a:xfrm>
              <a:off x="7259044" y="5251697"/>
              <a:ext cx="457200" cy="457200"/>
              <a:chOff x="5042429" y="1549400"/>
              <a:chExt cx="914400" cy="914400"/>
            </a:xfrm>
          </p:grpSpPr>
          <p:sp>
            <p:nvSpPr>
              <p:cNvPr id="88" name="Oval 87">
                <a:extLst>
                  <a:ext uri="{FF2B5EF4-FFF2-40B4-BE49-F238E27FC236}">
                    <a16:creationId xmlns:a16="http://schemas.microsoft.com/office/drawing/2014/main" id="{733FCD4D-405B-55D3-6620-267E5E99D53F}"/>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9" name="Graphic 88" descr="Checkmark with solid fill">
                <a:extLst>
                  <a:ext uri="{FF2B5EF4-FFF2-40B4-BE49-F238E27FC236}">
                    <a16:creationId xmlns:a16="http://schemas.microsoft.com/office/drawing/2014/main" id="{097DBADC-0D3E-EAF1-3563-A8CB75CA5A8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90" name="Group 89" descr="available">
              <a:extLst>
                <a:ext uri="{FF2B5EF4-FFF2-40B4-BE49-F238E27FC236}">
                  <a16:creationId xmlns:a16="http://schemas.microsoft.com/office/drawing/2014/main" id="{92F29DCB-400E-ADE5-2FD3-39732C9DFA5D}"/>
                </a:ext>
              </a:extLst>
            </p:cNvPr>
            <p:cNvGrpSpPr>
              <a:grpSpLocks noChangeAspect="1"/>
            </p:cNvGrpSpPr>
            <p:nvPr/>
          </p:nvGrpSpPr>
          <p:grpSpPr>
            <a:xfrm>
              <a:off x="7259044" y="5918305"/>
              <a:ext cx="457200" cy="457200"/>
              <a:chOff x="5042429" y="1549400"/>
              <a:chExt cx="914400" cy="914400"/>
            </a:xfrm>
          </p:grpSpPr>
          <p:sp>
            <p:nvSpPr>
              <p:cNvPr id="91" name="Oval 90">
                <a:extLst>
                  <a:ext uri="{FF2B5EF4-FFF2-40B4-BE49-F238E27FC236}">
                    <a16:creationId xmlns:a16="http://schemas.microsoft.com/office/drawing/2014/main" id="{322D5822-977B-5B71-8FF0-2A633C90F754}"/>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2" name="Graphic 91" descr="Checkmark with solid fill">
                <a:extLst>
                  <a:ext uri="{FF2B5EF4-FFF2-40B4-BE49-F238E27FC236}">
                    <a16:creationId xmlns:a16="http://schemas.microsoft.com/office/drawing/2014/main" id="{474A00EC-E677-1810-F0F1-9F50D68BE0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3" name="Group 2" descr="not available">
              <a:extLst>
                <a:ext uri="{FF2B5EF4-FFF2-40B4-BE49-F238E27FC236}">
                  <a16:creationId xmlns:a16="http://schemas.microsoft.com/office/drawing/2014/main" id="{A9B8A85C-1ACA-4DC9-5047-4538DBAC136D}"/>
                </a:ext>
              </a:extLst>
            </p:cNvPr>
            <p:cNvGrpSpPr>
              <a:grpSpLocks noChangeAspect="1"/>
            </p:cNvGrpSpPr>
            <p:nvPr/>
          </p:nvGrpSpPr>
          <p:grpSpPr>
            <a:xfrm>
              <a:off x="7259044" y="3293595"/>
              <a:ext cx="457200" cy="457200"/>
              <a:chOff x="5042429" y="1549400"/>
              <a:chExt cx="914400" cy="914400"/>
            </a:xfrm>
          </p:grpSpPr>
          <p:sp>
            <p:nvSpPr>
              <p:cNvPr id="4" name="Oval 3">
                <a:extLst>
                  <a:ext uri="{FF2B5EF4-FFF2-40B4-BE49-F238E27FC236}">
                    <a16:creationId xmlns:a16="http://schemas.microsoft.com/office/drawing/2014/main" id="{E1AB8FE5-96B6-4C0B-6F5E-3D2FE323A6CC}"/>
                  </a:ext>
                </a:extLst>
              </p:cNvPr>
              <p:cNvSpPr/>
              <p:nvPr/>
            </p:nvSpPr>
            <p:spPr bwMode="auto">
              <a:xfrm>
                <a:off x="5042429" y="1549400"/>
                <a:ext cx="914400" cy="91440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Graphic 4" descr="Close with solid fill">
                <a:extLst>
                  <a:ext uri="{FF2B5EF4-FFF2-40B4-BE49-F238E27FC236}">
                    <a16:creationId xmlns:a16="http://schemas.microsoft.com/office/drawing/2014/main" id="{52605C2B-70D7-E6E6-8A99-A69146F58BB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156729" y="1663700"/>
                <a:ext cx="685800" cy="685800"/>
              </a:xfrm>
              <a:prstGeom prst="rect">
                <a:avLst/>
              </a:prstGeom>
            </p:spPr>
          </p:pic>
        </p:grpSp>
        <p:grpSp>
          <p:nvGrpSpPr>
            <p:cNvPr id="6" name="Group 5" descr="not available">
              <a:extLst>
                <a:ext uri="{FF2B5EF4-FFF2-40B4-BE49-F238E27FC236}">
                  <a16:creationId xmlns:a16="http://schemas.microsoft.com/office/drawing/2014/main" id="{C35EB914-8A1D-B894-637F-3BDFF43689D9}"/>
                </a:ext>
              </a:extLst>
            </p:cNvPr>
            <p:cNvGrpSpPr>
              <a:grpSpLocks noChangeAspect="1"/>
            </p:cNvGrpSpPr>
            <p:nvPr/>
          </p:nvGrpSpPr>
          <p:grpSpPr>
            <a:xfrm>
              <a:off x="7262986" y="3925747"/>
              <a:ext cx="457200" cy="457200"/>
              <a:chOff x="5042429" y="1549400"/>
              <a:chExt cx="914400" cy="914400"/>
            </a:xfrm>
          </p:grpSpPr>
          <p:sp>
            <p:nvSpPr>
              <p:cNvPr id="7" name="Oval 6">
                <a:extLst>
                  <a:ext uri="{FF2B5EF4-FFF2-40B4-BE49-F238E27FC236}">
                    <a16:creationId xmlns:a16="http://schemas.microsoft.com/office/drawing/2014/main" id="{42D462D3-CCDC-11AD-9BFC-7038E9C1D9EB}"/>
                  </a:ext>
                </a:extLst>
              </p:cNvPr>
              <p:cNvSpPr/>
              <p:nvPr/>
            </p:nvSpPr>
            <p:spPr bwMode="auto">
              <a:xfrm>
                <a:off x="5042429" y="1549400"/>
                <a:ext cx="914400" cy="91440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Graphic 7" descr="Close with solid fill">
                <a:extLst>
                  <a:ext uri="{FF2B5EF4-FFF2-40B4-BE49-F238E27FC236}">
                    <a16:creationId xmlns:a16="http://schemas.microsoft.com/office/drawing/2014/main" id="{84DA105E-3D80-4C0A-06BD-59F8749FBC6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156729" y="1663700"/>
                <a:ext cx="685800" cy="685800"/>
              </a:xfrm>
              <a:prstGeom prst="rect">
                <a:avLst/>
              </a:prstGeom>
            </p:spPr>
          </p:pic>
        </p:grpSp>
      </p:grpSp>
      <p:grpSp>
        <p:nvGrpSpPr>
          <p:cNvPr id="35" name="Group 34" descr="not available">
            <a:extLst>
              <a:ext uri="{FF2B5EF4-FFF2-40B4-BE49-F238E27FC236}">
                <a16:creationId xmlns:a16="http://schemas.microsoft.com/office/drawing/2014/main" id="{EFFAFEF9-30C2-1FBB-E9B5-F98CE9BBF27A}"/>
              </a:ext>
            </a:extLst>
          </p:cNvPr>
          <p:cNvGrpSpPr>
            <a:grpSpLocks noChangeAspect="1"/>
          </p:cNvGrpSpPr>
          <p:nvPr/>
        </p:nvGrpSpPr>
        <p:grpSpPr>
          <a:xfrm>
            <a:off x="4463234" y="4576933"/>
            <a:ext cx="457200" cy="457200"/>
            <a:chOff x="5042429" y="1549400"/>
            <a:chExt cx="914400" cy="914400"/>
          </a:xfrm>
        </p:grpSpPr>
        <p:sp>
          <p:nvSpPr>
            <p:cNvPr id="36" name="Oval 35">
              <a:extLst>
                <a:ext uri="{FF2B5EF4-FFF2-40B4-BE49-F238E27FC236}">
                  <a16:creationId xmlns:a16="http://schemas.microsoft.com/office/drawing/2014/main" id="{2469C82A-3257-556A-BEEA-43C3E4196510}"/>
                </a:ext>
              </a:extLst>
            </p:cNvPr>
            <p:cNvSpPr/>
            <p:nvPr/>
          </p:nvSpPr>
          <p:spPr bwMode="auto">
            <a:xfrm>
              <a:off x="5042429" y="1549400"/>
              <a:ext cx="914400" cy="91440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Graphic 36" descr="Close with solid fill">
              <a:extLst>
                <a:ext uri="{FF2B5EF4-FFF2-40B4-BE49-F238E27FC236}">
                  <a16:creationId xmlns:a16="http://schemas.microsoft.com/office/drawing/2014/main" id="{742C0F48-CE75-2755-A77D-368637B0E54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156729" y="1663700"/>
              <a:ext cx="685800" cy="685800"/>
            </a:xfrm>
            <a:prstGeom prst="rect">
              <a:avLst/>
            </a:prstGeom>
          </p:spPr>
        </p:pic>
      </p:grpSp>
      <p:grpSp>
        <p:nvGrpSpPr>
          <p:cNvPr id="38" name="Group 37" descr="not available">
            <a:extLst>
              <a:ext uri="{FF2B5EF4-FFF2-40B4-BE49-F238E27FC236}">
                <a16:creationId xmlns:a16="http://schemas.microsoft.com/office/drawing/2014/main" id="{FD4C50FE-6589-50BB-B1AD-B1CE4E52A5BE}"/>
              </a:ext>
            </a:extLst>
          </p:cNvPr>
          <p:cNvGrpSpPr>
            <a:grpSpLocks noChangeAspect="1"/>
          </p:cNvGrpSpPr>
          <p:nvPr/>
        </p:nvGrpSpPr>
        <p:grpSpPr>
          <a:xfrm>
            <a:off x="4471816" y="5242076"/>
            <a:ext cx="457200" cy="457200"/>
            <a:chOff x="5042429" y="1549400"/>
            <a:chExt cx="914400" cy="914400"/>
          </a:xfrm>
        </p:grpSpPr>
        <p:sp>
          <p:nvSpPr>
            <p:cNvPr id="39" name="Oval 38">
              <a:extLst>
                <a:ext uri="{FF2B5EF4-FFF2-40B4-BE49-F238E27FC236}">
                  <a16:creationId xmlns:a16="http://schemas.microsoft.com/office/drawing/2014/main" id="{29BE5E86-B10D-FCD8-96F8-55966CAC3E1A}"/>
                </a:ext>
              </a:extLst>
            </p:cNvPr>
            <p:cNvSpPr/>
            <p:nvPr/>
          </p:nvSpPr>
          <p:spPr bwMode="auto">
            <a:xfrm>
              <a:off x="5042429" y="1549400"/>
              <a:ext cx="914400" cy="91440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1" name="Graphic 40" descr="Close with solid fill">
              <a:extLst>
                <a:ext uri="{FF2B5EF4-FFF2-40B4-BE49-F238E27FC236}">
                  <a16:creationId xmlns:a16="http://schemas.microsoft.com/office/drawing/2014/main" id="{FE2FBF5A-8385-8F97-4B33-856080B9645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156729" y="1663700"/>
              <a:ext cx="685800" cy="685800"/>
            </a:xfrm>
            <a:prstGeom prst="rect">
              <a:avLst/>
            </a:prstGeom>
          </p:spPr>
        </p:pic>
      </p:grpSp>
      <p:grpSp>
        <p:nvGrpSpPr>
          <p:cNvPr id="57" name="Group 56" descr="available">
            <a:extLst>
              <a:ext uri="{FF2B5EF4-FFF2-40B4-BE49-F238E27FC236}">
                <a16:creationId xmlns:a16="http://schemas.microsoft.com/office/drawing/2014/main" id="{0FF9BBA9-4131-2E7A-79AE-189AE43A023F}"/>
              </a:ext>
            </a:extLst>
          </p:cNvPr>
          <p:cNvGrpSpPr>
            <a:grpSpLocks noChangeAspect="1"/>
          </p:cNvGrpSpPr>
          <p:nvPr/>
        </p:nvGrpSpPr>
        <p:grpSpPr>
          <a:xfrm>
            <a:off x="4471816" y="3254576"/>
            <a:ext cx="457200" cy="457200"/>
            <a:chOff x="5042429" y="1549400"/>
            <a:chExt cx="914400" cy="914400"/>
          </a:xfrm>
        </p:grpSpPr>
        <p:sp>
          <p:nvSpPr>
            <p:cNvPr id="58" name="Oval 57">
              <a:extLst>
                <a:ext uri="{FF2B5EF4-FFF2-40B4-BE49-F238E27FC236}">
                  <a16:creationId xmlns:a16="http://schemas.microsoft.com/office/drawing/2014/main" id="{33472604-5AF0-D4A2-638D-1C80E8949B3F}"/>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9" name="Graphic 58" descr="Checkmark with solid fill">
              <a:extLst>
                <a:ext uri="{FF2B5EF4-FFF2-40B4-BE49-F238E27FC236}">
                  <a16:creationId xmlns:a16="http://schemas.microsoft.com/office/drawing/2014/main" id="{FCA865EC-6ECF-D2A4-BD1C-F88C6AB4C1D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78" name="Group 77" descr="available">
            <a:extLst>
              <a:ext uri="{FF2B5EF4-FFF2-40B4-BE49-F238E27FC236}">
                <a16:creationId xmlns:a16="http://schemas.microsoft.com/office/drawing/2014/main" id="{A5DCBD56-FEAA-5123-16BA-E75FEDAB8A40}"/>
              </a:ext>
            </a:extLst>
          </p:cNvPr>
          <p:cNvGrpSpPr>
            <a:grpSpLocks noChangeAspect="1"/>
          </p:cNvGrpSpPr>
          <p:nvPr/>
        </p:nvGrpSpPr>
        <p:grpSpPr>
          <a:xfrm>
            <a:off x="4470113" y="2608550"/>
            <a:ext cx="457200" cy="457200"/>
            <a:chOff x="5042429" y="1549400"/>
            <a:chExt cx="914400" cy="914400"/>
          </a:xfrm>
        </p:grpSpPr>
        <p:sp>
          <p:nvSpPr>
            <p:cNvPr id="79" name="Oval 78">
              <a:extLst>
                <a:ext uri="{FF2B5EF4-FFF2-40B4-BE49-F238E27FC236}">
                  <a16:creationId xmlns:a16="http://schemas.microsoft.com/office/drawing/2014/main" id="{D376C65B-36E4-2EBF-B040-C5FD0298FEB2}"/>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Graphic 79" descr="Checkmark with solid fill">
              <a:extLst>
                <a:ext uri="{FF2B5EF4-FFF2-40B4-BE49-F238E27FC236}">
                  <a16:creationId xmlns:a16="http://schemas.microsoft.com/office/drawing/2014/main" id="{302F12CB-9F94-53AD-CD11-CAE7EF8292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81" name="Group 80" descr="available">
            <a:extLst>
              <a:ext uri="{FF2B5EF4-FFF2-40B4-BE49-F238E27FC236}">
                <a16:creationId xmlns:a16="http://schemas.microsoft.com/office/drawing/2014/main" id="{53BC61D6-5E0D-AB57-2E74-B9250F2AD82A}"/>
              </a:ext>
            </a:extLst>
          </p:cNvPr>
          <p:cNvGrpSpPr>
            <a:grpSpLocks noChangeAspect="1"/>
          </p:cNvGrpSpPr>
          <p:nvPr/>
        </p:nvGrpSpPr>
        <p:grpSpPr>
          <a:xfrm>
            <a:off x="4471816" y="3923402"/>
            <a:ext cx="457200" cy="457200"/>
            <a:chOff x="5042429" y="1549400"/>
            <a:chExt cx="914400" cy="914400"/>
          </a:xfrm>
        </p:grpSpPr>
        <p:sp>
          <p:nvSpPr>
            <p:cNvPr id="82" name="Oval 81">
              <a:extLst>
                <a:ext uri="{FF2B5EF4-FFF2-40B4-BE49-F238E27FC236}">
                  <a16:creationId xmlns:a16="http://schemas.microsoft.com/office/drawing/2014/main" id="{B74EDA62-C4D2-3F37-8E54-3306F90D0096}"/>
                </a:ext>
              </a:extLst>
            </p:cNvPr>
            <p:cNvSpPr/>
            <p:nvPr/>
          </p:nvSpPr>
          <p:spPr bwMode="auto">
            <a:xfrm>
              <a:off x="5042429" y="1549400"/>
              <a:ext cx="914400" cy="914400"/>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3" name="Graphic 82" descr="Checkmark with solid fill">
              <a:extLst>
                <a:ext uri="{FF2B5EF4-FFF2-40B4-BE49-F238E27FC236}">
                  <a16:creationId xmlns:a16="http://schemas.microsoft.com/office/drawing/2014/main" id="{2DC30D3C-200F-03A8-A81B-D85C44E572F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729" y="1663700"/>
              <a:ext cx="685800" cy="685800"/>
            </a:xfrm>
            <a:prstGeom prst="rect">
              <a:avLst/>
            </a:prstGeom>
          </p:spPr>
        </p:pic>
      </p:grpSp>
      <p:grpSp>
        <p:nvGrpSpPr>
          <p:cNvPr id="9" name="Group 8" descr="available">
            <a:extLst>
              <a:ext uri="{FF2B5EF4-FFF2-40B4-BE49-F238E27FC236}">
                <a16:creationId xmlns:a16="http://schemas.microsoft.com/office/drawing/2014/main" id="{812453E7-1910-6C2E-C195-4AD24F678386}"/>
              </a:ext>
            </a:extLst>
          </p:cNvPr>
          <p:cNvGrpSpPr>
            <a:grpSpLocks noChangeAspect="1"/>
          </p:cNvGrpSpPr>
          <p:nvPr/>
        </p:nvGrpSpPr>
        <p:grpSpPr>
          <a:xfrm>
            <a:off x="4458718" y="5914586"/>
            <a:ext cx="457200" cy="457200"/>
            <a:chOff x="5042429" y="1549400"/>
            <a:chExt cx="914400" cy="914400"/>
          </a:xfrm>
        </p:grpSpPr>
        <p:sp>
          <p:nvSpPr>
            <p:cNvPr id="10" name="Oval 9">
              <a:extLst>
                <a:ext uri="{FF2B5EF4-FFF2-40B4-BE49-F238E27FC236}">
                  <a16:creationId xmlns:a16="http://schemas.microsoft.com/office/drawing/2014/main" id="{87F76F15-FFA8-7D7A-A599-89126CBBCB32}"/>
                </a:ext>
              </a:extLst>
            </p:cNvPr>
            <p:cNvSpPr/>
            <p:nvPr/>
          </p:nvSpPr>
          <p:spPr bwMode="auto">
            <a:xfrm>
              <a:off x="5042429" y="1549400"/>
              <a:ext cx="914400" cy="914400"/>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Graphic 10" descr="Checkmark with solid fill">
              <a:extLst>
                <a:ext uri="{FF2B5EF4-FFF2-40B4-BE49-F238E27FC236}">
                  <a16:creationId xmlns:a16="http://schemas.microsoft.com/office/drawing/2014/main" id="{99B6C7DB-851C-CAE1-00AE-5637D6C25B1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56729" y="1663700"/>
              <a:ext cx="685800" cy="685800"/>
            </a:xfrm>
            <a:prstGeom prst="rect">
              <a:avLst/>
            </a:prstGeom>
          </p:spPr>
        </p:pic>
      </p:grpSp>
    </p:spTree>
    <p:extLst>
      <p:ext uri="{BB962C8B-B14F-4D97-AF65-F5344CB8AC3E}">
        <p14:creationId xmlns:p14="http://schemas.microsoft.com/office/powerpoint/2010/main" val="362345015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E3EF2-9F6D-3D79-7C21-3E8DCEA69D45}"/>
              </a:ext>
            </a:extLst>
          </p:cNvPr>
          <p:cNvSpPr>
            <a:spLocks noGrp="1"/>
          </p:cNvSpPr>
          <p:nvPr>
            <p:ph type="title"/>
          </p:nvPr>
        </p:nvSpPr>
        <p:spPr>
          <a:xfrm>
            <a:off x="588263" y="457200"/>
            <a:ext cx="11018520" cy="800219"/>
          </a:xfrm>
        </p:spPr>
        <p:txBody>
          <a:bodyPr/>
          <a:lstStyle/>
          <a:p>
            <a:r>
              <a:rPr kumimoji="0" lang="en-US" sz="3200" b="0" i="0" u="none" strike="noStrike" kern="1200" cap="none" spc="-50" normalizeH="0" baseline="0" noProof="0">
                <a:ln w="3175">
                  <a:noFill/>
                </a:ln>
                <a:solidFill>
                  <a:srgbClr val="FFFFFF"/>
                </a:solidFill>
                <a:effectLst/>
                <a:uLnTx/>
                <a:uFillTx/>
                <a:latin typeface="Segoe UI Semibold"/>
                <a:ea typeface="+mn-ea"/>
                <a:cs typeface="Segoe UI"/>
              </a:rPr>
              <a:t>Reciprocal Rank Fusion in Azure AI Search</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lang="en-US" sz="2000">
                <a:solidFill>
                  <a:srgbClr val="50E6FF"/>
                </a:solidFill>
                <a:latin typeface="Segoe UI Semibold"/>
                <a:cs typeface="Segoe UI"/>
              </a:rPr>
              <a:t>Hybrid Queries with BM25 and ANN Search Integration</a:t>
            </a:r>
            <a:endParaRPr lang="en-US"/>
          </a:p>
        </p:txBody>
      </p:sp>
      <p:sp>
        <p:nvSpPr>
          <p:cNvPr id="3" name="Content Placeholder 2">
            <a:extLst>
              <a:ext uri="{FF2B5EF4-FFF2-40B4-BE49-F238E27FC236}">
                <a16:creationId xmlns:a16="http://schemas.microsoft.com/office/drawing/2014/main" id="{A36853C7-783D-19EC-6705-240232EF37BE}"/>
              </a:ext>
            </a:extLst>
          </p:cNvPr>
          <p:cNvSpPr>
            <a:spLocks noGrp="1"/>
          </p:cNvSpPr>
          <p:nvPr>
            <p:ph sz="quarter" idx="10"/>
          </p:nvPr>
        </p:nvSpPr>
        <p:spPr>
          <a:xfrm>
            <a:off x="573468" y="1939523"/>
            <a:ext cx="11018838" cy="2031325"/>
          </a:xfrm>
        </p:spPr>
        <p:txBody>
          <a:bodyPr/>
          <a:lstStyle/>
          <a:p>
            <a:pPr algn="l">
              <a:buFont typeface="Arial" panose="020B0604020202020204" pitchFamily="34" charset="0"/>
              <a:buChar char="•"/>
            </a:pPr>
            <a:r>
              <a:rPr lang="en-US" sz="2000" b="1" i="0">
                <a:effectLst/>
                <a:latin typeface="Segoe UI" panose="020B0502040204020203" pitchFamily="34" charset="0"/>
              </a:rPr>
              <a:t>Reciprocal Rank Fusion (RRF): </a:t>
            </a:r>
            <a:r>
              <a:rPr lang="en-US" sz="2000" b="0" i="0">
                <a:effectLst/>
                <a:latin typeface="Segoe UI" panose="020B0502040204020203" pitchFamily="34" charset="0"/>
              </a:rPr>
              <a:t>A technique for </a:t>
            </a:r>
            <a:r>
              <a:rPr lang="en-US" sz="2000" b="0" i="0" dirty="0">
                <a:solidFill>
                  <a:schemeClr val="accent1"/>
                </a:solidFill>
                <a:effectLst/>
                <a:latin typeface="Segoe UI" panose="020B0502040204020203" pitchFamily="34" charset="0"/>
              </a:rPr>
              <a:t>combining the results of multiple search strategies</a:t>
            </a:r>
            <a:r>
              <a:rPr lang="en-US" sz="2000" b="0" i="0">
                <a:effectLst/>
                <a:latin typeface="Segoe UI" panose="020B0502040204020203" pitchFamily="34" charset="0"/>
              </a:rPr>
              <a:t>, resulting in improved search relevance and ranking</a:t>
            </a:r>
          </a:p>
          <a:p>
            <a:pPr algn="l">
              <a:buFont typeface="Arial" panose="020B0604020202020204" pitchFamily="34" charset="0"/>
              <a:buChar char="•"/>
            </a:pPr>
            <a:endParaRPr lang="en-US" sz="2000">
              <a:latin typeface="Segoe UI" panose="020B0502040204020203" pitchFamily="34" charset="0"/>
            </a:endParaRPr>
          </a:p>
          <a:p>
            <a:pPr algn="l">
              <a:buFont typeface="Arial" panose="020B0604020202020204" pitchFamily="34" charset="0"/>
              <a:buChar char="•"/>
            </a:pPr>
            <a:r>
              <a:rPr lang="en-US" sz="2000" b="0" i="0">
                <a:effectLst/>
                <a:latin typeface="Segoe UI" panose="020B0502040204020203" pitchFamily="34" charset="0"/>
              </a:rPr>
              <a:t>Azure Cognitive Search incorporates RRF by merging the ranked results of BM25 and ANN search, allowing the best features of both methods to contribute to the final search relevance</a:t>
            </a:r>
          </a:p>
          <a:p>
            <a:pPr marL="0" indent="0" algn="l">
              <a:buNone/>
            </a:pPr>
            <a:endParaRPr lang="en-US" sz="2000">
              <a:latin typeface="Segoe UI" panose="020B0502040204020203" pitchFamily="34" charset="0"/>
            </a:endParaRPr>
          </a:p>
        </p:txBody>
      </p:sp>
      <p:sp>
        <p:nvSpPr>
          <p:cNvPr id="4" name="TextBox 3">
            <a:extLst>
              <a:ext uri="{FF2B5EF4-FFF2-40B4-BE49-F238E27FC236}">
                <a16:creationId xmlns:a16="http://schemas.microsoft.com/office/drawing/2014/main" id="{278073AC-EF6F-3155-46EF-26731466627C}"/>
              </a:ext>
            </a:extLst>
          </p:cNvPr>
          <p:cNvSpPr txBox="1"/>
          <p:nvPr/>
        </p:nvSpPr>
        <p:spPr>
          <a:xfrm>
            <a:off x="0" y="6216134"/>
            <a:ext cx="12192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ttps://plg.uwaterloo.ca/~gvcormac/cormacksigir09-rrf.pdf</a:t>
            </a:r>
          </a:p>
        </p:txBody>
      </p:sp>
    </p:spTree>
    <p:extLst>
      <p:ext uri="{BB962C8B-B14F-4D97-AF65-F5344CB8AC3E}">
        <p14:creationId xmlns:p14="http://schemas.microsoft.com/office/powerpoint/2010/main" val="193720052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5AEE3D-E595-FEBF-91E9-4A75DA73AECE}"/>
              </a:ext>
            </a:extLst>
          </p:cNvPr>
          <p:cNvSpPr>
            <a:spLocks noGrp="1"/>
          </p:cNvSpPr>
          <p:nvPr>
            <p:ph type="title"/>
          </p:nvPr>
        </p:nvSpPr>
        <p:spPr>
          <a:xfrm>
            <a:off x="588263" y="457200"/>
            <a:ext cx="11018520" cy="800219"/>
          </a:xfrm>
        </p:spPr>
        <p:txBody>
          <a:bodyPr/>
          <a:lstStyle/>
          <a:p>
            <a:r>
              <a:rPr lang="en-US" sz="3200">
                <a:solidFill>
                  <a:srgbClr val="FFFFFF"/>
                </a:solidFill>
                <a:latin typeface="Segoe UI Semibold"/>
                <a:cs typeface="Segoe UI"/>
              </a:rPr>
              <a:t>Cost and Pricing</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lang="en-US" sz="2000">
                <a:solidFill>
                  <a:srgbClr val="50E6FF"/>
                </a:solidFill>
                <a:latin typeface="Segoe UI Semibold"/>
                <a:cs typeface="Segoe UI"/>
              </a:rPr>
              <a:t>Harness the Power of Vector Search at No Additional Cost</a:t>
            </a:r>
            <a:endParaRPr lang="en-US"/>
          </a:p>
        </p:txBody>
      </p:sp>
      <p:sp>
        <p:nvSpPr>
          <p:cNvPr id="5" name="TextBox 4">
            <a:extLst>
              <a:ext uri="{FF2B5EF4-FFF2-40B4-BE49-F238E27FC236}">
                <a16:creationId xmlns:a16="http://schemas.microsoft.com/office/drawing/2014/main" id="{A700DD0C-2D05-8872-DB49-423ACCE06B2C}"/>
              </a:ext>
            </a:extLst>
          </p:cNvPr>
          <p:cNvSpPr txBox="1"/>
          <p:nvPr/>
        </p:nvSpPr>
        <p:spPr>
          <a:xfrm>
            <a:off x="588263" y="3062957"/>
            <a:ext cx="10263239" cy="110799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mn-cs"/>
              </a:rPr>
              <a:t>No additional cost for using Vector sear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7001C00C-3A01-CD91-9143-1E3658B1382A}"/>
              </a:ext>
            </a:extLst>
          </p:cNvPr>
          <p:cNvSpPr txBox="1"/>
          <p:nvPr/>
        </p:nvSpPr>
        <p:spPr>
          <a:xfrm>
            <a:off x="0" y="6216134"/>
            <a:ext cx="12192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Note: Cognitive Search does not generate embeddings out of the box, therefore, you are responsible for the cost of generating your embeddings. You only pay for the storage of the vectors. </a:t>
            </a:r>
          </a:p>
        </p:txBody>
      </p:sp>
    </p:spTree>
    <p:extLst>
      <p:ext uri="{BB962C8B-B14F-4D97-AF65-F5344CB8AC3E}">
        <p14:creationId xmlns:p14="http://schemas.microsoft.com/office/powerpoint/2010/main" val="321034095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5AEE3D-E595-FEBF-91E9-4A75DA73AECE}"/>
              </a:ext>
            </a:extLst>
          </p:cNvPr>
          <p:cNvSpPr>
            <a:spLocks noGrp="1"/>
          </p:cNvSpPr>
          <p:nvPr>
            <p:ph type="title"/>
          </p:nvPr>
        </p:nvSpPr>
        <p:spPr>
          <a:xfrm>
            <a:off x="588263" y="457200"/>
            <a:ext cx="11018520" cy="800219"/>
          </a:xfrm>
        </p:spPr>
        <p:txBody>
          <a:bodyPr/>
          <a:lstStyle/>
          <a:p>
            <a:r>
              <a:rPr lang="en-US" sz="3200">
                <a:solidFill>
                  <a:srgbClr val="FFFFFF"/>
                </a:solidFill>
                <a:latin typeface="Segoe UI Semibold"/>
                <a:cs typeface="Segoe UI"/>
              </a:rPr>
              <a:t>Scale: OpenAI Text-Embedding-Ada-002 Example</a:t>
            </a:r>
            <a:br>
              <a:rPr kumimoji="0" lang="en-US" sz="2000" b="0" i="0" u="none" strike="noStrike" kern="1200" cap="none" spc="-50" normalizeH="0" baseline="0" noProof="0">
                <a:ln w="3175">
                  <a:noFill/>
                </a:ln>
                <a:solidFill>
                  <a:srgbClr val="FFFFFF"/>
                </a:solidFill>
                <a:effectLst/>
                <a:uLnTx/>
                <a:uFillTx/>
                <a:latin typeface="Segoe UI Semibold"/>
                <a:ea typeface="+mn-ea"/>
                <a:cs typeface="Segoe UI"/>
              </a:rPr>
            </a:br>
            <a:r>
              <a:rPr lang="en-US" sz="2000">
                <a:solidFill>
                  <a:srgbClr val="50E6FF"/>
                </a:solidFill>
                <a:latin typeface="Segoe UI Semibold"/>
                <a:cs typeface="Segoe UI"/>
              </a:rPr>
              <a:t>Choose the Right Tier to Meet Your Vector Index Size Needs</a:t>
            </a:r>
            <a:endParaRPr lang="en-US"/>
          </a:p>
        </p:txBody>
      </p:sp>
      <p:sp>
        <p:nvSpPr>
          <p:cNvPr id="7" name="Text Placeholder 14">
            <a:extLst>
              <a:ext uri="{FF2B5EF4-FFF2-40B4-BE49-F238E27FC236}">
                <a16:creationId xmlns:a16="http://schemas.microsoft.com/office/drawing/2014/main" id="{C79BD9C3-E370-2756-6A75-99C7D3FDB504}"/>
              </a:ext>
            </a:extLst>
          </p:cNvPr>
          <p:cNvSpPr txBox="1">
            <a:spLocks/>
          </p:cNvSpPr>
          <p:nvPr/>
        </p:nvSpPr>
        <p:spPr>
          <a:xfrm>
            <a:off x="828481" y="5831609"/>
            <a:ext cx="9384447" cy="892873"/>
          </a:xfrm>
          <a:prstGeom prst="rect">
            <a:avLst/>
          </a:prstGeom>
          <a:ln>
            <a:noFill/>
          </a:ln>
        </p:spPr>
        <p:txBody>
          <a:bodyPr vert="horz" wrap="square" lIns="0" tIns="0" rIns="0" bIns="0" rtlCol="0" anchor="t">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For more information on how to calculate Vector index size, please visit </a:t>
            </a:r>
            <a:r>
              <a:rPr kumimoji="0" lang="en-US" sz="1600" b="0" i="0" u="none" strike="noStrike" kern="1200" cap="none" spc="0" normalizeH="0" baseline="0" noProof="0">
                <a:ln>
                  <a:noFill/>
                </a:ln>
                <a:solidFill>
                  <a:srgbClr val="000000"/>
                </a:solidFill>
                <a:effectLst/>
                <a:uLnTx/>
                <a:uFillTx/>
                <a:latin typeface="Segoe UI"/>
                <a:ea typeface="+mn-ea"/>
                <a:cs typeface="+mn-cs"/>
                <a:hlinkClick r:id="rId3"/>
              </a:rPr>
              <a:t>Vector index size limit - Azure Cognitive Search | Microsoft Learn</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ts val="2353"/>
              </a:lnSpc>
              <a:spcBef>
                <a:spcPts val="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p:txBody>
      </p:sp>
      <p:graphicFrame>
        <p:nvGraphicFramePr>
          <p:cNvPr id="2" name="Table 5">
            <a:extLst>
              <a:ext uri="{FF2B5EF4-FFF2-40B4-BE49-F238E27FC236}">
                <a16:creationId xmlns:a16="http://schemas.microsoft.com/office/drawing/2014/main" id="{062AF0BD-DCE7-567E-5D6A-6461FA0B1141}"/>
              </a:ext>
            </a:extLst>
          </p:cNvPr>
          <p:cNvGraphicFramePr>
            <a:graphicFrameLocks noGrp="1"/>
          </p:cNvGraphicFramePr>
          <p:nvPr/>
        </p:nvGraphicFramePr>
        <p:xfrm>
          <a:off x="1456704" y="1778885"/>
          <a:ext cx="8127999" cy="28651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126221655"/>
                    </a:ext>
                  </a:extLst>
                </a:gridCol>
                <a:gridCol w="2709333">
                  <a:extLst>
                    <a:ext uri="{9D8B030D-6E8A-4147-A177-3AD203B41FA5}">
                      <a16:colId xmlns:a16="http://schemas.microsoft.com/office/drawing/2014/main" val="3393538827"/>
                    </a:ext>
                  </a:extLst>
                </a:gridCol>
                <a:gridCol w="2709333">
                  <a:extLst>
                    <a:ext uri="{9D8B030D-6E8A-4147-A177-3AD203B41FA5}">
                      <a16:colId xmlns:a16="http://schemas.microsoft.com/office/drawing/2014/main" val="379469046"/>
                    </a:ext>
                  </a:extLst>
                </a:gridCol>
              </a:tblGrid>
              <a:tr h="370840">
                <a:tc>
                  <a:txBody>
                    <a:bodyPr/>
                    <a:lstStyle/>
                    <a:p>
                      <a:r>
                        <a:rPr lang="en-US">
                          <a:solidFill>
                            <a:schemeClr val="bg1"/>
                          </a:solidFill>
                        </a:rPr>
                        <a:t>Tier</a:t>
                      </a:r>
                    </a:p>
                  </a:txBody>
                  <a:tcPr/>
                </a:tc>
                <a:tc>
                  <a:txBody>
                    <a:bodyPr/>
                    <a:lstStyle/>
                    <a:p>
                      <a:r>
                        <a:rPr lang="en-US">
                          <a:solidFill>
                            <a:schemeClr val="bg1"/>
                          </a:solidFill>
                        </a:rPr>
                        <a:t>Vector index size GB/partition </a:t>
                      </a:r>
                    </a:p>
                  </a:txBody>
                  <a:tcPr/>
                </a:tc>
                <a:tc>
                  <a:txBody>
                    <a:bodyPr/>
                    <a:lstStyle/>
                    <a:p>
                      <a:r>
                        <a:rPr lang="en-US">
                          <a:solidFill>
                            <a:schemeClr val="bg1"/>
                          </a:solidFill>
                        </a:rPr>
                        <a:t>Max index size for a service (GB)</a:t>
                      </a:r>
                    </a:p>
                  </a:txBody>
                  <a:tcPr/>
                </a:tc>
                <a:extLst>
                  <a:ext uri="{0D108BD9-81ED-4DB2-BD59-A6C34878D82A}">
                    <a16:rowId xmlns:a16="http://schemas.microsoft.com/office/drawing/2014/main" val="131725179"/>
                  </a:ext>
                </a:extLst>
              </a:tr>
              <a:tr h="370840">
                <a:tc>
                  <a:txBody>
                    <a:bodyPr/>
                    <a:lstStyle/>
                    <a:p>
                      <a:r>
                        <a:rPr lang="en-US"/>
                        <a:t>Basic</a:t>
                      </a:r>
                    </a:p>
                  </a:txBody>
                  <a:tcPr/>
                </a:tc>
                <a:tc>
                  <a:txBody>
                    <a:bodyPr/>
                    <a:lstStyle/>
                    <a:p>
                      <a:r>
                        <a:rPr lang="en-US"/>
                        <a:t>1</a:t>
                      </a:r>
                    </a:p>
                  </a:txBody>
                  <a:tcPr/>
                </a:tc>
                <a:tc>
                  <a:txBody>
                    <a:bodyPr/>
                    <a:lstStyle/>
                    <a:p>
                      <a:r>
                        <a:rPr lang="en-US"/>
                        <a:t>1</a:t>
                      </a:r>
                    </a:p>
                  </a:txBody>
                  <a:tcPr/>
                </a:tc>
                <a:extLst>
                  <a:ext uri="{0D108BD9-81ED-4DB2-BD59-A6C34878D82A}">
                    <a16:rowId xmlns:a16="http://schemas.microsoft.com/office/drawing/2014/main" val="3597830334"/>
                  </a:ext>
                </a:extLst>
              </a:tr>
              <a:tr h="370840">
                <a:tc>
                  <a:txBody>
                    <a:bodyPr/>
                    <a:lstStyle/>
                    <a:p>
                      <a:r>
                        <a:rPr lang="en-US"/>
                        <a:t>S1</a:t>
                      </a:r>
                    </a:p>
                  </a:txBody>
                  <a:tcPr/>
                </a:tc>
                <a:tc>
                  <a:txBody>
                    <a:bodyPr/>
                    <a:lstStyle/>
                    <a:p>
                      <a:r>
                        <a:rPr lang="en-US"/>
                        <a:t>3</a:t>
                      </a:r>
                    </a:p>
                  </a:txBody>
                  <a:tcPr/>
                </a:tc>
                <a:tc>
                  <a:txBody>
                    <a:bodyPr/>
                    <a:lstStyle/>
                    <a:p>
                      <a:r>
                        <a:rPr lang="en-US"/>
                        <a:t>36</a:t>
                      </a:r>
                    </a:p>
                  </a:txBody>
                  <a:tcPr/>
                </a:tc>
                <a:extLst>
                  <a:ext uri="{0D108BD9-81ED-4DB2-BD59-A6C34878D82A}">
                    <a16:rowId xmlns:a16="http://schemas.microsoft.com/office/drawing/2014/main" val="2760659221"/>
                  </a:ext>
                </a:extLst>
              </a:tr>
              <a:tr h="370840">
                <a:tc>
                  <a:txBody>
                    <a:bodyPr/>
                    <a:lstStyle/>
                    <a:p>
                      <a:r>
                        <a:rPr lang="en-US"/>
                        <a:t>S2</a:t>
                      </a:r>
                    </a:p>
                  </a:txBody>
                  <a:tcPr/>
                </a:tc>
                <a:tc>
                  <a:txBody>
                    <a:bodyPr/>
                    <a:lstStyle/>
                    <a:p>
                      <a:r>
                        <a:rPr lang="en-US"/>
                        <a:t>12</a:t>
                      </a:r>
                    </a:p>
                  </a:txBody>
                  <a:tcPr/>
                </a:tc>
                <a:tc>
                  <a:txBody>
                    <a:bodyPr/>
                    <a:lstStyle/>
                    <a:p>
                      <a:r>
                        <a:rPr lang="en-US"/>
                        <a:t>144</a:t>
                      </a:r>
                    </a:p>
                  </a:txBody>
                  <a:tcPr/>
                </a:tc>
                <a:extLst>
                  <a:ext uri="{0D108BD9-81ED-4DB2-BD59-A6C34878D82A}">
                    <a16:rowId xmlns:a16="http://schemas.microsoft.com/office/drawing/2014/main" val="1143788055"/>
                  </a:ext>
                </a:extLst>
              </a:tr>
              <a:tr h="370840">
                <a:tc>
                  <a:txBody>
                    <a:bodyPr/>
                    <a:lstStyle/>
                    <a:p>
                      <a:r>
                        <a:rPr lang="en-US"/>
                        <a:t>S3</a:t>
                      </a:r>
                    </a:p>
                  </a:txBody>
                  <a:tcPr/>
                </a:tc>
                <a:tc>
                  <a:txBody>
                    <a:bodyPr/>
                    <a:lstStyle/>
                    <a:p>
                      <a:r>
                        <a:rPr lang="en-US"/>
                        <a:t>36</a:t>
                      </a:r>
                    </a:p>
                  </a:txBody>
                  <a:tcPr/>
                </a:tc>
                <a:tc>
                  <a:txBody>
                    <a:bodyPr/>
                    <a:lstStyle/>
                    <a:p>
                      <a:r>
                        <a:rPr lang="en-US"/>
                        <a:t>432</a:t>
                      </a:r>
                    </a:p>
                  </a:txBody>
                  <a:tcPr/>
                </a:tc>
                <a:extLst>
                  <a:ext uri="{0D108BD9-81ED-4DB2-BD59-A6C34878D82A}">
                    <a16:rowId xmlns:a16="http://schemas.microsoft.com/office/drawing/2014/main" val="1873172817"/>
                  </a:ext>
                </a:extLst>
              </a:tr>
              <a:tr h="370840">
                <a:tc>
                  <a:txBody>
                    <a:bodyPr/>
                    <a:lstStyle/>
                    <a:p>
                      <a:r>
                        <a:rPr lang="en-US"/>
                        <a:t>L1</a:t>
                      </a:r>
                    </a:p>
                  </a:txBody>
                  <a:tcPr/>
                </a:tc>
                <a:tc>
                  <a:txBody>
                    <a:bodyPr/>
                    <a:lstStyle/>
                    <a:p>
                      <a:r>
                        <a:rPr lang="en-US"/>
                        <a:t>12</a:t>
                      </a:r>
                    </a:p>
                  </a:txBody>
                  <a:tcPr/>
                </a:tc>
                <a:tc>
                  <a:txBody>
                    <a:bodyPr/>
                    <a:lstStyle/>
                    <a:p>
                      <a:r>
                        <a:rPr lang="en-US"/>
                        <a:t>144</a:t>
                      </a:r>
                    </a:p>
                  </a:txBody>
                  <a:tcPr/>
                </a:tc>
                <a:extLst>
                  <a:ext uri="{0D108BD9-81ED-4DB2-BD59-A6C34878D82A}">
                    <a16:rowId xmlns:a16="http://schemas.microsoft.com/office/drawing/2014/main" val="3563720780"/>
                  </a:ext>
                </a:extLst>
              </a:tr>
              <a:tr h="370840">
                <a:tc>
                  <a:txBody>
                    <a:bodyPr/>
                    <a:lstStyle/>
                    <a:p>
                      <a:r>
                        <a:rPr lang="en-US"/>
                        <a:t>L2</a:t>
                      </a:r>
                    </a:p>
                  </a:txBody>
                  <a:tcPr/>
                </a:tc>
                <a:tc>
                  <a:txBody>
                    <a:bodyPr/>
                    <a:lstStyle/>
                    <a:p>
                      <a:r>
                        <a:rPr lang="en-US"/>
                        <a:t>36</a:t>
                      </a:r>
                    </a:p>
                  </a:txBody>
                  <a:tcPr/>
                </a:tc>
                <a:tc>
                  <a:txBody>
                    <a:bodyPr/>
                    <a:lstStyle/>
                    <a:p>
                      <a:r>
                        <a:rPr lang="en-US" dirty="0"/>
                        <a:t>432</a:t>
                      </a:r>
                    </a:p>
                  </a:txBody>
                  <a:tcPr/>
                </a:tc>
                <a:extLst>
                  <a:ext uri="{0D108BD9-81ED-4DB2-BD59-A6C34878D82A}">
                    <a16:rowId xmlns:a16="http://schemas.microsoft.com/office/drawing/2014/main" val="4195993736"/>
                  </a:ext>
                </a:extLst>
              </a:tr>
            </a:tbl>
          </a:graphicData>
        </a:graphic>
      </p:graphicFrame>
    </p:spTree>
    <p:extLst>
      <p:ext uri="{BB962C8B-B14F-4D97-AF65-F5344CB8AC3E}">
        <p14:creationId xmlns:p14="http://schemas.microsoft.com/office/powerpoint/2010/main" val="328424566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03A58-8F02-754C-AD45-8136295694EC}"/>
              </a:ext>
            </a:extLst>
          </p:cNvPr>
          <p:cNvSpPr>
            <a:spLocks noGrp="1"/>
          </p:cNvSpPr>
          <p:nvPr>
            <p:ph type="title"/>
          </p:nvPr>
        </p:nvSpPr>
        <p:spPr/>
        <p:txBody>
          <a:bodyPr/>
          <a:lstStyle/>
          <a:p>
            <a:r>
              <a:rPr lang="en-US">
                <a:solidFill>
                  <a:srgbClr val="FFFFFF"/>
                </a:solidFill>
                <a:cs typeface="Segoe UI"/>
              </a:rPr>
              <a:t>How do I get started with vector search?</a:t>
            </a:r>
          </a:p>
        </p:txBody>
      </p:sp>
      <p:cxnSp>
        <p:nvCxnSpPr>
          <p:cNvPr id="35" name="Straight Connector 34" descr="Timeline arrow">
            <a:extLst>
              <a:ext uri="{FF2B5EF4-FFF2-40B4-BE49-F238E27FC236}">
                <a16:creationId xmlns:a16="http://schemas.microsoft.com/office/drawing/2014/main" id="{D94583B4-A2BD-7A47-85B6-FAB73C357384}"/>
              </a:ext>
            </a:extLst>
          </p:cNvPr>
          <p:cNvCxnSpPr>
            <a:cxnSpLocks/>
          </p:cNvCxnSpPr>
          <p:nvPr/>
        </p:nvCxnSpPr>
        <p:spPr>
          <a:xfrm>
            <a:off x="584200" y="3213025"/>
            <a:ext cx="11025188" cy="0"/>
          </a:xfrm>
          <a:prstGeom prst="line">
            <a:avLst/>
          </a:prstGeom>
          <a:ln w="25400" cap="rnd">
            <a:solidFill>
              <a:schemeClr val="tx2"/>
            </a:solidFill>
            <a:prstDash val="sysDot"/>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9814648-3E02-844F-AD45-4B3A4F8A65AF}"/>
              </a:ext>
            </a:extLst>
          </p:cNvPr>
          <p:cNvSpPr txBox="1"/>
          <p:nvPr/>
        </p:nvSpPr>
        <p:spPr>
          <a:xfrm>
            <a:off x="584201" y="1914422"/>
            <a:ext cx="1595438" cy="55399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Ingest data sources</a:t>
            </a:r>
          </a:p>
        </p:txBody>
      </p:sp>
      <p:grpSp>
        <p:nvGrpSpPr>
          <p:cNvPr id="21" name="Group 20" descr="Ingest data sources icon">
            <a:extLst>
              <a:ext uri="{FF2B5EF4-FFF2-40B4-BE49-F238E27FC236}">
                <a16:creationId xmlns:a16="http://schemas.microsoft.com/office/drawing/2014/main" id="{EE0693D1-59F4-7049-849C-8AC8D86B9D2E}"/>
              </a:ext>
            </a:extLst>
          </p:cNvPr>
          <p:cNvGrpSpPr/>
          <p:nvPr/>
        </p:nvGrpSpPr>
        <p:grpSpPr>
          <a:xfrm>
            <a:off x="754063" y="2620489"/>
            <a:ext cx="1243486" cy="1243486"/>
            <a:chOff x="584200" y="3560884"/>
            <a:chExt cx="659875" cy="659875"/>
          </a:xfrm>
        </p:grpSpPr>
        <p:sp>
          <p:nvSpPr>
            <p:cNvPr id="22" name="Oval 21">
              <a:extLst>
                <a:ext uri="{FF2B5EF4-FFF2-40B4-BE49-F238E27FC236}">
                  <a16:creationId xmlns:a16="http://schemas.microsoft.com/office/drawing/2014/main" id="{0EF6AFD1-553D-9945-9F10-ECD973A9FC6D}"/>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3" name="Oval 22">
              <a:extLst>
                <a:ext uri="{FF2B5EF4-FFF2-40B4-BE49-F238E27FC236}">
                  <a16:creationId xmlns:a16="http://schemas.microsoft.com/office/drawing/2014/main" id="{182C8F8B-C93B-9F4B-8B15-617A09E1D55E}"/>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AE7B703F-6E4B-D049-9076-3A3FAF4BA062}"/>
              </a:ext>
            </a:extLst>
          </p:cNvPr>
          <p:cNvSpPr txBox="1"/>
          <p:nvPr/>
        </p:nvSpPr>
        <p:spPr>
          <a:xfrm>
            <a:off x="584201" y="4096438"/>
            <a:ext cx="1595438"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ather your data sources</a:t>
            </a:r>
          </a:p>
        </p:txBody>
      </p:sp>
      <p:sp>
        <p:nvSpPr>
          <p:cNvPr id="37" name="TextBox 36">
            <a:extLst>
              <a:ext uri="{FF2B5EF4-FFF2-40B4-BE49-F238E27FC236}">
                <a16:creationId xmlns:a16="http://schemas.microsoft.com/office/drawing/2014/main" id="{029391D6-7A49-C24A-845C-BD6753E67D60}"/>
              </a:ext>
            </a:extLst>
          </p:cNvPr>
          <p:cNvSpPr txBox="1"/>
          <p:nvPr/>
        </p:nvSpPr>
        <p:spPr>
          <a:xfrm>
            <a:off x="2470151" y="1637423"/>
            <a:ext cx="1595438" cy="830997"/>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Generate document embeddings</a:t>
            </a:r>
          </a:p>
        </p:txBody>
      </p:sp>
      <p:grpSp>
        <p:nvGrpSpPr>
          <p:cNvPr id="24" name="Group 23" descr="Generate document embeddings icon&#10;">
            <a:extLst>
              <a:ext uri="{FF2B5EF4-FFF2-40B4-BE49-F238E27FC236}">
                <a16:creationId xmlns:a16="http://schemas.microsoft.com/office/drawing/2014/main" id="{BCE3D5B7-DDDA-0645-B453-19118EC75F4F}"/>
              </a:ext>
            </a:extLst>
          </p:cNvPr>
          <p:cNvGrpSpPr/>
          <p:nvPr/>
        </p:nvGrpSpPr>
        <p:grpSpPr>
          <a:xfrm>
            <a:off x="2640013" y="2621232"/>
            <a:ext cx="1242000" cy="1242000"/>
            <a:chOff x="584200" y="3560884"/>
            <a:chExt cx="659875" cy="659875"/>
          </a:xfrm>
        </p:grpSpPr>
        <p:sp>
          <p:nvSpPr>
            <p:cNvPr id="25" name="Oval 24">
              <a:extLst>
                <a:ext uri="{FF2B5EF4-FFF2-40B4-BE49-F238E27FC236}">
                  <a16:creationId xmlns:a16="http://schemas.microsoft.com/office/drawing/2014/main" id="{4DAF055E-ED1E-C341-9322-1D0D1FAAB9A9}"/>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6" name="Oval 25">
              <a:extLst>
                <a:ext uri="{FF2B5EF4-FFF2-40B4-BE49-F238E27FC236}">
                  <a16:creationId xmlns:a16="http://schemas.microsoft.com/office/drawing/2014/main" id="{9E5F196D-214C-164E-8A44-B9B89EAC5501}"/>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55" name="TextBox 54">
            <a:extLst>
              <a:ext uri="{FF2B5EF4-FFF2-40B4-BE49-F238E27FC236}">
                <a16:creationId xmlns:a16="http://schemas.microsoft.com/office/drawing/2014/main" id="{E7469F56-A16C-0E43-9078-8468470E9877}"/>
              </a:ext>
            </a:extLst>
          </p:cNvPr>
          <p:cNvSpPr txBox="1"/>
          <p:nvPr/>
        </p:nvSpPr>
        <p:spPr>
          <a:xfrm>
            <a:off x="2470150" y="4096438"/>
            <a:ext cx="1595438"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enerate embeddings for your data using you own model</a:t>
            </a:r>
          </a:p>
        </p:txBody>
      </p:sp>
      <p:sp>
        <p:nvSpPr>
          <p:cNvPr id="50" name="TextBox 49">
            <a:extLst>
              <a:ext uri="{FF2B5EF4-FFF2-40B4-BE49-F238E27FC236}">
                <a16:creationId xmlns:a16="http://schemas.microsoft.com/office/drawing/2014/main" id="{79C8BEEA-C4E6-8043-B127-B5CE82A50F62}"/>
              </a:ext>
            </a:extLst>
          </p:cNvPr>
          <p:cNvSpPr txBox="1"/>
          <p:nvPr/>
        </p:nvSpPr>
        <p:spPr>
          <a:xfrm>
            <a:off x="4367808" y="1914422"/>
            <a:ext cx="1595438" cy="55399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Add to your index</a:t>
            </a:r>
          </a:p>
        </p:txBody>
      </p:sp>
      <p:grpSp>
        <p:nvGrpSpPr>
          <p:cNvPr id="27" name="Group 26" descr="Icon location">
            <a:extLst>
              <a:ext uri="{FF2B5EF4-FFF2-40B4-BE49-F238E27FC236}">
                <a16:creationId xmlns:a16="http://schemas.microsoft.com/office/drawing/2014/main" id="{E17DCCD5-C199-8C4D-BE52-2C2D7796F00C}"/>
              </a:ext>
            </a:extLst>
          </p:cNvPr>
          <p:cNvGrpSpPr/>
          <p:nvPr/>
        </p:nvGrpSpPr>
        <p:grpSpPr>
          <a:xfrm>
            <a:off x="4535488" y="2621232"/>
            <a:ext cx="1242000" cy="1242000"/>
            <a:chOff x="4358213" y="3560884"/>
            <a:chExt cx="659875" cy="659875"/>
          </a:xfrm>
        </p:grpSpPr>
        <p:grpSp>
          <p:nvGrpSpPr>
            <p:cNvPr id="28" name="Group 27">
              <a:extLst>
                <a:ext uri="{FF2B5EF4-FFF2-40B4-BE49-F238E27FC236}">
                  <a16:creationId xmlns:a16="http://schemas.microsoft.com/office/drawing/2014/main" id="{CCA978A2-2B76-C449-AB4C-3C90CF0365AB}"/>
                </a:ext>
              </a:extLst>
            </p:cNvPr>
            <p:cNvGrpSpPr/>
            <p:nvPr/>
          </p:nvGrpSpPr>
          <p:grpSpPr>
            <a:xfrm>
              <a:off x="4358213" y="3560884"/>
              <a:ext cx="659875" cy="659875"/>
              <a:chOff x="584200" y="3560884"/>
              <a:chExt cx="659875" cy="659875"/>
            </a:xfrm>
          </p:grpSpPr>
          <p:sp>
            <p:nvSpPr>
              <p:cNvPr id="30" name="Oval 29">
                <a:extLst>
                  <a:ext uri="{FF2B5EF4-FFF2-40B4-BE49-F238E27FC236}">
                    <a16:creationId xmlns:a16="http://schemas.microsoft.com/office/drawing/2014/main" id="{80F40B89-2B72-6D4C-91F9-912C1DDEF885}"/>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1" name="Oval 30">
                <a:extLst>
                  <a:ext uri="{FF2B5EF4-FFF2-40B4-BE49-F238E27FC236}">
                    <a16:creationId xmlns:a16="http://schemas.microsoft.com/office/drawing/2014/main" id="{D2EDDDB7-A71C-1342-AFCC-3CC3DBE94652}"/>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29" name="Relationship_F003" title="Icon of three boxes connected by lines">
              <a:extLst>
                <a:ext uri="{FF2B5EF4-FFF2-40B4-BE49-F238E27FC236}">
                  <a16:creationId xmlns:a16="http://schemas.microsoft.com/office/drawing/2014/main" id="{E0282A45-FF6C-2540-AC40-9DA2F0058041}"/>
                </a:ext>
              </a:extLst>
            </p:cNvPr>
            <p:cNvSpPr>
              <a:spLocks noChangeAspect="1" noEditPoints="1"/>
            </p:cNvSpPr>
            <p:nvPr/>
          </p:nvSpPr>
          <p:spPr bwMode="auto">
            <a:xfrm>
              <a:off x="4504544" y="3739157"/>
              <a:ext cx="321268" cy="30048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E98020A0-3DB3-8644-8257-E1132A5382A7}"/>
              </a:ext>
            </a:extLst>
          </p:cNvPr>
          <p:cNvSpPr txBox="1"/>
          <p:nvPr/>
        </p:nvSpPr>
        <p:spPr>
          <a:xfrm>
            <a:off x="4356100" y="4096438"/>
            <a:ext cx="1603374" cy="172354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sert your vectors into your search index as a collection of floats via the Push API or the Indexer via a Custom Embedding Skill</a:t>
            </a:r>
          </a:p>
        </p:txBody>
      </p:sp>
      <p:sp>
        <p:nvSpPr>
          <p:cNvPr id="51" name="TextBox 50">
            <a:extLst>
              <a:ext uri="{FF2B5EF4-FFF2-40B4-BE49-F238E27FC236}">
                <a16:creationId xmlns:a16="http://schemas.microsoft.com/office/drawing/2014/main" id="{0934464B-44C3-704A-BCF1-E4DC9A04A529}"/>
              </a:ext>
            </a:extLst>
          </p:cNvPr>
          <p:cNvSpPr txBox="1"/>
          <p:nvPr/>
        </p:nvSpPr>
        <p:spPr>
          <a:xfrm>
            <a:off x="6240016" y="1637423"/>
            <a:ext cx="1595438" cy="830997"/>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your vector configuration</a:t>
            </a:r>
          </a:p>
        </p:txBody>
      </p:sp>
      <p:grpSp>
        <p:nvGrpSpPr>
          <p:cNvPr id="34" name="Group 33" descr="Create your vector configuration icon&#10;">
            <a:extLst>
              <a:ext uri="{FF2B5EF4-FFF2-40B4-BE49-F238E27FC236}">
                <a16:creationId xmlns:a16="http://schemas.microsoft.com/office/drawing/2014/main" id="{C9DAE554-FC9B-DD46-BDD3-7E784EEE9893}"/>
              </a:ext>
            </a:extLst>
          </p:cNvPr>
          <p:cNvGrpSpPr/>
          <p:nvPr/>
        </p:nvGrpSpPr>
        <p:grpSpPr>
          <a:xfrm>
            <a:off x="6410325" y="2621232"/>
            <a:ext cx="1242000" cy="1242000"/>
            <a:chOff x="584200" y="3560884"/>
            <a:chExt cx="659875" cy="659875"/>
          </a:xfrm>
        </p:grpSpPr>
        <p:sp>
          <p:nvSpPr>
            <p:cNvPr id="43" name="Oval 42">
              <a:extLst>
                <a:ext uri="{FF2B5EF4-FFF2-40B4-BE49-F238E27FC236}">
                  <a16:creationId xmlns:a16="http://schemas.microsoft.com/office/drawing/2014/main" id="{23C2634A-D9BF-0A47-A71E-70C7E50F4363}"/>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4" name="Oval 43">
              <a:extLst>
                <a:ext uri="{FF2B5EF4-FFF2-40B4-BE49-F238E27FC236}">
                  <a16:creationId xmlns:a16="http://schemas.microsoft.com/office/drawing/2014/main" id="{7305330F-09A8-D943-8116-93BEDB84EA11}"/>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58" name="TextBox 57">
            <a:extLst>
              <a:ext uri="{FF2B5EF4-FFF2-40B4-BE49-F238E27FC236}">
                <a16:creationId xmlns:a16="http://schemas.microsoft.com/office/drawing/2014/main" id="{F3A3C887-766E-7947-9BF9-DDF8B4261A65}"/>
              </a:ext>
            </a:extLst>
          </p:cNvPr>
          <p:cNvSpPr txBox="1"/>
          <p:nvPr/>
        </p:nvSpPr>
        <p:spPr>
          <a:xfrm>
            <a:off x="6240462" y="4096438"/>
            <a:ext cx="1597025"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figure your algorithm, similarity function, and parameters</a:t>
            </a:r>
          </a:p>
        </p:txBody>
      </p:sp>
      <p:sp>
        <p:nvSpPr>
          <p:cNvPr id="54" name="TextBox 53">
            <a:extLst>
              <a:ext uri="{FF2B5EF4-FFF2-40B4-BE49-F238E27FC236}">
                <a16:creationId xmlns:a16="http://schemas.microsoft.com/office/drawing/2014/main" id="{C9C15CBD-B64A-9140-BFE2-E0014BAB24B6}"/>
              </a:ext>
            </a:extLst>
          </p:cNvPr>
          <p:cNvSpPr txBox="1"/>
          <p:nvPr/>
        </p:nvSpPr>
        <p:spPr>
          <a:xfrm>
            <a:off x="8127999" y="1637423"/>
            <a:ext cx="1592263" cy="830997"/>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Generate query embedding</a:t>
            </a:r>
          </a:p>
        </p:txBody>
      </p:sp>
      <p:grpSp>
        <p:nvGrpSpPr>
          <p:cNvPr id="33" name="Group 32" descr="Generate query embeddings icon&#10;">
            <a:extLst>
              <a:ext uri="{FF2B5EF4-FFF2-40B4-BE49-F238E27FC236}">
                <a16:creationId xmlns:a16="http://schemas.microsoft.com/office/drawing/2014/main" id="{C01D066E-3765-B24B-B620-7FDEC96721AA}"/>
              </a:ext>
            </a:extLst>
          </p:cNvPr>
          <p:cNvGrpSpPr/>
          <p:nvPr/>
        </p:nvGrpSpPr>
        <p:grpSpPr>
          <a:xfrm>
            <a:off x="8294688" y="2621232"/>
            <a:ext cx="1242000" cy="1242000"/>
            <a:chOff x="584200" y="3560884"/>
            <a:chExt cx="659875" cy="659875"/>
          </a:xfrm>
        </p:grpSpPr>
        <p:sp>
          <p:nvSpPr>
            <p:cNvPr id="52" name="Oval 51">
              <a:extLst>
                <a:ext uri="{FF2B5EF4-FFF2-40B4-BE49-F238E27FC236}">
                  <a16:creationId xmlns:a16="http://schemas.microsoft.com/office/drawing/2014/main" id="{F4C32D5F-D317-2A41-9B20-D5E7D1B73B84}"/>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3" name="Oval 52">
              <a:extLst>
                <a:ext uri="{FF2B5EF4-FFF2-40B4-BE49-F238E27FC236}">
                  <a16:creationId xmlns:a16="http://schemas.microsoft.com/office/drawing/2014/main" id="{3533D2B4-4E69-1348-9200-50861655EFEF}"/>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61" name="TextBox 60">
            <a:extLst>
              <a:ext uri="{FF2B5EF4-FFF2-40B4-BE49-F238E27FC236}">
                <a16:creationId xmlns:a16="http://schemas.microsoft.com/office/drawing/2014/main" id="{DCCB8095-F49F-864D-A29F-FD58A14533BB}"/>
              </a:ext>
            </a:extLst>
          </p:cNvPr>
          <p:cNvSpPr txBox="1"/>
          <p:nvPr/>
        </p:nvSpPr>
        <p:spPr>
          <a:xfrm>
            <a:off x="8128000" y="4096438"/>
            <a:ext cx="1592262" cy="107721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Generate an embedding for your query using the same model as your docs</a:t>
            </a:r>
          </a:p>
        </p:txBody>
      </p:sp>
      <p:sp>
        <p:nvSpPr>
          <p:cNvPr id="38" name="TextBox 37">
            <a:extLst>
              <a:ext uri="{FF2B5EF4-FFF2-40B4-BE49-F238E27FC236}">
                <a16:creationId xmlns:a16="http://schemas.microsoft.com/office/drawing/2014/main" id="{30878ECC-D588-BD44-8BAC-7E365CB314C5}"/>
              </a:ext>
            </a:extLst>
          </p:cNvPr>
          <p:cNvSpPr txBox="1"/>
          <p:nvPr/>
        </p:nvSpPr>
        <p:spPr>
          <a:xfrm>
            <a:off x="10013950" y="1914422"/>
            <a:ext cx="1595438" cy="553998"/>
          </a:xfrm>
          <a:prstGeom prst="rect">
            <a:avLst/>
          </a:prstGeom>
          <a:noFill/>
        </p:spPr>
        <p:txBody>
          <a:bodyPr wrap="square" lIns="0" tIns="0" rIns="0" bIns="0" rtlCol="0" anchor="b">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earch using vectors</a:t>
            </a:r>
          </a:p>
        </p:txBody>
      </p:sp>
      <p:grpSp>
        <p:nvGrpSpPr>
          <p:cNvPr id="46" name="Group 45" descr="Search using vectors icon">
            <a:extLst>
              <a:ext uri="{FF2B5EF4-FFF2-40B4-BE49-F238E27FC236}">
                <a16:creationId xmlns:a16="http://schemas.microsoft.com/office/drawing/2014/main" id="{403E3B28-5D0A-0E46-8C57-D0638D030BC9}"/>
              </a:ext>
            </a:extLst>
          </p:cNvPr>
          <p:cNvGrpSpPr/>
          <p:nvPr/>
        </p:nvGrpSpPr>
        <p:grpSpPr>
          <a:xfrm>
            <a:off x="10173713" y="2621232"/>
            <a:ext cx="1242000" cy="1242000"/>
            <a:chOff x="584200" y="3560884"/>
            <a:chExt cx="659875" cy="659875"/>
          </a:xfrm>
        </p:grpSpPr>
        <p:sp>
          <p:nvSpPr>
            <p:cNvPr id="48" name="Oval 47">
              <a:extLst>
                <a:ext uri="{FF2B5EF4-FFF2-40B4-BE49-F238E27FC236}">
                  <a16:creationId xmlns:a16="http://schemas.microsoft.com/office/drawing/2014/main" id="{A695E4E3-D1DF-F241-B704-EDB3EBB23053}"/>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49" name="Oval 48">
              <a:extLst>
                <a:ext uri="{FF2B5EF4-FFF2-40B4-BE49-F238E27FC236}">
                  <a16:creationId xmlns:a16="http://schemas.microsoft.com/office/drawing/2014/main" id="{1D076C33-22C2-A749-8329-AA829213EB3C}"/>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62" name="TextBox 61">
            <a:extLst>
              <a:ext uri="{FF2B5EF4-FFF2-40B4-BE49-F238E27FC236}">
                <a16:creationId xmlns:a16="http://schemas.microsoft.com/office/drawing/2014/main" id="{F30174B2-1C13-B445-9280-1EF52A83F5B3}"/>
              </a:ext>
            </a:extLst>
          </p:cNvPr>
          <p:cNvSpPr txBox="1"/>
          <p:nvPr/>
        </p:nvSpPr>
        <p:spPr>
          <a:xfrm>
            <a:off x="10013950" y="4096438"/>
            <a:ext cx="1595438"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Search your index using a vector representation of your data</a:t>
            </a:r>
          </a:p>
        </p:txBody>
      </p:sp>
      <p:sp>
        <p:nvSpPr>
          <p:cNvPr id="9" name="Data &amp; AI" title="Icon of several circles connected to eachother by lines">
            <a:extLst>
              <a:ext uri="{FF2B5EF4-FFF2-40B4-BE49-F238E27FC236}">
                <a16:creationId xmlns:a16="http://schemas.microsoft.com/office/drawing/2014/main" id="{F5EE1711-EF3B-E04E-B4C9-7A28EEB81706}"/>
              </a:ext>
            </a:extLst>
          </p:cNvPr>
          <p:cNvSpPr>
            <a:spLocks noChangeAspect="1" noEditPoints="1"/>
          </p:cNvSpPr>
          <p:nvPr/>
        </p:nvSpPr>
        <p:spPr bwMode="auto">
          <a:xfrm>
            <a:off x="2940972" y="2944987"/>
            <a:ext cx="640080" cy="511813"/>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solidFill>
            <a:schemeClr val="bg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magnify" title="Icon of a magnifying glass">
            <a:extLst>
              <a:ext uri="{FF2B5EF4-FFF2-40B4-BE49-F238E27FC236}">
                <a16:creationId xmlns:a16="http://schemas.microsoft.com/office/drawing/2014/main" id="{9DBB6A1A-1DA3-AE08-858D-BBF794C3B33D}"/>
              </a:ext>
            </a:extLst>
          </p:cNvPr>
          <p:cNvSpPr>
            <a:spLocks noChangeAspect="1" noEditPoints="1"/>
          </p:cNvSpPr>
          <p:nvPr/>
        </p:nvSpPr>
        <p:spPr bwMode="auto">
          <a:xfrm flipH="1">
            <a:off x="10474672" y="2886969"/>
            <a:ext cx="640080" cy="627848"/>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cloud_2" title="Icon of a cloud made of two arrows pointing towards eachother">
            <a:extLst>
              <a:ext uri="{FF2B5EF4-FFF2-40B4-BE49-F238E27FC236}">
                <a16:creationId xmlns:a16="http://schemas.microsoft.com/office/drawing/2014/main" id="{1D4A75CA-9C49-F182-734C-698AA6C6BDE1}"/>
              </a:ext>
            </a:extLst>
          </p:cNvPr>
          <p:cNvSpPr>
            <a:spLocks noChangeAspect="1" noEditPoints="1"/>
          </p:cNvSpPr>
          <p:nvPr/>
        </p:nvSpPr>
        <p:spPr bwMode="auto">
          <a:xfrm>
            <a:off x="1098510" y="3029262"/>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Data &amp; AI" title="Icon of several circles connected to eachother by lines">
            <a:extLst>
              <a:ext uri="{FF2B5EF4-FFF2-40B4-BE49-F238E27FC236}">
                <a16:creationId xmlns:a16="http://schemas.microsoft.com/office/drawing/2014/main" id="{756D46F0-946E-1AB7-AFF9-BAEFFDA3FCC0}"/>
              </a:ext>
            </a:extLst>
          </p:cNvPr>
          <p:cNvSpPr>
            <a:spLocks noChangeAspect="1" noEditPoints="1"/>
          </p:cNvSpPr>
          <p:nvPr/>
        </p:nvSpPr>
        <p:spPr bwMode="auto">
          <a:xfrm>
            <a:off x="8595647" y="2933375"/>
            <a:ext cx="640080" cy="511813"/>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solidFill>
            <a:schemeClr val="bg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6" name="Graphic 15" descr="Single gear outline">
            <a:extLst>
              <a:ext uri="{FF2B5EF4-FFF2-40B4-BE49-F238E27FC236}">
                <a16:creationId xmlns:a16="http://schemas.microsoft.com/office/drawing/2014/main" id="{0ABFA123-E463-104F-36D8-44A5C34BDD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74124" y="2755825"/>
            <a:ext cx="914400" cy="914400"/>
          </a:xfrm>
          <a:prstGeom prst="rect">
            <a:avLst/>
          </a:prstGeom>
        </p:spPr>
      </p:pic>
    </p:spTree>
    <p:extLst>
      <p:ext uri="{BB962C8B-B14F-4D97-AF65-F5344CB8AC3E}">
        <p14:creationId xmlns:p14="http://schemas.microsoft.com/office/powerpoint/2010/main" val="367873966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9D63AA1-AE3F-06FC-D48A-0A1C17AF0F01}"/>
              </a:ext>
            </a:extLst>
          </p:cNvPr>
          <p:cNvGraphicFramePr>
            <a:graphicFrameLocks noGrp="1"/>
          </p:cNvGraphicFramePr>
          <p:nvPr/>
        </p:nvGraphicFramePr>
        <p:xfrm>
          <a:off x="5344160" y="1971040"/>
          <a:ext cx="6699901" cy="2353831"/>
        </p:xfrm>
        <a:graphic>
          <a:graphicData uri="http://schemas.openxmlformats.org/drawingml/2006/table">
            <a:tbl>
              <a:tblPr firstRow="1" bandRow="1"/>
              <a:tblGrid>
                <a:gridCol w="1737887">
                  <a:extLst>
                    <a:ext uri="{9D8B030D-6E8A-4147-A177-3AD203B41FA5}">
                      <a16:colId xmlns:a16="http://schemas.microsoft.com/office/drawing/2014/main" val="3537399885"/>
                    </a:ext>
                  </a:extLst>
                </a:gridCol>
                <a:gridCol w="1240362">
                  <a:extLst>
                    <a:ext uri="{9D8B030D-6E8A-4147-A177-3AD203B41FA5}">
                      <a16:colId xmlns:a16="http://schemas.microsoft.com/office/drawing/2014/main" val="1962012521"/>
                    </a:ext>
                  </a:extLst>
                </a:gridCol>
                <a:gridCol w="1347509">
                  <a:extLst>
                    <a:ext uri="{9D8B030D-6E8A-4147-A177-3AD203B41FA5}">
                      <a16:colId xmlns:a16="http://schemas.microsoft.com/office/drawing/2014/main" val="2865542552"/>
                    </a:ext>
                  </a:extLst>
                </a:gridCol>
                <a:gridCol w="2374143">
                  <a:extLst>
                    <a:ext uri="{9D8B030D-6E8A-4147-A177-3AD203B41FA5}">
                      <a16:colId xmlns:a16="http://schemas.microsoft.com/office/drawing/2014/main" val="831620297"/>
                    </a:ext>
                  </a:extLst>
                </a:gridCol>
              </a:tblGrid>
              <a:tr h="675214">
                <a:tc>
                  <a:txBody>
                    <a:bodyPr/>
                    <a:lstStyle/>
                    <a:p>
                      <a:pPr latinLnBrk="0"/>
                      <a:r>
                        <a:rPr lang="en-US" sz="1100" b="1">
                          <a:solidFill>
                            <a:srgbClr val="000000"/>
                          </a:solidFill>
                          <a:effectLst/>
                          <a:latin typeface="SegoeUI"/>
                        </a:rPr>
                        <a:t>Search Configuration</a:t>
                      </a:r>
                      <a:endParaRPr lang="en-US" sz="1100">
                        <a:solidFill>
                          <a:srgbClr val="000000"/>
                        </a:solidFill>
                        <a:effectLst/>
                        <a:latin typeface="SegoeUI"/>
                      </a:endParaRPr>
                    </a:p>
                    <a:p>
                      <a:pPr latinLnBrk="0"/>
                      <a:r>
                        <a:rPr lang="en-US" sz="1100">
                          <a:solidFill>
                            <a:srgbClr val="000000"/>
                          </a:solidFill>
                          <a:effectLst/>
                          <a:latin typeface="SegoeUI"/>
                        </a:rPr>
                        <a:t> </a:t>
                      </a:r>
                    </a:p>
                    <a:p>
                      <a:pPr latinLnBrk="0"/>
                      <a:r>
                        <a:rPr lang="en-US" sz="1100">
                          <a:solidFill>
                            <a:srgbClr val="000000"/>
                          </a:solidFill>
                          <a:effectLst/>
                          <a:latin typeface="SegoeUI"/>
                        </a:rPr>
                        <a:t> </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a:solidFill>
                            <a:srgbClr val="000000"/>
                          </a:solidFill>
                          <a:effectLst/>
                          <a:latin typeface="SegoeUI"/>
                        </a:rPr>
                        <a:t>Customer datasets</a:t>
                      </a:r>
                      <a:endParaRPr lang="en-US" sz="1100">
                        <a:solidFill>
                          <a:srgbClr val="000000"/>
                        </a:solidFill>
                        <a:effectLst/>
                        <a:latin typeface="SegoeUI"/>
                      </a:endParaRPr>
                    </a:p>
                    <a:p>
                      <a:pPr algn="r" latinLnBrk="0"/>
                      <a:r>
                        <a:rPr lang="en-US" sz="1100">
                          <a:solidFill>
                            <a:srgbClr val="000000"/>
                          </a:solidFill>
                          <a:effectLst/>
                          <a:latin typeface="SegoeUI"/>
                        </a:rPr>
                        <a:t> </a:t>
                      </a:r>
                    </a:p>
                    <a:p>
                      <a:pPr algn="r" latinLnBrk="0"/>
                      <a:r>
                        <a:rPr lang="en-US" sz="1100" i="1">
                          <a:solidFill>
                            <a:srgbClr val="000000"/>
                          </a:solidFill>
                          <a:effectLst/>
                          <a:latin typeface="SegoeUI"/>
                        </a:rPr>
                        <a:t>[NDCG@3]</a:t>
                      </a:r>
                      <a:endParaRPr lang="en-US" sz="110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err="1">
                          <a:solidFill>
                            <a:srgbClr val="000000"/>
                          </a:solidFill>
                          <a:effectLst/>
                          <a:latin typeface="SegoeUI"/>
                        </a:rPr>
                        <a:t>Beir</a:t>
                      </a:r>
                      <a:endParaRPr lang="en-US" sz="1100">
                        <a:solidFill>
                          <a:srgbClr val="000000"/>
                        </a:solidFill>
                        <a:effectLst/>
                        <a:latin typeface="SegoeUI"/>
                      </a:endParaRPr>
                    </a:p>
                    <a:p>
                      <a:pPr algn="r" latinLnBrk="0"/>
                      <a:r>
                        <a:rPr lang="en-US" sz="1100">
                          <a:solidFill>
                            <a:srgbClr val="000000"/>
                          </a:solidFill>
                          <a:effectLst/>
                          <a:latin typeface="SegoeUI"/>
                        </a:rPr>
                        <a:t> </a:t>
                      </a:r>
                    </a:p>
                    <a:p>
                      <a:pPr algn="r" latinLnBrk="0"/>
                      <a:r>
                        <a:rPr lang="en-US" sz="1100" i="1">
                          <a:solidFill>
                            <a:srgbClr val="000000"/>
                          </a:solidFill>
                          <a:effectLst/>
                          <a:latin typeface="SegoeUI"/>
                        </a:rPr>
                        <a:t>[NDCG@10]</a:t>
                      </a:r>
                      <a:endParaRPr lang="en-US" sz="110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a:solidFill>
                            <a:srgbClr val="000000"/>
                          </a:solidFill>
                          <a:effectLst/>
                          <a:latin typeface="SegoeUI"/>
                        </a:rPr>
                        <a:t>Multilingual Academic (MIRACL)</a:t>
                      </a:r>
                      <a:br>
                        <a:rPr lang="en-US" sz="1100">
                          <a:solidFill>
                            <a:srgbClr val="000000"/>
                          </a:solidFill>
                          <a:effectLst/>
                          <a:latin typeface="SegoeUI"/>
                        </a:rPr>
                      </a:br>
                      <a:br>
                        <a:rPr lang="en-US" sz="1100">
                          <a:solidFill>
                            <a:srgbClr val="000000"/>
                          </a:solidFill>
                          <a:effectLst/>
                          <a:latin typeface="SegoeUI"/>
                        </a:rPr>
                      </a:br>
                      <a:r>
                        <a:rPr lang="en-US" sz="1100" i="1">
                          <a:solidFill>
                            <a:srgbClr val="000000"/>
                          </a:solidFill>
                          <a:effectLst/>
                          <a:latin typeface="SegoeUI"/>
                        </a:rPr>
                        <a:t>[NDCG@10]</a:t>
                      </a:r>
                      <a:endParaRPr lang="en-US" sz="110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extLst>
                  <a:ext uri="{0D108BD9-81ED-4DB2-BD59-A6C34878D82A}">
                    <a16:rowId xmlns:a16="http://schemas.microsoft.com/office/drawing/2014/main" val="3597722072"/>
                  </a:ext>
                </a:extLst>
              </a:tr>
              <a:tr h="294853">
                <a:tc>
                  <a:txBody>
                    <a:bodyPr/>
                    <a:lstStyle/>
                    <a:p>
                      <a:pPr latinLnBrk="0"/>
                      <a:r>
                        <a:rPr lang="en-US" sz="1100">
                          <a:solidFill>
                            <a:srgbClr val="000000"/>
                          </a:solidFill>
                          <a:effectLst/>
                          <a:latin typeface="SegoeUI"/>
                        </a:rPr>
                        <a:t>Keyword</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0.6</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0.6</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9.6</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extLst>
                  <a:ext uri="{0D108BD9-81ED-4DB2-BD59-A6C34878D82A}">
                    <a16:rowId xmlns:a16="http://schemas.microsoft.com/office/drawing/2014/main" val="1484817993"/>
                  </a:ext>
                </a:extLst>
              </a:tr>
              <a:tr h="294853">
                <a:tc>
                  <a:txBody>
                    <a:bodyPr/>
                    <a:lstStyle/>
                    <a:p>
                      <a:pPr latinLnBrk="0"/>
                      <a:r>
                        <a:rPr lang="en-US" sz="1100">
                          <a:solidFill>
                            <a:srgbClr val="000000"/>
                          </a:solidFill>
                          <a:effectLst/>
                          <a:latin typeface="SegoeUI"/>
                        </a:rPr>
                        <a:t>Vector (Ada-002)</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3.8</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5.0</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58.3</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extLst>
                  <a:ext uri="{0D108BD9-81ED-4DB2-BD59-A6C34878D82A}">
                    <a16:rowId xmlns:a16="http://schemas.microsoft.com/office/drawing/2014/main" val="3445101254"/>
                  </a:ext>
                </a:extLst>
              </a:tr>
              <a:tr h="386231">
                <a:tc>
                  <a:txBody>
                    <a:bodyPr/>
                    <a:lstStyle/>
                    <a:p>
                      <a:pPr latinLnBrk="0"/>
                      <a:r>
                        <a:rPr lang="en-US" sz="1100">
                          <a:solidFill>
                            <a:srgbClr val="000000"/>
                          </a:solidFill>
                          <a:effectLst/>
                          <a:latin typeface="SegoeUI"/>
                        </a:rPr>
                        <a:t>Hybrid (Keyword + Vector)</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8.4</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48.4</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a:solidFill>
                            <a:srgbClr val="000000"/>
                          </a:solidFill>
                          <a:effectLst/>
                          <a:latin typeface="SegoeUI"/>
                        </a:rPr>
                        <a:t>58.8</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extLst>
                  <a:ext uri="{0D108BD9-81ED-4DB2-BD59-A6C34878D82A}">
                    <a16:rowId xmlns:a16="http://schemas.microsoft.com/office/drawing/2014/main" val="2714670929"/>
                  </a:ext>
                </a:extLst>
              </a:tr>
              <a:tr h="386231">
                <a:tc>
                  <a:txBody>
                    <a:bodyPr/>
                    <a:lstStyle/>
                    <a:p>
                      <a:pPr latinLnBrk="0"/>
                      <a:r>
                        <a:rPr lang="en-US" sz="1100">
                          <a:solidFill>
                            <a:srgbClr val="000000"/>
                          </a:solidFill>
                          <a:effectLst/>
                          <a:latin typeface="SegoeUI"/>
                        </a:rPr>
                        <a:t>Hybrid + Semantic ranker</a:t>
                      </a: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a:solidFill>
                            <a:srgbClr val="000000"/>
                          </a:solidFill>
                          <a:effectLst/>
                          <a:latin typeface="SegoeUI"/>
                        </a:rPr>
                        <a:t>60.1</a:t>
                      </a:r>
                      <a:endParaRPr lang="en-US" sz="110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a:solidFill>
                            <a:srgbClr val="000000"/>
                          </a:solidFill>
                          <a:effectLst/>
                          <a:latin typeface="SegoeUI"/>
                        </a:rPr>
                        <a:t>50.0</a:t>
                      </a:r>
                      <a:endParaRPr lang="en-US" sz="110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tc>
                  <a:txBody>
                    <a:bodyPr/>
                    <a:lstStyle/>
                    <a:p>
                      <a:pPr algn="r" latinLnBrk="0"/>
                      <a:r>
                        <a:rPr lang="en-US" sz="1100" b="1" dirty="0">
                          <a:solidFill>
                            <a:srgbClr val="000000"/>
                          </a:solidFill>
                          <a:effectLst/>
                          <a:latin typeface="SegoeUI"/>
                        </a:rPr>
                        <a:t>72.0</a:t>
                      </a:r>
                      <a:endParaRPr lang="en-US" sz="1100" dirty="0">
                        <a:solidFill>
                          <a:srgbClr val="000000"/>
                        </a:solidFill>
                        <a:effectLst/>
                        <a:latin typeface="SegoeUI"/>
                      </a:endParaRPr>
                    </a:p>
                  </a:txBody>
                  <a:tcPr marL="78310" marR="78310" marT="78310" marB="78310" anchor="ctr">
                    <a:lnL w="6350" cap="flat" cmpd="sng" algn="ctr">
                      <a:solidFill>
                        <a:srgbClr val="D1D1D1"/>
                      </a:solidFill>
                      <a:prstDash val="solid"/>
                      <a:round/>
                      <a:headEnd type="none" w="med" len="med"/>
                      <a:tailEnd type="none" w="med" len="med"/>
                    </a:lnL>
                    <a:lnR w="6350" cap="flat" cmpd="sng" algn="ctr">
                      <a:solidFill>
                        <a:srgbClr val="D1D1D1"/>
                      </a:solidFill>
                      <a:prstDash val="solid"/>
                      <a:round/>
                      <a:headEnd type="none" w="med" len="med"/>
                      <a:tailEnd type="none" w="med" len="med"/>
                    </a:lnR>
                    <a:lnT w="6350" cap="flat" cmpd="sng" algn="ctr">
                      <a:solidFill>
                        <a:srgbClr val="D1D1D1"/>
                      </a:solidFill>
                      <a:prstDash val="solid"/>
                      <a:round/>
                      <a:headEnd type="none" w="med" len="med"/>
                      <a:tailEnd type="none" w="med" len="med"/>
                    </a:lnT>
                    <a:lnB w="6350" cap="flat" cmpd="sng" algn="ctr">
                      <a:solidFill>
                        <a:srgbClr val="D1D1D1"/>
                      </a:solidFill>
                      <a:prstDash val="solid"/>
                      <a:round/>
                      <a:headEnd type="none" w="med" len="med"/>
                      <a:tailEnd type="none" w="med" len="med"/>
                    </a:lnB>
                    <a:solidFill>
                      <a:srgbClr val="FFFFFF"/>
                    </a:solidFill>
                  </a:tcPr>
                </a:tc>
                <a:extLst>
                  <a:ext uri="{0D108BD9-81ED-4DB2-BD59-A6C34878D82A}">
                    <a16:rowId xmlns:a16="http://schemas.microsoft.com/office/drawing/2014/main" val="2378694766"/>
                  </a:ext>
                </a:extLst>
              </a:tr>
            </a:tbl>
          </a:graphicData>
        </a:graphic>
      </p:graphicFrame>
      <p:sp>
        <p:nvSpPr>
          <p:cNvPr id="11" name="Title 10">
            <a:extLst>
              <a:ext uri="{FF2B5EF4-FFF2-40B4-BE49-F238E27FC236}">
                <a16:creationId xmlns:a16="http://schemas.microsoft.com/office/drawing/2014/main" id="{35F0795A-4D7B-8753-9D0D-855D6936EBF1}"/>
              </a:ext>
            </a:extLst>
          </p:cNvPr>
          <p:cNvSpPr>
            <a:spLocks noGrp="1"/>
          </p:cNvSpPr>
          <p:nvPr>
            <p:ph type="title"/>
          </p:nvPr>
        </p:nvSpPr>
        <p:spPr>
          <a:xfrm>
            <a:off x="588263" y="457200"/>
            <a:ext cx="11018520" cy="1354217"/>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a:rPr>
              <a:t>Introducing </a:t>
            </a:r>
            <a:r>
              <a:rPr lang="en-US" sz="3200" spc="0">
                <a:ln>
                  <a:noFill/>
                </a:ln>
                <a:solidFill>
                  <a:srgbClr val="FFFFFF"/>
                </a:solidFill>
                <a:latin typeface="Segoe UI Semibold"/>
                <a:cs typeface="Segoe UI"/>
              </a:rPr>
              <a:t>semantic</a:t>
            </a:r>
            <a:r>
              <a:rPr kumimoji="0" lang="en-US" sz="3200" b="0" i="0" u="none" strike="noStrike" kern="1200" cap="none" spc="0" normalizeH="0" baseline="0" noProof="0">
                <a:ln>
                  <a:noFill/>
                </a:ln>
                <a:solidFill>
                  <a:srgbClr val="FFFFFF"/>
                </a:solidFill>
                <a:effectLst/>
                <a:uLnTx/>
                <a:uFillTx/>
                <a:latin typeface="Segoe UI Semibold"/>
                <a:ea typeface="+mn-ea"/>
                <a:cs typeface="Segoe UI"/>
              </a:rPr>
              <a:t> </a:t>
            </a:r>
            <a:r>
              <a:rPr lang="en-US" sz="3200" spc="0">
                <a:ln>
                  <a:noFill/>
                </a:ln>
                <a:solidFill>
                  <a:srgbClr val="FFFFFF"/>
                </a:solidFill>
                <a:latin typeface="Segoe UI Semibold"/>
                <a:cs typeface="Segoe UI"/>
              </a:rPr>
              <a:t>ranker</a:t>
            </a:r>
            <a:br>
              <a:rPr lang="en-US" sz="2000" b="0" i="0" u="none" strike="noStrike" kern="1200" cap="none" spc="0" normalizeH="0" baseline="0" noProof="0">
                <a:ln>
                  <a:noFill/>
                </a:ln>
                <a:effectLst/>
                <a:uLnTx/>
                <a:uFillTx/>
                <a:latin typeface="Segoe UI Semibold"/>
                <a:cs typeface="Segoe UI"/>
              </a:rPr>
            </a:br>
            <a:r>
              <a:rPr kumimoji="0" lang="en-US" sz="2000" b="0" i="0" u="none" strike="noStrike" kern="1200" cap="none" spc="0" normalizeH="0" baseline="0" noProof="0">
                <a:ln>
                  <a:noFill/>
                </a:ln>
                <a:solidFill>
                  <a:srgbClr val="50E6FF"/>
                </a:solidFill>
                <a:effectLst/>
                <a:uLnTx/>
                <a:uFillTx/>
                <a:latin typeface="Segoe UI Semibold"/>
                <a:ea typeface="+mn-ea"/>
                <a:cs typeface="Segoe UI"/>
              </a:rPr>
              <a:t>Outperform vector search with hybrid search + Semantic re-ranking</a:t>
            </a:r>
            <a:br>
              <a:rPr lang="en-US" sz="1800" b="0" i="0" u="none" strike="noStrike" kern="1200" cap="none" spc="0" normalizeH="0" baseline="0" noProof="0">
                <a:ln>
                  <a:noFill/>
                </a:ln>
                <a:effectLst/>
                <a:uLnTx/>
                <a:uFillTx/>
                <a:latin typeface="Segoe UI"/>
                <a:cs typeface="+mn-cs"/>
              </a:rPr>
            </a:br>
            <a:endParaRPr lang="en-US"/>
          </a:p>
        </p:txBody>
      </p:sp>
      <p:sp>
        <p:nvSpPr>
          <p:cNvPr id="13" name="TextBox 12">
            <a:extLst>
              <a:ext uri="{FF2B5EF4-FFF2-40B4-BE49-F238E27FC236}">
                <a16:creationId xmlns:a16="http://schemas.microsoft.com/office/drawing/2014/main" id="{0A1968AD-2F02-EF46-434A-EEA3B7427958}"/>
              </a:ext>
            </a:extLst>
          </p:cNvPr>
          <p:cNvSpPr txBox="1"/>
          <p:nvPr/>
        </p:nvSpPr>
        <p:spPr>
          <a:xfrm>
            <a:off x="588263" y="2798058"/>
            <a:ext cx="4379977" cy="247247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spcAft>
                <a:spcPts val="400"/>
              </a:spcAft>
              <a:buFont typeface="Arial"/>
              <a:buChar char="•"/>
              <a:defRPr/>
            </a:pPr>
            <a:r>
              <a:rPr lang="en-US" dirty="0">
                <a:solidFill>
                  <a:srgbClr val="FFFFFF"/>
                </a:solidFill>
                <a:latin typeface="Segoe UI"/>
                <a:cs typeface="Segoe UI"/>
              </a:rPr>
              <a:t>F</a:t>
            </a:r>
            <a:r>
              <a:rPr lang="en-US" dirty="0" err="1">
                <a:solidFill>
                  <a:srgbClr val="FFFFFF"/>
                </a:solidFill>
                <a:latin typeface="Segoe UI"/>
                <a:cs typeface="Segoe UI"/>
              </a:rPr>
              <a:t>ormerly</a:t>
            </a:r>
            <a:r>
              <a:rPr lang="en-US" dirty="0">
                <a:solidFill>
                  <a:srgbClr val="FFFFFF"/>
                </a:solidFill>
                <a:latin typeface="Segoe UI"/>
                <a:cs typeface="Segoe UI"/>
              </a:rPr>
              <a:t> known as "semantic search"</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SOTA re-ranking encoder model</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Highest performing retrieval mode</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Segoe UI"/>
              </a:rPr>
              <a:t>New</a:t>
            </a:r>
            <a:r>
              <a:rPr kumimoji="0" lang="en-US" sz="1800" b="0" i="0" u="none" strike="noStrike" kern="1200" cap="none" spc="0" normalizeH="0" baseline="0" noProof="0" dirty="0">
                <a:ln>
                  <a:noFill/>
                </a:ln>
                <a:solidFill>
                  <a:srgbClr val="FFFFFF"/>
                </a:solidFill>
                <a:effectLst/>
                <a:uLnTx/>
                <a:uFillTx/>
                <a:latin typeface="Segoe UI"/>
                <a:ea typeface="+mn-ea"/>
                <a:cs typeface="Segoe UI"/>
              </a:rPr>
              <a:t> pay-go pricing: Free 1k requests/month, $1 per additional 1k </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Multilingual capabilities</a:t>
            </a:r>
          </a:p>
          <a:p>
            <a:pPr marL="182880" marR="0" lvl="0" indent="-182880" algn="l" defTabSz="914400" rtl="0" eaLnBrk="1" fontAlgn="auto" latinLnBrk="0" hangingPunct="1">
              <a:lnSpc>
                <a:spcPct val="100000"/>
              </a:lnSpc>
              <a:spcBef>
                <a:spcPts val="0"/>
              </a:spcBef>
              <a:spcAft>
                <a:spcPts val="40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Segoe UI"/>
              </a:rPr>
              <a:t>Includes extractive answers, captions and ranking (like Bing)</a:t>
            </a:r>
          </a:p>
        </p:txBody>
      </p:sp>
      <p:sp>
        <p:nvSpPr>
          <p:cNvPr id="2" name="Rounded Rectangle 18" descr="Public preview&#10;">
            <a:extLst>
              <a:ext uri="{FF2B5EF4-FFF2-40B4-BE49-F238E27FC236}">
                <a16:creationId xmlns:a16="http://schemas.microsoft.com/office/drawing/2014/main" id="{383107C1-6EF1-9F38-8E47-F8A17D772151}"/>
              </a:ext>
            </a:extLst>
          </p:cNvPr>
          <p:cNvSpPr/>
          <p:nvPr/>
        </p:nvSpPr>
        <p:spPr bwMode="auto">
          <a:xfrm>
            <a:off x="9774830" y="457200"/>
            <a:ext cx="1878697" cy="475428"/>
          </a:xfrm>
          <a:prstGeom prst="roundRect">
            <a:avLst>
              <a:gd name="adj" fmla="val 9671"/>
            </a:avLst>
          </a:prstGeom>
          <a:blipFill>
            <a:blip r:embed="rId3"/>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General Available</a:t>
            </a:r>
          </a:p>
        </p:txBody>
      </p:sp>
      <p:sp>
        <p:nvSpPr>
          <p:cNvPr id="4" name="TextBox 3">
            <a:extLst>
              <a:ext uri="{FF2B5EF4-FFF2-40B4-BE49-F238E27FC236}">
                <a16:creationId xmlns:a16="http://schemas.microsoft.com/office/drawing/2014/main" id="{78CF2971-C46E-198A-B7C4-249136431B59}"/>
              </a:ext>
            </a:extLst>
          </p:cNvPr>
          <p:cNvSpPr txBox="1"/>
          <p:nvPr/>
        </p:nvSpPr>
        <p:spPr>
          <a:xfrm>
            <a:off x="5372960" y="4448677"/>
            <a:ext cx="679956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E6FF"/>
                </a:solidFill>
                <a:effectLst/>
                <a:uLnTx/>
                <a:uFillTx/>
                <a:latin typeface="Segoe UI"/>
                <a:ea typeface="+mn-ea"/>
                <a:cs typeface="+mn-cs"/>
              </a:rPr>
              <a:t>Our experiments have shown that Hybrid Search + Semantic L2 Reranking is </a:t>
            </a:r>
            <a:r>
              <a:rPr kumimoji="0" lang="en-US" sz="1800" b="1" i="0" u="sng" strike="noStrike" kern="1200" cap="none" spc="0" normalizeH="0" baseline="0" noProof="0" dirty="0">
                <a:ln>
                  <a:noFill/>
                </a:ln>
                <a:solidFill>
                  <a:srgbClr val="50E6FF"/>
                </a:solidFill>
                <a:effectLst/>
                <a:uLnTx/>
                <a:uFillTx/>
                <a:latin typeface="Segoe UI"/>
                <a:ea typeface="+mn-ea"/>
                <a:cs typeface="+mn-cs"/>
              </a:rPr>
              <a:t>22.4% </a:t>
            </a:r>
            <a:r>
              <a:rPr kumimoji="0" lang="en-US" sz="1800" b="0" i="0" u="none" strike="noStrike" kern="1200" cap="none" spc="0" normalizeH="0" baseline="0" noProof="0" dirty="0">
                <a:ln>
                  <a:noFill/>
                </a:ln>
                <a:solidFill>
                  <a:srgbClr val="50E6FF"/>
                </a:solidFill>
                <a:effectLst/>
                <a:uLnTx/>
                <a:uFillTx/>
                <a:latin typeface="Segoe UI"/>
                <a:ea typeface="+mn-ea"/>
                <a:cs typeface="+mn-cs"/>
              </a:rPr>
              <a:t>better</a:t>
            </a:r>
            <a:r>
              <a:rPr kumimoji="0" lang="en-US" sz="1800" b="1" i="0" u="none" strike="noStrike" kern="1200" cap="none" spc="0" normalizeH="0" baseline="0" noProof="0" dirty="0">
                <a:ln>
                  <a:noFill/>
                </a:ln>
                <a:solidFill>
                  <a:srgbClr val="50E6FF"/>
                </a:solidFill>
                <a:effectLst/>
                <a:uLnTx/>
                <a:uFillTx/>
                <a:latin typeface="Segoe UI"/>
                <a:ea typeface="+mn-ea"/>
                <a:cs typeface="+mn-cs"/>
              </a:rPr>
              <a:t> </a:t>
            </a:r>
            <a:r>
              <a:rPr kumimoji="0" lang="en-US" sz="1800" b="0" i="0" u="none" strike="noStrike" kern="1200" cap="none" spc="0" normalizeH="0" baseline="0" noProof="0" dirty="0">
                <a:ln>
                  <a:noFill/>
                </a:ln>
                <a:solidFill>
                  <a:srgbClr val="50E6FF"/>
                </a:solidFill>
                <a:effectLst/>
                <a:uLnTx/>
                <a:uFillTx/>
                <a:latin typeface="Segoe UI"/>
                <a:ea typeface="+mn-ea"/>
                <a:cs typeface="+mn-cs"/>
              </a:rPr>
              <a:t>than BM25 and </a:t>
            </a:r>
            <a:r>
              <a:rPr kumimoji="0" lang="en-US" sz="1800" b="1" i="0" u="sng" strike="noStrike" kern="1200" cap="none" spc="0" normalizeH="0" baseline="0" noProof="0" dirty="0">
                <a:ln>
                  <a:noFill/>
                </a:ln>
                <a:solidFill>
                  <a:srgbClr val="50E6FF"/>
                </a:solidFill>
                <a:effectLst/>
                <a:uLnTx/>
                <a:uFillTx/>
                <a:latin typeface="Segoe UI"/>
                <a:ea typeface="+mn-ea"/>
                <a:cs typeface="+mn-cs"/>
              </a:rPr>
              <a:t>22.3% </a:t>
            </a:r>
            <a:r>
              <a:rPr kumimoji="0" lang="en-US" sz="1800" b="0" i="0" u="none" strike="noStrike" kern="1200" cap="none" spc="0" normalizeH="0" baseline="0" noProof="0" dirty="0">
                <a:ln>
                  <a:noFill/>
                </a:ln>
                <a:solidFill>
                  <a:srgbClr val="50E6FF"/>
                </a:solidFill>
                <a:effectLst/>
                <a:uLnTx/>
                <a:uFillTx/>
                <a:latin typeface="Segoe UI"/>
                <a:ea typeface="+mn-ea"/>
                <a:cs typeface="+mn-cs"/>
              </a:rPr>
              <a:t>better than ANN search alone using OpenAI’s “text-embeddings-ada-002”. (evaluated using NDCG@3)</a:t>
            </a:r>
          </a:p>
        </p:txBody>
      </p:sp>
    </p:spTree>
    <p:extLst>
      <p:ext uri="{BB962C8B-B14F-4D97-AF65-F5344CB8AC3E}">
        <p14:creationId xmlns:p14="http://schemas.microsoft.com/office/powerpoint/2010/main" val="842085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3.7037E-6 L -4.16667E-6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1B4868-9F15-9022-1D47-A51577F45451}"/>
              </a:ext>
            </a:extLst>
          </p:cNvPr>
          <p:cNvSpPr>
            <a:spLocks noGrp="1"/>
          </p:cNvSpPr>
          <p:nvPr>
            <p:ph type="title"/>
          </p:nvPr>
        </p:nvSpPr>
        <p:spPr/>
        <p:txBody>
          <a:bodyPr/>
          <a:lstStyle/>
          <a:p>
            <a:r>
              <a:rPr lang="en-US" dirty="0">
                <a:solidFill>
                  <a:srgbClr val="000000"/>
                </a:solidFill>
                <a:cs typeface="Segoe UI"/>
              </a:rPr>
              <a:t>Common applications of Azure AI Search</a:t>
            </a:r>
            <a:endParaRPr lang="en-US" dirty="0"/>
          </a:p>
        </p:txBody>
      </p:sp>
      <p:sp>
        <p:nvSpPr>
          <p:cNvPr id="4" name="TextBox 3">
            <a:extLst>
              <a:ext uri="{FF2B5EF4-FFF2-40B4-BE49-F238E27FC236}">
                <a16:creationId xmlns:a16="http://schemas.microsoft.com/office/drawing/2014/main" id="{3B6CDE79-7756-BA0B-E957-764D0AA9C074}"/>
              </a:ext>
            </a:extLst>
          </p:cNvPr>
          <p:cNvSpPr txBox="1"/>
          <p:nvPr/>
        </p:nvSpPr>
        <p:spPr>
          <a:xfrm>
            <a:off x="206146" y="1385477"/>
            <a:ext cx="2866384" cy="84638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4"/>
                </a:solidFill>
                <a:effectLst/>
                <a:uLnTx/>
                <a:uFillTx/>
                <a:latin typeface="Segoe UI Semibold"/>
                <a:ea typeface="+mn-ea"/>
                <a:cs typeface="+mn-cs"/>
              </a:rPr>
              <a:t>Workplace Search</a:t>
            </a:r>
            <a:endParaRPr kumimoji="0" lang="en-US" sz="2000" b="1" i="0" u="none" strike="noStrike" kern="1200" cap="none" spc="0" normalizeH="0" baseline="0" noProof="0" dirty="0">
              <a:ln>
                <a:noFill/>
              </a:ln>
              <a:solidFill>
                <a:srgbClr val="0078D4"/>
              </a:solidFill>
              <a:effectLst/>
              <a:uLnTx/>
              <a:uFillTx/>
              <a:latin typeface="Segoe UI Semibold"/>
              <a:ea typeface="+mn-ea"/>
              <a:cs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0078D4"/>
              </a:solidFill>
              <a:effectLst/>
              <a:uLnTx/>
              <a:uFillTx/>
              <a:latin typeface="Segoe UI"/>
              <a:ea typeface="+mn-ea"/>
              <a:cs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a:ea typeface="+mn-ea"/>
                <a:cs typeface="Segoe UI Semibold"/>
              </a:rPr>
              <a:t>Help internal teams explore databases and files</a:t>
            </a:r>
          </a:p>
        </p:txBody>
      </p:sp>
      <p:sp>
        <p:nvSpPr>
          <p:cNvPr id="5" name="TextBox 4">
            <a:extLst>
              <a:ext uri="{FF2B5EF4-FFF2-40B4-BE49-F238E27FC236}">
                <a16:creationId xmlns:a16="http://schemas.microsoft.com/office/drawing/2014/main" id="{8C840206-689D-6A89-3006-5E3D991DCE41}"/>
              </a:ext>
            </a:extLst>
          </p:cNvPr>
          <p:cNvSpPr txBox="1"/>
          <p:nvPr/>
        </p:nvSpPr>
        <p:spPr>
          <a:xfrm>
            <a:off x="393870" y="4526157"/>
            <a:ext cx="2466037" cy="1246495"/>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Improve efficiency and productiv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hance data accessibility</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Improve decision-making</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E7C2B6E6-6495-C39E-97EF-8E4345E926D8}"/>
              </a:ext>
            </a:extLst>
          </p:cNvPr>
          <p:cNvSpPr txBox="1"/>
          <p:nvPr/>
        </p:nvSpPr>
        <p:spPr>
          <a:xfrm>
            <a:off x="3615802" y="1385477"/>
            <a:ext cx="2410367" cy="7386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aaS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Semibold"/>
              </a:rPr>
              <a:t>Build market-ready applications for customers</a:t>
            </a:r>
            <a:endParaRPr kumimoji="0" lang="en-US" sz="1800" b="0" i="0" u="none" strike="noStrike" kern="1200" cap="none" spc="0" normalizeH="0" baseline="0" noProof="0">
              <a:ln>
                <a:noFill/>
              </a:ln>
              <a:solidFill>
                <a:srgbClr val="0078D4"/>
              </a:solidFill>
              <a:effectLst/>
              <a:uLnTx/>
              <a:uFillTx/>
              <a:latin typeface="Segoe UI"/>
              <a:ea typeface="+mn-ea"/>
              <a:cs typeface="Segoe UI"/>
            </a:endParaRPr>
          </a:p>
        </p:txBody>
      </p:sp>
      <p:sp>
        <p:nvSpPr>
          <p:cNvPr id="7" name="TextBox 6">
            <a:extLst>
              <a:ext uri="{FF2B5EF4-FFF2-40B4-BE49-F238E27FC236}">
                <a16:creationId xmlns:a16="http://schemas.microsoft.com/office/drawing/2014/main" id="{7D680BA9-E6B6-8B38-1769-655B470ADE64}"/>
              </a:ext>
            </a:extLst>
          </p:cNvPr>
          <p:cNvSpPr txBox="1"/>
          <p:nvPr/>
        </p:nvSpPr>
        <p:spPr>
          <a:xfrm>
            <a:off x="3701661" y="4526156"/>
            <a:ext cx="2466037" cy="707886"/>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Improve user experience</a:t>
            </a:r>
            <a:endParaRPr kumimoji="0" lang="en-US" sz="1800" b="0" i="0" u="none" strike="noStrike" kern="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a:rPr>
              <a:t>Reduce development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a:ln>
                <a:noFill/>
              </a:ln>
              <a:solidFill>
                <a:srgbClr val="000000"/>
              </a:solidFill>
              <a:effectLst/>
              <a:uLnTx/>
              <a:uFillTx/>
              <a:latin typeface="Segoe UI Semibold"/>
              <a:ea typeface="+mn-ea"/>
              <a:cs typeface="+mn-cs"/>
            </a:endParaRPr>
          </a:p>
        </p:txBody>
      </p:sp>
      <p:sp>
        <p:nvSpPr>
          <p:cNvPr id="8" name="TextBox 7">
            <a:extLst>
              <a:ext uri="{FF2B5EF4-FFF2-40B4-BE49-F238E27FC236}">
                <a16:creationId xmlns:a16="http://schemas.microsoft.com/office/drawing/2014/main" id="{C50FFD8A-726D-F28F-91B8-8A634E97932C}"/>
              </a:ext>
            </a:extLst>
          </p:cNvPr>
          <p:cNvSpPr txBox="1"/>
          <p:nvPr/>
        </p:nvSpPr>
        <p:spPr>
          <a:xfrm>
            <a:off x="6583257" y="1385477"/>
            <a:ext cx="2648444" cy="7386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eCommerce</a:t>
            </a:r>
            <a:endParaRPr kumimoji="0" lang="en-US" sz="18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Semibold"/>
              </a:rPr>
              <a:t>Help customers find and purchase products and services</a:t>
            </a:r>
          </a:p>
        </p:txBody>
      </p:sp>
      <p:sp>
        <p:nvSpPr>
          <p:cNvPr id="9" name="TextBox 8">
            <a:extLst>
              <a:ext uri="{FF2B5EF4-FFF2-40B4-BE49-F238E27FC236}">
                <a16:creationId xmlns:a16="http://schemas.microsoft.com/office/drawing/2014/main" id="{6842DCAA-445C-2BD0-B543-CF00CD14A1D1}"/>
              </a:ext>
            </a:extLst>
          </p:cNvPr>
          <p:cNvSpPr txBox="1"/>
          <p:nvPr/>
        </p:nvSpPr>
        <p:spPr>
          <a:xfrm>
            <a:off x="6958124" y="4560111"/>
            <a:ext cx="2265863" cy="1292662"/>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rovide personalized recommendations</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Improve user experience</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hance product discovery</a:t>
            </a: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Increase conversion rates</a:t>
            </a:r>
            <a:endParaRPr kumimoji="0" lang="en-US" sz="11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10" name="TextBox 9">
            <a:extLst>
              <a:ext uri="{FF2B5EF4-FFF2-40B4-BE49-F238E27FC236}">
                <a16:creationId xmlns:a16="http://schemas.microsoft.com/office/drawing/2014/main" id="{2B0F8F77-4A9B-506E-F363-FDF37158BCEA}"/>
              </a:ext>
            </a:extLst>
          </p:cNvPr>
          <p:cNvSpPr txBox="1"/>
          <p:nvPr/>
        </p:nvSpPr>
        <p:spPr>
          <a:xfrm>
            <a:off x="9428278" y="1385477"/>
            <a:ext cx="2487357" cy="7386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a:ea typeface="+mn-ea"/>
                <a:cs typeface="+mn-cs"/>
              </a:rPr>
              <a:t>Website Search</a:t>
            </a:r>
            <a:endParaRPr kumimoji="0" lang="en-US" sz="1800" b="0" i="0" u="none" strike="noStrike" kern="0" cap="none" spc="0" normalizeH="0" baseline="0" noProof="0">
              <a:ln>
                <a:noFill/>
              </a:ln>
              <a:solidFill>
                <a:srgbClr val="0078D4"/>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4"/>
                </a:solidFill>
                <a:effectLst/>
                <a:uLnTx/>
                <a:uFillTx/>
                <a:latin typeface="Segoe UI"/>
                <a:ea typeface="+mn-ea"/>
                <a:cs typeface="Segoe UI Semibold"/>
              </a:rPr>
              <a:t>Help visitors find information quickly and easily</a:t>
            </a:r>
          </a:p>
        </p:txBody>
      </p:sp>
      <p:sp>
        <p:nvSpPr>
          <p:cNvPr id="11" name="TextBox 10">
            <a:extLst>
              <a:ext uri="{FF2B5EF4-FFF2-40B4-BE49-F238E27FC236}">
                <a16:creationId xmlns:a16="http://schemas.microsoft.com/office/drawing/2014/main" id="{8064D23C-217E-2E69-6001-C3F61270AA25}"/>
              </a:ext>
            </a:extLst>
          </p:cNvPr>
          <p:cNvSpPr txBox="1"/>
          <p:nvPr/>
        </p:nvSpPr>
        <p:spPr>
          <a:xfrm>
            <a:off x="9560936" y="4451030"/>
            <a:ext cx="2466037" cy="646331"/>
          </a:xfrm>
          <a:prstGeom prst="rect">
            <a:avLst/>
          </a:prstGeom>
          <a:noFill/>
        </p:spPr>
        <p:txBody>
          <a:bodyPr wrap="square" lIns="0" tIns="0" rIns="0" bIns="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Increase findability</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Semibold"/>
              </a:rPr>
              <a:t>Better understand user behavior and needs</a:t>
            </a:r>
          </a:p>
        </p:txBody>
      </p:sp>
      <p:pic>
        <p:nvPicPr>
          <p:cNvPr id="12" name="Picture 11">
            <a:extLst>
              <a:ext uri="{FF2B5EF4-FFF2-40B4-BE49-F238E27FC236}">
                <a16:creationId xmlns:a16="http://schemas.microsoft.com/office/drawing/2014/main" id="{9B99BDD7-142B-F763-F5D2-6A18769D0CD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stretch/>
        </p:blipFill>
        <p:spPr>
          <a:xfrm>
            <a:off x="7109679" y="2427003"/>
            <a:ext cx="1767522" cy="1803591"/>
          </a:xfrm>
          <a:prstGeom prst="rect">
            <a:avLst/>
          </a:prstGeom>
        </p:spPr>
      </p:pic>
      <p:pic>
        <p:nvPicPr>
          <p:cNvPr id="13" name="Picture 12" descr="Colored organizers on shelves">
            <a:extLst>
              <a:ext uri="{FF2B5EF4-FFF2-40B4-BE49-F238E27FC236}">
                <a16:creationId xmlns:a16="http://schemas.microsoft.com/office/drawing/2014/main" id="{71827AAC-B027-5C15-A902-A13519960DF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6528" y="2459200"/>
            <a:ext cx="2285493" cy="1803592"/>
          </a:xfrm>
          <a:prstGeom prst="rect">
            <a:avLst/>
          </a:prstGeom>
        </p:spPr>
      </p:pic>
      <p:pic>
        <p:nvPicPr>
          <p:cNvPr id="14" name="Picture 9" descr="A picture containing text, person, indoor&#10;&#10;Description automatically generated">
            <a:extLst>
              <a:ext uri="{FF2B5EF4-FFF2-40B4-BE49-F238E27FC236}">
                <a16:creationId xmlns:a16="http://schemas.microsoft.com/office/drawing/2014/main" id="{3BDB5BD2-752B-642D-74D3-52CEEE00B4A6}"/>
              </a:ext>
            </a:extLst>
          </p:cNvPr>
          <p:cNvPicPr>
            <a:picLocks noChangeAspect="1"/>
          </p:cNvPicPr>
          <p:nvPr/>
        </p:nvPicPr>
        <p:blipFill>
          <a:blip r:embed="rId5"/>
          <a:stretch>
            <a:fillRect/>
          </a:stretch>
        </p:blipFill>
        <p:spPr>
          <a:xfrm>
            <a:off x="9521781" y="2410226"/>
            <a:ext cx="2410496" cy="1812169"/>
          </a:xfrm>
          <a:prstGeom prst="rect">
            <a:avLst/>
          </a:prstGeom>
        </p:spPr>
      </p:pic>
      <p:pic>
        <p:nvPicPr>
          <p:cNvPr id="15" name="Picture 11" descr="Graphical user interface, application&#10;&#10;Description automatically generated">
            <a:extLst>
              <a:ext uri="{FF2B5EF4-FFF2-40B4-BE49-F238E27FC236}">
                <a16:creationId xmlns:a16="http://schemas.microsoft.com/office/drawing/2014/main" id="{B637D871-927A-C79F-A977-0B35BEDE7A42}"/>
              </a:ext>
            </a:extLst>
          </p:cNvPr>
          <p:cNvPicPr>
            <a:picLocks noChangeAspect="1"/>
          </p:cNvPicPr>
          <p:nvPr/>
        </p:nvPicPr>
        <p:blipFill>
          <a:blip r:embed="rId6"/>
          <a:stretch>
            <a:fillRect/>
          </a:stretch>
        </p:blipFill>
        <p:spPr>
          <a:xfrm>
            <a:off x="3758484" y="2164723"/>
            <a:ext cx="2281708" cy="2292440"/>
          </a:xfrm>
          <a:prstGeom prst="rect">
            <a:avLst/>
          </a:prstGeom>
        </p:spPr>
      </p:pic>
    </p:spTree>
    <p:extLst>
      <p:ext uri="{BB962C8B-B14F-4D97-AF65-F5344CB8AC3E}">
        <p14:creationId xmlns:p14="http://schemas.microsoft.com/office/powerpoint/2010/main" val="2766997262"/>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908208"/>
            <a:ext cx="4158362" cy="2215991"/>
          </a:xfrm>
        </p:spPr>
        <p:txBody>
          <a:bodyPr/>
          <a:lstStyle/>
          <a:p>
            <a:r>
              <a:rPr lang="en-US"/>
              <a:t>Vector Configuration w/Azure OpenAI service Vectorizer</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354217"/>
          </a:xfrm>
        </p:spPr>
        <p:txBody>
          <a:bodyPr vert="horz" wrap="square" lIns="0" tIns="0" rIns="0" bIns="0" rtlCol="0" anchor="t">
            <a:spAutoFit/>
          </a:bodyPr>
          <a:lstStyle/>
          <a:p>
            <a:r>
              <a:rPr lang="en-US" i="1">
                <a:cs typeface="Segoe UI"/>
              </a:rPr>
              <a:t>I want to create a vector search configuration so that I can set the appropriate parameters for my search experience.</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0042" y="240435"/>
            <a:ext cx="6043750" cy="646638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Search</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lgorithms"</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Hnsw</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kind"</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hnsw</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ExhaustiveKNN</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kind"</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e</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xhaustiveKnn</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vectorizers"</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AzureOpenAIVectorizer</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azureOpenAI</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azureOpenAIParameters</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resourceUri</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ttps://my-openai.openai.azure.com"</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apiKey</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xxx"</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deploymentId</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embedding-ada-002"</a:t>
            </a:r>
            <a:endPar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profiles"</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name"</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HnswProfile</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lgorithm"</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Hnsw</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1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vectorizer"</a:t>
            </a: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1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yAzureOpenAIVectorizer</a:t>
            </a:r>
            <a:r>
              <a:rPr kumimoji="0" lang="en-US" sz="11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endPar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1440222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7EDF57E-B95F-B4BB-59BC-3F040C4CF2F3}"/>
              </a:ext>
            </a:extLst>
          </p:cNvPr>
          <p:cNvSpPr>
            <a:spLocks noGrp="1"/>
          </p:cNvSpPr>
          <p:nvPr>
            <p:ph type="title"/>
          </p:nvPr>
        </p:nvSpPr>
        <p:spPr/>
        <p:txBody>
          <a:bodyPr/>
          <a:lstStyle/>
          <a:p>
            <a:r>
              <a:rPr lang="en-US" dirty="0"/>
              <a:t>Vector Configuration</a:t>
            </a:r>
          </a:p>
        </p:txBody>
      </p:sp>
      <p:pic>
        <p:nvPicPr>
          <p:cNvPr id="7" name="Picture 6">
            <a:extLst>
              <a:ext uri="{FF2B5EF4-FFF2-40B4-BE49-F238E27FC236}">
                <a16:creationId xmlns:a16="http://schemas.microsoft.com/office/drawing/2014/main" id="{19AF87F9-6627-9B58-2AC6-EFE6E7B82836}"/>
              </a:ext>
            </a:extLst>
          </p:cNvPr>
          <p:cNvPicPr>
            <a:picLocks noChangeAspect="1"/>
          </p:cNvPicPr>
          <p:nvPr/>
        </p:nvPicPr>
        <p:blipFill>
          <a:blip r:embed="rId2"/>
          <a:stretch>
            <a:fillRect/>
          </a:stretch>
        </p:blipFill>
        <p:spPr>
          <a:xfrm>
            <a:off x="698416" y="1860490"/>
            <a:ext cx="5668649" cy="2519400"/>
          </a:xfrm>
          <a:prstGeom prst="rect">
            <a:avLst/>
          </a:prstGeom>
        </p:spPr>
      </p:pic>
      <p:pic>
        <p:nvPicPr>
          <p:cNvPr id="9" name="Picture 8">
            <a:extLst>
              <a:ext uri="{FF2B5EF4-FFF2-40B4-BE49-F238E27FC236}">
                <a16:creationId xmlns:a16="http://schemas.microsoft.com/office/drawing/2014/main" id="{DF1626EF-F20D-EF11-E157-959A67D0F4D2}"/>
              </a:ext>
            </a:extLst>
          </p:cNvPr>
          <p:cNvPicPr>
            <a:picLocks noChangeAspect="1"/>
          </p:cNvPicPr>
          <p:nvPr/>
        </p:nvPicPr>
        <p:blipFill>
          <a:blip r:embed="rId3"/>
          <a:stretch>
            <a:fillRect/>
          </a:stretch>
        </p:blipFill>
        <p:spPr>
          <a:xfrm>
            <a:off x="6984438" y="1530998"/>
            <a:ext cx="4622345" cy="3796004"/>
          </a:xfrm>
          <a:prstGeom prst="rect">
            <a:avLst/>
          </a:prstGeom>
        </p:spPr>
      </p:pic>
      <p:pic>
        <p:nvPicPr>
          <p:cNvPr id="11" name="Picture 10">
            <a:extLst>
              <a:ext uri="{FF2B5EF4-FFF2-40B4-BE49-F238E27FC236}">
                <a16:creationId xmlns:a16="http://schemas.microsoft.com/office/drawing/2014/main" id="{FD14C2F9-8B5A-6F21-3740-9DFF047BE02A}"/>
              </a:ext>
            </a:extLst>
          </p:cNvPr>
          <p:cNvPicPr>
            <a:picLocks noChangeAspect="1"/>
          </p:cNvPicPr>
          <p:nvPr/>
        </p:nvPicPr>
        <p:blipFill>
          <a:blip r:embed="rId4"/>
          <a:stretch>
            <a:fillRect/>
          </a:stretch>
        </p:blipFill>
        <p:spPr>
          <a:xfrm>
            <a:off x="3801766" y="2628339"/>
            <a:ext cx="4786090" cy="3772461"/>
          </a:xfrm>
          <a:prstGeom prst="rect">
            <a:avLst/>
          </a:prstGeom>
        </p:spPr>
      </p:pic>
    </p:spTree>
    <p:extLst>
      <p:ext uri="{BB962C8B-B14F-4D97-AF65-F5344CB8AC3E}">
        <p14:creationId xmlns:p14="http://schemas.microsoft.com/office/powerpoint/2010/main" val="2043075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D3164B-3E35-38F1-7DBA-A58E4577D91A}"/>
              </a:ext>
            </a:extLst>
          </p:cNvPr>
          <p:cNvSpPr>
            <a:spLocks noGrp="1"/>
          </p:cNvSpPr>
          <p:nvPr>
            <p:ph type="title"/>
          </p:nvPr>
        </p:nvSpPr>
        <p:spPr/>
        <p:txBody>
          <a:bodyPr/>
          <a:lstStyle/>
          <a:p>
            <a:r>
              <a:rPr lang="en-US" dirty="0"/>
              <a:t>Integrated vectorization</a:t>
            </a:r>
          </a:p>
        </p:txBody>
      </p:sp>
      <p:sp>
        <p:nvSpPr>
          <p:cNvPr id="6" name="Text Placeholder 5">
            <a:extLst>
              <a:ext uri="{FF2B5EF4-FFF2-40B4-BE49-F238E27FC236}">
                <a16:creationId xmlns:a16="http://schemas.microsoft.com/office/drawing/2014/main" id="{A2CA9ECE-1AFB-91D8-5E92-4B11B3C3F8D8}"/>
              </a:ext>
            </a:extLst>
          </p:cNvPr>
          <p:cNvSpPr>
            <a:spLocks noGrp="1"/>
          </p:cNvSpPr>
          <p:nvPr>
            <p:ph type="body" sz="quarter" idx="10"/>
          </p:nvPr>
        </p:nvSpPr>
        <p:spPr/>
        <p:txBody>
          <a:bodyPr/>
          <a:lstStyle/>
          <a:p>
            <a:endParaRPr lang="en-US"/>
          </a:p>
        </p:txBody>
      </p:sp>
      <p:pic>
        <p:nvPicPr>
          <p:cNvPr id="8" name="Picture 7">
            <a:extLst>
              <a:ext uri="{FF2B5EF4-FFF2-40B4-BE49-F238E27FC236}">
                <a16:creationId xmlns:a16="http://schemas.microsoft.com/office/drawing/2014/main" id="{27D6B278-3724-F8FD-6F39-2DDC934BE9C2}"/>
              </a:ext>
            </a:extLst>
          </p:cNvPr>
          <p:cNvPicPr>
            <a:picLocks noChangeAspect="1"/>
          </p:cNvPicPr>
          <p:nvPr/>
        </p:nvPicPr>
        <p:blipFill>
          <a:blip r:embed="rId2"/>
          <a:stretch>
            <a:fillRect/>
          </a:stretch>
        </p:blipFill>
        <p:spPr>
          <a:xfrm>
            <a:off x="707820" y="1161871"/>
            <a:ext cx="10116070" cy="1295467"/>
          </a:xfrm>
          <a:prstGeom prst="rect">
            <a:avLst/>
          </a:prstGeom>
        </p:spPr>
      </p:pic>
      <p:sp>
        <p:nvSpPr>
          <p:cNvPr id="9" name="Rectangle 8">
            <a:extLst>
              <a:ext uri="{FF2B5EF4-FFF2-40B4-BE49-F238E27FC236}">
                <a16:creationId xmlns:a16="http://schemas.microsoft.com/office/drawing/2014/main" id="{ECD0D809-4B98-2ACA-676A-07C2A1A5C37F}"/>
              </a:ext>
            </a:extLst>
          </p:cNvPr>
          <p:cNvSpPr/>
          <p:nvPr/>
        </p:nvSpPr>
        <p:spPr bwMode="auto">
          <a:xfrm>
            <a:off x="5395659" y="1472989"/>
            <a:ext cx="1752018" cy="44673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pic>
        <p:nvPicPr>
          <p:cNvPr id="2050" name="Picture 2" descr="Screenshot of the enrichment page.">
            <a:extLst>
              <a:ext uri="{FF2B5EF4-FFF2-40B4-BE49-F238E27FC236}">
                <a16:creationId xmlns:a16="http://schemas.microsoft.com/office/drawing/2014/main" id="{5349161A-EC0E-C347-7346-6B94DAB375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721" y="2608011"/>
            <a:ext cx="7894552" cy="413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32621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1462206"/>
            <a:ext cx="4158362" cy="1661993"/>
          </a:xfrm>
        </p:spPr>
        <p:txBody>
          <a:bodyPr/>
          <a:lstStyle/>
          <a:p>
            <a:r>
              <a:rPr lang="en-US">
                <a:cs typeface="Segoe UI"/>
              </a:rPr>
              <a:t>Configure Vector fields in your Index Definition</a:t>
            </a:r>
            <a:endParaRPr lang="en-US"/>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015663"/>
          </a:xfrm>
        </p:spPr>
        <p:txBody>
          <a:bodyPr vert="horz" wrap="square" lIns="0" tIns="0" rIns="0" bIns="0" rtlCol="0" anchor="t">
            <a:spAutoFit/>
          </a:bodyPr>
          <a:lstStyle/>
          <a:p>
            <a:r>
              <a:rPr lang="en-US" i="1">
                <a:cs typeface="Segoe UI"/>
              </a:rPr>
              <a:t>I want to create vector field types that will be supported in my nearest neighbor search. </a:t>
            </a:r>
            <a:endParaRPr lang="en-US" i="1"/>
          </a:p>
        </p:txBody>
      </p:sp>
      <p:sp>
        <p:nvSpPr>
          <p:cNvPr id="2" name="Rectangle 1">
            <a:extLst>
              <a:ext uri="{FF2B5EF4-FFF2-40B4-BE49-F238E27FC236}">
                <a16:creationId xmlns:a16="http://schemas.microsoft.com/office/drawing/2014/main" id="{5E2B74C0-9A79-DA1E-0EDA-6B06B0122063}"/>
              </a:ext>
              <a:ext uri="{C183D7F6-B498-43B3-948B-1728B52AA6E4}">
                <adec:decorative xmlns:adec="http://schemas.microsoft.com/office/drawing/2017/decorative" val="1"/>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9" y="574675"/>
            <a:ext cx="6043750" cy="320087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nam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0451A5"/>
                </a:solidFill>
                <a:effectLst/>
                <a:uLnTx/>
                <a:uFillTx/>
                <a:latin typeface="Consolas"/>
                <a:ea typeface="+mn-ea"/>
                <a:cs typeface="Segoe UI"/>
              </a:rPr>
              <a:t>“</a:t>
            </a:r>
            <a:r>
              <a:rPr kumimoji="0" lang="en-US" sz="1600" b="0" i="0" u="none" strike="noStrike" kern="1200" cap="none" spc="0" normalizeH="0" baseline="0" noProof="0" err="1">
                <a:ln>
                  <a:noFill/>
                </a:ln>
                <a:solidFill>
                  <a:srgbClr val="0451A5"/>
                </a:solidFill>
                <a:effectLst/>
                <a:uLnTx/>
                <a:uFillTx/>
                <a:latin typeface="Consolas"/>
                <a:ea typeface="+mn-ea"/>
                <a:cs typeface="Segoe UI"/>
              </a:rPr>
              <a:t>contentVector</a:t>
            </a:r>
            <a:r>
              <a:rPr kumimoji="0" lang="en-US" sz="1600" b="0" i="0" u="none" strike="noStrike" kern="1200" cap="none" spc="0" normalizeH="0" baseline="0" noProof="0">
                <a:ln>
                  <a:noFill/>
                </a:ln>
                <a:solidFill>
                  <a:srgbClr val="0451A5"/>
                </a:solidFill>
                <a:effectLst/>
                <a:uLnTx/>
                <a:uFillTx/>
                <a:latin typeface="Consolas"/>
                <a:ea typeface="+mn-ea"/>
                <a:cs typeface="Segoe UI"/>
              </a:rPr>
              <a:t>"</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typ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0451A5"/>
                </a:solidFill>
                <a:effectLst/>
                <a:uLnTx/>
                <a:uFillTx/>
                <a:latin typeface="Consolas"/>
                <a:ea typeface="+mn-ea"/>
                <a:cs typeface="Segoe UI"/>
              </a:rPr>
              <a:t>"Collection(</a:t>
            </a:r>
            <a:r>
              <a:rPr kumimoji="0" lang="en-US" sz="1600" b="0" i="0" u="none" strike="noStrike" kern="1200" cap="none" spc="0" normalizeH="0" baseline="0" noProof="0" err="1">
                <a:ln>
                  <a:noFill/>
                </a:ln>
                <a:solidFill>
                  <a:srgbClr val="0451A5"/>
                </a:solidFill>
                <a:effectLst/>
                <a:uLnTx/>
                <a:uFillTx/>
                <a:latin typeface="Consolas"/>
                <a:ea typeface="+mn-ea"/>
                <a:cs typeface="Segoe UI"/>
              </a:rPr>
              <a:t>Edm.Single</a:t>
            </a:r>
            <a:r>
              <a:rPr kumimoji="0" lang="en-US" sz="1600" b="0" i="0" u="none" strike="noStrike" kern="1200" cap="none" spc="0" normalizeH="0" baseline="0" noProof="0">
                <a:ln>
                  <a:noFill/>
                </a:ln>
                <a:solidFill>
                  <a:srgbClr val="0451A5"/>
                </a:solidFill>
                <a:effectLst/>
                <a:uLnTx/>
                <a:uFillTx/>
                <a:latin typeface="Consolas"/>
                <a:ea typeface="+mn-ea"/>
                <a:cs typeface="Segoe UI"/>
              </a:rPr>
              <a:t>)"</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dimensions"</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098658"/>
                </a:solidFill>
                <a:effectLst/>
                <a:uLnTx/>
                <a:uFillTx/>
                <a:latin typeface="Consolas"/>
                <a:ea typeface="+mn-ea"/>
                <a:cs typeface="Segoe UI"/>
              </a:rPr>
              <a:t>1536</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a:t>
            </a:r>
            <a:r>
              <a:rPr kumimoji="0" lang="en-US" sz="1600" b="0" i="0" u="none" strike="noStrike" kern="1200" cap="none" spc="0" normalizeH="0" baseline="0" noProof="0" err="1">
                <a:ln>
                  <a:noFill/>
                </a:ln>
                <a:solidFill>
                  <a:srgbClr val="A31515"/>
                </a:solidFill>
                <a:effectLst/>
                <a:uLnTx/>
                <a:uFillTx/>
                <a:latin typeface="Consolas"/>
                <a:ea typeface="+mn-ea"/>
                <a:cs typeface="Segoe UI"/>
              </a:rPr>
              <a:t>vectorSearch</a:t>
            </a:r>
            <a:r>
              <a:rPr kumimoji="0" lang="en-US" sz="1600" b="0" i="0" u="none" strike="noStrike" kern="1200" cap="none" spc="0" normalizeH="0" baseline="0" noProof="0">
                <a:ln>
                  <a:noFill/>
                </a:ln>
                <a:solidFill>
                  <a:srgbClr val="A31515"/>
                </a:solidFill>
                <a:effectLst/>
                <a:uLnTx/>
                <a:uFillTx/>
                <a:latin typeface="Consolas"/>
                <a:ea typeface="+mn-ea"/>
                <a:cs typeface="Segoe UI"/>
              </a:rPr>
              <a:t>Profil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0451A5"/>
                </a:solidFill>
                <a:effectLst/>
                <a:uLnTx/>
                <a:uFillTx/>
                <a:latin typeface="Consolas"/>
                <a:ea typeface="+mn-ea"/>
                <a:cs typeface="Segoe UI"/>
              </a:rPr>
              <a:t>"my-vector-profile"</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searchabl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1" i="0" u="none" strike="noStrike" kern="1200" cap="none" spc="0" normalizeH="0" baseline="0" noProof="0">
                <a:ln>
                  <a:noFill/>
                </a:ln>
                <a:solidFill>
                  <a:srgbClr val="0451A5"/>
                </a:solidFill>
                <a:effectLst/>
                <a:uLnTx/>
                <a:uFillTx/>
                <a:latin typeface="Consolas"/>
                <a:ea typeface="+mn-ea"/>
                <a:cs typeface="Segoe UI"/>
              </a:rPr>
              <a:t>true</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retrievabl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1" i="0" u="none" strike="noStrike" kern="1200" cap="none" spc="0" normalizeH="0" baseline="0" noProof="0">
                <a:ln>
                  <a:noFill/>
                </a:ln>
                <a:solidFill>
                  <a:srgbClr val="0451A5"/>
                </a:solidFill>
                <a:effectLst/>
                <a:uLnTx/>
                <a:uFillTx/>
                <a:latin typeface="Consolas"/>
                <a:ea typeface="+mn-ea"/>
                <a:cs typeface="Segoe UI"/>
              </a:rPr>
              <a:t>true</a:t>
            </a:r>
            <a:r>
              <a:rPr kumimoji="0" lang="en-US" sz="1600" b="0" i="0" u="none" strike="noStrike" kern="1200" cap="none" spc="0" normalizeH="0" baseline="0" noProof="0">
                <a:ln>
                  <a:noFill/>
                </a:ln>
                <a:solidFill>
                  <a:srgbClr val="000000"/>
                </a:solidFill>
                <a:effectLst/>
                <a:uLnTx/>
                <a:uFillTx/>
                <a:latin typeface="Consolas"/>
                <a:ea typeface="+mn-ea"/>
                <a:cs typeface="Segoe UI"/>
              </a:rPr>
              <a:t> | </a:t>
            </a:r>
            <a:r>
              <a:rPr kumimoji="0" lang="en-US" sz="1600" b="1" i="0" u="none" strike="noStrike" kern="1200" cap="none" spc="0" normalizeH="0" baseline="0" noProof="0">
                <a:ln>
                  <a:noFill/>
                </a:ln>
                <a:solidFill>
                  <a:srgbClr val="0451A5"/>
                </a:solidFill>
                <a:effectLst/>
                <a:uLnTx/>
                <a:uFillTx/>
                <a:latin typeface="Consolas"/>
                <a:ea typeface="+mn-ea"/>
                <a:cs typeface="Segoe UI"/>
              </a:rPr>
              <a:t>false</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filterabl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1" i="0" u="none" strike="noStrike" kern="1200" cap="none" spc="0" normalizeH="0" baseline="0" noProof="0">
                <a:ln>
                  <a:noFill/>
                </a:ln>
                <a:solidFill>
                  <a:srgbClr val="0451A5"/>
                </a:solidFill>
                <a:effectLst/>
                <a:uLnTx/>
                <a:uFillTx/>
                <a:latin typeface="Consolas"/>
                <a:ea typeface="+mn-ea"/>
                <a:cs typeface="Segoe UI"/>
              </a:rPr>
              <a:t>false</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sortable"</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1" i="0" u="none" strike="noStrike" kern="1200" cap="none" spc="0" normalizeH="0" baseline="0" noProof="0">
                <a:ln>
                  <a:noFill/>
                </a:ln>
                <a:solidFill>
                  <a:srgbClr val="0451A5"/>
                </a:solidFill>
                <a:effectLst/>
                <a:uLnTx/>
                <a:uFillTx/>
                <a:latin typeface="Consolas"/>
                <a:ea typeface="+mn-ea"/>
                <a:cs typeface="Segoe UI"/>
              </a:rPr>
              <a:t>false</a:t>
            </a:r>
            <a:r>
              <a:rPr kumimoji="0" lang="en-US" sz="1600" b="0" i="0" u="none" strike="noStrike" kern="1200" cap="none" spc="0" normalizeH="0" baseline="0" noProof="0">
                <a:ln>
                  <a:noFill/>
                </a:ln>
                <a:solidFill>
                  <a:srgbClr val="000000"/>
                </a:solidFill>
                <a:effectLst/>
                <a:uLnTx/>
                <a:uFillTx/>
                <a:latin typeface="Consolas"/>
                <a:ea typeface="+mn-ea"/>
                <a:cs typeface="Segoe UI"/>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0" i="0" u="none" strike="noStrike" kern="1200" cap="none" spc="0" normalizeH="0" baseline="0" noProof="0">
                <a:ln>
                  <a:noFill/>
                </a:ln>
                <a:solidFill>
                  <a:srgbClr val="A31515"/>
                </a:solidFill>
                <a:effectLst/>
                <a:uLnTx/>
                <a:uFillTx/>
                <a:latin typeface="Consolas"/>
                <a:ea typeface="+mn-ea"/>
                <a:cs typeface="Segoe UI"/>
              </a:rPr>
              <a:t>"</a:t>
            </a:r>
            <a:r>
              <a:rPr kumimoji="0" lang="en-US" sz="1600" b="0" i="0" u="none" strike="noStrike" kern="1200" cap="none" spc="0" normalizeH="0" baseline="0" noProof="0" err="1">
                <a:ln>
                  <a:noFill/>
                </a:ln>
                <a:solidFill>
                  <a:srgbClr val="A31515"/>
                </a:solidFill>
                <a:effectLst/>
                <a:uLnTx/>
                <a:uFillTx/>
                <a:latin typeface="Consolas"/>
                <a:ea typeface="+mn-ea"/>
                <a:cs typeface="Segoe UI"/>
              </a:rPr>
              <a:t>facetable</a:t>
            </a:r>
            <a:r>
              <a:rPr kumimoji="0" lang="en-US" sz="1600" b="0" i="0" u="none" strike="noStrike" kern="1200" cap="none" spc="0" normalizeH="0" baseline="0" noProof="0">
                <a:ln>
                  <a:noFill/>
                </a:ln>
                <a:solidFill>
                  <a:srgbClr val="A31515"/>
                </a:solidFill>
                <a:effectLst/>
                <a:uLnTx/>
                <a:uFillTx/>
                <a:latin typeface="Consolas"/>
                <a:ea typeface="+mn-ea"/>
                <a:cs typeface="Segoe UI"/>
              </a:rPr>
              <a:t>"</a:t>
            </a:r>
            <a:r>
              <a:rPr kumimoji="0" lang="en-US" sz="1600" b="0" i="0" u="none" strike="noStrike" kern="1200" cap="none" spc="0" normalizeH="0" baseline="0" noProof="0">
                <a:ln>
                  <a:noFill/>
                </a:ln>
                <a:solidFill>
                  <a:srgbClr val="000000"/>
                </a:solidFill>
                <a:effectLst/>
                <a:uLnTx/>
                <a:uFillTx/>
                <a:latin typeface="Consolas"/>
                <a:ea typeface="+mn-ea"/>
                <a:cs typeface="Segoe UI"/>
              </a:rPr>
              <a:t>: </a:t>
            </a:r>
            <a:r>
              <a:rPr kumimoji="0" lang="en-US" sz="1600" b="1" i="0" u="none" strike="noStrike" kern="1200" cap="none" spc="0" normalizeH="0" baseline="0" noProof="0">
                <a:ln>
                  <a:noFill/>
                </a:ln>
                <a:solidFill>
                  <a:srgbClr val="0451A5"/>
                </a:solidFill>
                <a:effectLst/>
                <a:uLnTx/>
                <a:uFillTx/>
                <a:latin typeface="Consolas"/>
                <a:ea typeface="+mn-ea"/>
                <a:cs typeface="Segoe UI"/>
              </a:rPr>
              <a:t>false</a:t>
            </a:r>
            <a:endParaRPr kumimoji="0" lang="en-US" sz="1600" b="0" i="0" u="none" strike="noStrike" kern="1200" cap="none" spc="0" normalizeH="0" baseline="0" noProof="0">
              <a:ln>
                <a:noFill/>
              </a:ln>
              <a:solidFill>
                <a:srgbClr val="000000"/>
              </a:solidFill>
              <a:effectLst/>
              <a:uLnTx/>
              <a:uFillTx/>
              <a:latin typeface="Consolas"/>
              <a:ea typeface="+mn-ea"/>
              <a:cs typeface="Segoe UI"/>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a:ea typeface="+mn-ea"/>
                <a:cs typeface="Segoe UI"/>
              </a:rPr>
              <a:t>}</a:t>
            </a:r>
          </a:p>
        </p:txBody>
      </p:sp>
    </p:spTree>
    <p:extLst>
      <p:ext uri="{BB962C8B-B14F-4D97-AF65-F5344CB8AC3E}">
        <p14:creationId xmlns:p14="http://schemas.microsoft.com/office/powerpoint/2010/main" val="2813226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61A99C-37E7-D19D-E130-B3C6676CCA6C}"/>
              </a:ext>
            </a:extLst>
          </p:cNvPr>
          <p:cNvSpPr>
            <a:spLocks noGrp="1"/>
          </p:cNvSpPr>
          <p:nvPr>
            <p:ph type="title"/>
          </p:nvPr>
        </p:nvSpPr>
        <p:spPr/>
        <p:txBody>
          <a:bodyPr/>
          <a:lstStyle/>
          <a:p>
            <a:r>
              <a:rPr lang="en-US" dirty="0"/>
              <a:t>Vector Query</a:t>
            </a:r>
          </a:p>
        </p:txBody>
      </p:sp>
      <p:sp>
        <p:nvSpPr>
          <p:cNvPr id="6" name="Text Placeholder 5">
            <a:extLst>
              <a:ext uri="{FF2B5EF4-FFF2-40B4-BE49-F238E27FC236}">
                <a16:creationId xmlns:a16="http://schemas.microsoft.com/office/drawing/2014/main" id="{631F4714-383C-EF69-FAB1-C339B6045BA3}"/>
              </a:ext>
            </a:extLst>
          </p:cNvPr>
          <p:cNvSpPr>
            <a:spLocks noGrp="1"/>
          </p:cNvSpPr>
          <p:nvPr>
            <p:ph type="body" sz="quarter" idx="10"/>
          </p:nvPr>
        </p:nvSpPr>
        <p:spPr/>
        <p:txBody>
          <a:bodyPr/>
          <a:lstStyle/>
          <a:p>
            <a:endParaRPr lang="en-US" dirty="0"/>
          </a:p>
        </p:txBody>
      </p:sp>
      <p:pic>
        <p:nvPicPr>
          <p:cNvPr id="8" name="Picture 7">
            <a:extLst>
              <a:ext uri="{FF2B5EF4-FFF2-40B4-BE49-F238E27FC236}">
                <a16:creationId xmlns:a16="http://schemas.microsoft.com/office/drawing/2014/main" id="{1067CE1B-9DED-CDF5-DDCA-FDA8941CE648}"/>
              </a:ext>
            </a:extLst>
          </p:cNvPr>
          <p:cNvPicPr>
            <a:picLocks noChangeAspect="1"/>
          </p:cNvPicPr>
          <p:nvPr/>
        </p:nvPicPr>
        <p:blipFill rotWithShape="1">
          <a:blip r:embed="rId2"/>
          <a:srcRect b="55320"/>
          <a:stretch/>
        </p:blipFill>
        <p:spPr>
          <a:xfrm>
            <a:off x="419111" y="2118642"/>
            <a:ext cx="5735395" cy="3064176"/>
          </a:xfrm>
          <a:prstGeom prst="rect">
            <a:avLst/>
          </a:prstGeom>
        </p:spPr>
      </p:pic>
      <p:pic>
        <p:nvPicPr>
          <p:cNvPr id="9" name="Picture 8">
            <a:extLst>
              <a:ext uri="{FF2B5EF4-FFF2-40B4-BE49-F238E27FC236}">
                <a16:creationId xmlns:a16="http://schemas.microsoft.com/office/drawing/2014/main" id="{6A194D52-BA86-A97A-4011-0903C25BCA5B}"/>
              </a:ext>
            </a:extLst>
          </p:cNvPr>
          <p:cNvPicPr>
            <a:picLocks noChangeAspect="1"/>
          </p:cNvPicPr>
          <p:nvPr/>
        </p:nvPicPr>
        <p:blipFill rotWithShape="1">
          <a:blip r:embed="rId2"/>
          <a:srcRect t="44267"/>
          <a:stretch/>
        </p:blipFill>
        <p:spPr>
          <a:xfrm>
            <a:off x="6154506" y="1831598"/>
            <a:ext cx="5735395" cy="3822191"/>
          </a:xfrm>
          <a:prstGeom prst="rect">
            <a:avLst/>
          </a:prstGeom>
        </p:spPr>
      </p:pic>
      <p:sp>
        <p:nvSpPr>
          <p:cNvPr id="11" name="TextBox 10">
            <a:extLst>
              <a:ext uri="{FF2B5EF4-FFF2-40B4-BE49-F238E27FC236}">
                <a16:creationId xmlns:a16="http://schemas.microsoft.com/office/drawing/2014/main" id="{56C0D5CD-E93C-81A7-32EB-113D0245A72D}"/>
              </a:ext>
            </a:extLst>
          </p:cNvPr>
          <p:cNvSpPr txBox="1"/>
          <p:nvPr/>
        </p:nvSpPr>
        <p:spPr>
          <a:xfrm>
            <a:off x="362969" y="6153395"/>
            <a:ext cx="6798668" cy="369332"/>
          </a:xfrm>
          <a:prstGeom prst="rect">
            <a:avLst/>
          </a:prstGeom>
          <a:noFill/>
        </p:spPr>
        <p:txBody>
          <a:bodyPr wrap="square">
            <a:spAutoFit/>
          </a:bodyPr>
          <a:lstStyle/>
          <a:p>
            <a:r>
              <a:rPr lang="en-US" dirty="0">
                <a:hlinkClick r:id="rId3"/>
              </a:rPr>
              <a:t>Vector query how-to - Azure AI Search | Microsoft Learn</a:t>
            </a:r>
            <a:endParaRPr lang="en-US" dirty="0"/>
          </a:p>
        </p:txBody>
      </p:sp>
    </p:spTree>
    <p:extLst>
      <p:ext uri="{BB962C8B-B14F-4D97-AF65-F5344CB8AC3E}">
        <p14:creationId xmlns:p14="http://schemas.microsoft.com/office/powerpoint/2010/main" val="313101764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016203"/>
            <a:ext cx="4158362" cy="1107996"/>
          </a:xfrm>
        </p:spPr>
        <p:txBody>
          <a:bodyPr/>
          <a:lstStyle/>
          <a:p>
            <a:r>
              <a:rPr lang="en-US">
                <a:cs typeface="Segoe UI"/>
              </a:rPr>
              <a:t>Pure vector search (Exhaustive) </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2166747"/>
          </a:xfrm>
        </p:spPr>
        <p:txBody>
          <a:bodyPr vert="horz" wrap="square" lIns="0" tIns="0" rIns="0" bIns="0" rtlCol="0" anchor="t">
            <a:spAutoFit/>
          </a:bodyPr>
          <a:lstStyle/>
          <a:p>
            <a:r>
              <a:rPr lang="en-US" i="1" dirty="0">
                <a:cs typeface="Segoe UI"/>
              </a:rPr>
              <a:t>I want to exhaustively search all the vectors in my index to find the ground-truth values. </a:t>
            </a:r>
          </a:p>
          <a:p>
            <a:endParaRPr lang="en-US" i="1" dirty="0">
              <a:cs typeface="Segoe UI"/>
            </a:endParaRPr>
          </a:p>
          <a:p>
            <a:r>
              <a:rPr lang="en-US" i="1" dirty="0">
                <a:cs typeface="Segoe UI"/>
              </a:rPr>
              <a:t>Alternatively, you can use this with smaller index sizes.</a:t>
            </a:r>
            <a:endParaRPr lang="en-US" i="1" dirty="0"/>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239436" y="-4487"/>
            <a:ext cx="6941528"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8" y="574675"/>
            <a:ext cx="6511685" cy="399494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ealthy foo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exhaustive"</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rue"</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1620184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016203"/>
            <a:ext cx="4158362" cy="1107996"/>
          </a:xfrm>
        </p:spPr>
        <p:txBody>
          <a:bodyPr/>
          <a:lstStyle/>
          <a:p>
            <a:r>
              <a:rPr lang="en-US">
                <a:cs typeface="Segoe UI"/>
              </a:rPr>
              <a:t>Vectors search with Filters</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692771"/>
          </a:xfrm>
        </p:spPr>
        <p:txBody>
          <a:bodyPr vert="horz" wrap="square" lIns="0" tIns="0" rIns="0" bIns="0" rtlCol="0" anchor="t">
            <a:spAutoFit/>
          </a:bodyPr>
          <a:lstStyle/>
          <a:p>
            <a:r>
              <a:rPr lang="en-US" i="1">
                <a:cs typeface="Segoe UI"/>
              </a:rPr>
              <a:t>I want to use vectors with pre-filtering, so that I can limit the number of matched documents. I also want to use query vectorization.</a:t>
            </a:r>
            <a:endParaRPr lang="en-US" i="1"/>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239436" y="-4487"/>
            <a:ext cx="6941528"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8" y="574675"/>
            <a:ext cx="6511685" cy="44012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ealthy foo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FilterMode</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preFilter</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lter"</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category eq ‘fruits’"</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360929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1462206"/>
            <a:ext cx="4158362" cy="1661993"/>
          </a:xfrm>
        </p:spPr>
        <p:txBody>
          <a:bodyPr/>
          <a:lstStyle/>
          <a:p>
            <a:r>
              <a:rPr lang="en-US" dirty="0">
                <a:cs typeface="Segoe UI"/>
              </a:rPr>
              <a:t>Pure Vector search w/Vectorizer  or Raw Vector</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2031325"/>
          </a:xfrm>
        </p:spPr>
        <p:txBody>
          <a:bodyPr vert="horz" wrap="square" lIns="0" tIns="0" rIns="0" bIns="0" rtlCol="0" anchor="t">
            <a:spAutoFit/>
          </a:bodyPr>
          <a:lstStyle/>
          <a:p>
            <a:r>
              <a:rPr lang="en-US" i="1">
                <a:cs typeface="Segoe UI"/>
              </a:rPr>
              <a:t>I want to only use query vectorizer and to do a vector search and rank my search results by cosine similarity score, so that I get the full user intent of my search results.</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76259" y="148886"/>
            <a:ext cx="6043750" cy="29361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800" b="0" i="0" u="none" strike="noStrike" kern="1200" cap="none" spc="0" normalizeH="0" baseline="0" noProof="0" dirty="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451A5"/>
                </a:solidFill>
                <a:effectLst/>
                <a:uLnTx/>
                <a:uFillTx/>
                <a:latin typeface="Consolas" panose="020B0609020204030204" pitchFamily="49" charset="0"/>
                <a:ea typeface="+mn-ea"/>
                <a:cs typeface="Segoe UI" panose="020B0502040204020203" pitchFamily="34" charset="0"/>
              </a:rPr>
              <a:t>“healthy food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5" name="Text Placeholder 4">
            <a:extLst>
              <a:ext uri="{FF2B5EF4-FFF2-40B4-BE49-F238E27FC236}">
                <a16:creationId xmlns:a16="http://schemas.microsoft.com/office/drawing/2014/main" id="{8B2B19B1-79E1-D78F-272D-C68DE40F4A7D}"/>
              </a:ext>
            </a:extLst>
          </p:cNvPr>
          <p:cNvSpPr txBox="1">
            <a:spLocks/>
          </p:cNvSpPr>
          <p:nvPr/>
        </p:nvSpPr>
        <p:spPr>
          <a:xfrm>
            <a:off x="5747656" y="3457734"/>
            <a:ext cx="6043750" cy="293618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800" b="0" i="0" u="none" strike="noStrike" kern="1200" cap="none" spc="0" normalizeH="0" baseline="0" noProof="0" dirty="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451A5"/>
                </a:solidFill>
                <a:effectLst/>
                <a:uLnTx/>
                <a:uFillTx/>
                <a:latin typeface="Consolas" panose="020B0609020204030204" pitchFamily="49" charset="0"/>
                <a:ea typeface="+mn-ea"/>
                <a:cs typeface="Segoe UI" panose="020B0502040204020203" pitchFamily="34" charset="0"/>
              </a:rPr>
              <a:t>"vecto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vecto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98658"/>
                </a:solidFill>
                <a:effectLst/>
                <a:uLnTx/>
                <a:uFillTx/>
                <a:latin typeface="Consolas" panose="020B0609020204030204" pitchFamily="49" charset="0"/>
                <a:ea typeface="+mn-ea"/>
                <a:cs typeface="Segoe UI" panose="020B0502040204020203" pitchFamily="34" charset="0"/>
              </a:rPr>
              <a:t>1</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98658"/>
                </a:solidFill>
                <a:effectLst/>
                <a:uLnTx/>
                <a:uFillTx/>
                <a:latin typeface="Consolas" panose="020B0609020204030204" pitchFamily="49" charset="0"/>
                <a:ea typeface="+mn-ea"/>
                <a:cs typeface="Segoe UI" panose="020B0502040204020203" pitchFamily="34" charset="0"/>
              </a:rPr>
              <a:t>2, 3</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800" b="0" i="0" u="none" strike="noStrike" kern="1200" cap="none" spc="0" normalizeH="0" baseline="0" noProof="0" dirty="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2172006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016203"/>
            <a:ext cx="4158362" cy="1107996"/>
          </a:xfrm>
        </p:spPr>
        <p:txBody>
          <a:bodyPr/>
          <a:lstStyle/>
          <a:p>
            <a:r>
              <a:rPr lang="en-US">
                <a:cs typeface="Segoe UI"/>
              </a:rPr>
              <a:t>Cross-Field Vector Query</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354217"/>
          </a:xfrm>
        </p:spPr>
        <p:txBody>
          <a:bodyPr vert="horz" wrap="square" lIns="0" tIns="0" rIns="0" bIns="0" rtlCol="0" anchor="t">
            <a:spAutoFit/>
          </a:bodyPr>
          <a:lstStyle/>
          <a:p>
            <a:r>
              <a:rPr lang="en-US" i="1">
                <a:cs typeface="Segoe UI"/>
              </a:rPr>
              <a:t>I want to use vectors and search over multiple fields so that I can leverage multiple vector fields into my similarity function.</a:t>
            </a:r>
            <a:endParaRPr lang="en-US" i="1"/>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239436" y="-4487"/>
            <a:ext cx="6941528"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9" y="574675"/>
            <a:ext cx="6330938" cy="3927229"/>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vector"</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98658"/>
                </a:solidFill>
                <a:effectLst/>
                <a:uLnTx/>
                <a:uFillTx/>
                <a:latin typeface="Consolas" panose="020B0609020204030204" pitchFamily="49" charset="0"/>
                <a:ea typeface="+mn-ea"/>
                <a:cs typeface="Segoe UI" panose="020B0502040204020203" pitchFamily="34" charset="0"/>
              </a:rPr>
              <a:t>1</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98658"/>
                </a:solidFill>
                <a:effectLst/>
                <a:uLnTx/>
                <a:uFillTx/>
                <a:latin typeface="Consolas" panose="020B0609020204030204" pitchFamily="49" charset="0"/>
                <a:ea typeface="+mn-ea"/>
                <a:cs typeface="Segoe UI" panose="020B0502040204020203" pitchFamily="34" charset="0"/>
              </a:rPr>
              <a:t>2, 3</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titlevector</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contentVector</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2756911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570201"/>
            <a:ext cx="4158362" cy="553998"/>
          </a:xfrm>
        </p:spPr>
        <p:txBody>
          <a:bodyPr/>
          <a:lstStyle/>
          <a:p>
            <a:r>
              <a:rPr lang="en-US">
                <a:cs typeface="Segoe UI"/>
              </a:rPr>
              <a:t>Hybrid Search</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354217"/>
          </a:xfrm>
        </p:spPr>
        <p:txBody>
          <a:bodyPr vert="horz" wrap="square" lIns="0" tIns="0" rIns="0" bIns="0" rtlCol="0" anchor="t">
            <a:spAutoFit/>
          </a:bodyPr>
          <a:lstStyle/>
          <a:p>
            <a:r>
              <a:rPr lang="en-US" i="1">
                <a:cs typeface="Segoe UI"/>
              </a:rPr>
              <a:t>I want to use hybrid search (text + vectors) so that I can leverage both vectors and keywords for my search relevance.</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8" y="574675"/>
            <a:ext cx="6522721" cy="399494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ealthy foo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search"</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 " healthy foods"</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Tree>
    <p:extLst>
      <p:ext uri="{BB962C8B-B14F-4D97-AF65-F5344CB8AC3E}">
        <p14:creationId xmlns:p14="http://schemas.microsoft.com/office/powerpoint/2010/main" val="351002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E365C-FAB3-DD36-22D1-D8BA1C3668DA}"/>
              </a:ext>
            </a:extLst>
          </p:cNvPr>
          <p:cNvSpPr>
            <a:spLocks noGrp="1"/>
          </p:cNvSpPr>
          <p:nvPr>
            <p:ph type="title"/>
          </p:nvPr>
        </p:nvSpPr>
        <p:spPr/>
        <p:txBody>
          <a:bodyPr wrap="square" anchor="t">
            <a:normAutofit/>
          </a:bodyPr>
          <a:lstStyle/>
          <a:p>
            <a:r>
              <a:rPr lang="en-US" dirty="0"/>
              <a:t>Key Terminology</a:t>
            </a:r>
          </a:p>
        </p:txBody>
      </p:sp>
      <p:graphicFrame>
        <p:nvGraphicFramePr>
          <p:cNvPr id="6" name="Content Placeholder 5">
            <a:extLst>
              <a:ext uri="{FF2B5EF4-FFF2-40B4-BE49-F238E27FC236}">
                <a16:creationId xmlns:a16="http://schemas.microsoft.com/office/drawing/2014/main" id="{34EE9069-9227-6814-C389-77CA1F2C59B8}"/>
              </a:ext>
            </a:extLst>
          </p:cNvPr>
          <p:cNvGraphicFramePr>
            <a:graphicFrameLocks noGrp="1"/>
          </p:cNvGraphicFramePr>
          <p:nvPr>
            <p:ph sz="quarter" idx="10"/>
            <p:extLst>
              <p:ext uri="{D42A27DB-BD31-4B8C-83A1-F6EECF244321}">
                <p14:modId xmlns:p14="http://schemas.microsoft.com/office/powerpoint/2010/main" val="379987706"/>
              </p:ext>
            </p:extLst>
          </p:nvPr>
        </p:nvGraphicFramePr>
        <p:xfrm>
          <a:off x="1049440" y="1554368"/>
          <a:ext cx="11018838" cy="4707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44519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570201"/>
            <a:ext cx="4158362" cy="553998"/>
          </a:xfrm>
        </p:spPr>
        <p:txBody>
          <a:bodyPr/>
          <a:lstStyle/>
          <a:p>
            <a:r>
              <a:rPr lang="en-US">
                <a:cs typeface="Segoe UI"/>
              </a:rPr>
              <a:t>Multi-Vector Query</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354217"/>
          </a:xfrm>
        </p:spPr>
        <p:txBody>
          <a:bodyPr vert="horz" wrap="square" lIns="0" tIns="0" rIns="0" bIns="0" rtlCol="0" anchor="t">
            <a:spAutoFit/>
          </a:bodyPr>
          <a:lstStyle/>
          <a:p>
            <a:r>
              <a:rPr lang="en-US" i="1">
                <a:cs typeface="Segoe UI"/>
              </a:rPr>
              <a:t>I want to use multi-vector queries to pass in two different query embeddings for my multi-modal search use case using CLIP. </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8" y="574675"/>
            <a:ext cx="6522721" cy="562000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yummy vanilla ice cream"</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textVector</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anilla.png"</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imageVector</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6" name="Rectangle 1">
            <a:extLst>
              <a:ext uri="{FF2B5EF4-FFF2-40B4-BE49-F238E27FC236}">
                <a16:creationId xmlns:a16="http://schemas.microsoft.com/office/drawing/2014/main" id="{20533108-BE52-B401-1872-8D0C8FAA26AF}"/>
              </a:ext>
            </a:extLst>
          </p:cNvPr>
          <p:cNvSpPr>
            <a:spLocks noChangeArrowheads="1"/>
          </p:cNvSpPr>
          <p:nvPr/>
        </p:nvSpPr>
        <p:spPr bwMode="auto">
          <a:xfrm>
            <a:off x="0" y="138836"/>
            <a:ext cx="1040349" cy="1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111111"/>
                </a:solidFill>
                <a:effectLst/>
                <a:uLnTx/>
                <a:uFillTx/>
                <a:latin typeface="Arial Unicode MS"/>
                <a:ea typeface="+mn-ea"/>
                <a:cs typeface="+mn-cs"/>
              </a:rPr>
              <a:t>City eq 'New York</a:t>
            </a:r>
            <a:r>
              <a:rPr kumimoji="0" lang="en-US" altLang="en-US" sz="8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52635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016203"/>
            <a:ext cx="4158362" cy="1107996"/>
          </a:xfrm>
        </p:spPr>
        <p:txBody>
          <a:bodyPr/>
          <a:lstStyle/>
          <a:p>
            <a:r>
              <a:rPr lang="en-US">
                <a:cs typeface="Segoe UI"/>
              </a:rPr>
              <a:t>Hybrid Search with Semantic reranking</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692771"/>
          </a:xfrm>
        </p:spPr>
        <p:txBody>
          <a:bodyPr vert="horz" wrap="square" lIns="0" tIns="0" rIns="0" bIns="0" rtlCol="0" anchor="t">
            <a:spAutoFit/>
          </a:bodyPr>
          <a:lstStyle/>
          <a:p>
            <a:r>
              <a:rPr lang="en-US" i="1">
                <a:cs typeface="Segoe UI"/>
              </a:rPr>
              <a:t>I want to use hybrid search (text + vectors) so that I can take advantage of vectors, keywords, and Semantic search capabilities such as captions and answers. </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8" y="574675"/>
            <a:ext cx="6522721" cy="562000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vectorQueries</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kind"</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text"</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ealthy foo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fields"</a:t>
            </a: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22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A31515"/>
                </a:solidFill>
                <a:effectLst/>
                <a:uLnTx/>
                <a:uFillTx/>
                <a:latin typeface="Consolas"/>
                <a:ea typeface="+mn-ea"/>
                <a:cs typeface="Segoe UI"/>
              </a:rPr>
              <a:t>"search"</a:t>
            </a: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0451A5"/>
                </a:solidFill>
                <a:effectLst/>
                <a:uLnTx/>
                <a:uFillTx/>
                <a:latin typeface="Consolas"/>
                <a:ea typeface="+mn-ea"/>
                <a:cs typeface="Segoe UI"/>
              </a:rPr>
              <a:t>“healthy foods”</a:t>
            </a:r>
            <a:endParaRPr kumimoji="0" lang="en-US" sz="2200" b="0" i="0" u="none" strike="noStrike" kern="1200" cap="none" spc="0" normalizeH="0" baseline="0" noProof="0">
              <a:ln>
                <a:noFill/>
              </a:ln>
              <a:solidFill>
                <a:srgbClr val="000000"/>
              </a:solidFill>
              <a:effectLst/>
              <a:uLnTx/>
              <a:uFillTx/>
              <a:latin typeface="Consolas"/>
              <a:ea typeface="+mn-ea"/>
              <a:cs typeface="Segoe UI"/>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A31515"/>
                </a:solidFill>
                <a:effectLst/>
                <a:uLnTx/>
                <a:uFillTx/>
                <a:latin typeface="Consolas"/>
                <a:ea typeface="+mn-ea"/>
                <a:cs typeface="Segoe UI"/>
              </a:rPr>
              <a:t>"</a:t>
            </a:r>
            <a:r>
              <a:rPr kumimoji="0" lang="en-US" sz="2200" b="0" i="0" u="none" strike="noStrike" kern="1200" cap="none" spc="0" normalizeH="0" baseline="0" noProof="0" err="1">
                <a:ln>
                  <a:noFill/>
                </a:ln>
                <a:solidFill>
                  <a:srgbClr val="A31515"/>
                </a:solidFill>
                <a:effectLst/>
                <a:uLnTx/>
                <a:uFillTx/>
                <a:latin typeface="Consolas"/>
                <a:ea typeface="+mn-ea"/>
                <a:cs typeface="Segoe UI"/>
              </a:rPr>
              <a:t>semanticConfiguration</a:t>
            </a:r>
            <a:r>
              <a:rPr kumimoji="0" lang="en-US" sz="2200" b="0" i="0" u="none" strike="noStrike" kern="1200" cap="none" spc="0" normalizeH="0" baseline="0" noProof="0">
                <a:ln>
                  <a:noFill/>
                </a:ln>
                <a:solidFill>
                  <a:srgbClr val="A31515"/>
                </a:solidFill>
                <a:effectLst/>
                <a:uLnTx/>
                <a:uFillTx/>
                <a:latin typeface="Consolas"/>
                <a:ea typeface="+mn-ea"/>
                <a:cs typeface="Segoe UI"/>
              </a:rPr>
              <a:t>"</a:t>
            </a: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0451A5"/>
                </a:solidFill>
                <a:effectLst/>
                <a:uLnTx/>
                <a:uFillTx/>
                <a:latin typeface="Consolas"/>
                <a:ea typeface="+mn-ea"/>
                <a:cs typeface="Segoe UI"/>
              </a:rPr>
              <a:t>“config"</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A31515"/>
                </a:solidFill>
                <a:effectLst/>
                <a:uLnTx/>
                <a:uFillTx/>
                <a:latin typeface="Consolas"/>
                <a:ea typeface="+mn-ea"/>
                <a:cs typeface="Segoe UI"/>
              </a:rPr>
              <a:t>"</a:t>
            </a:r>
            <a:r>
              <a:rPr kumimoji="0" lang="en-US" sz="2200" b="0" i="0" u="none" strike="noStrike" kern="1200" cap="none" spc="0" normalizeH="0" baseline="0" noProof="0" err="1">
                <a:ln>
                  <a:noFill/>
                </a:ln>
                <a:solidFill>
                  <a:srgbClr val="A31515"/>
                </a:solidFill>
                <a:effectLst/>
                <a:uLnTx/>
                <a:uFillTx/>
                <a:latin typeface="Consolas"/>
                <a:ea typeface="+mn-ea"/>
                <a:cs typeface="Segoe UI"/>
              </a:rPr>
              <a:t>queryType</a:t>
            </a:r>
            <a:r>
              <a:rPr kumimoji="0" lang="en-US" sz="2200" b="0" i="0" u="none" strike="noStrike" kern="1200" cap="none" spc="0" normalizeH="0" baseline="0" noProof="0">
                <a:ln>
                  <a:noFill/>
                </a:ln>
                <a:solidFill>
                  <a:srgbClr val="A31515"/>
                </a:solidFill>
                <a:effectLst/>
                <a:uLnTx/>
                <a:uFillTx/>
                <a:latin typeface="Consolas"/>
                <a:ea typeface="+mn-ea"/>
                <a:cs typeface="Segoe UI"/>
              </a:rPr>
              <a:t>"</a:t>
            </a: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0451A5"/>
                </a:solidFill>
                <a:effectLst/>
                <a:uLnTx/>
                <a:uFillTx/>
                <a:latin typeface="Consolas"/>
                <a:ea typeface="+mn-ea"/>
                <a:cs typeface="Segoe UI"/>
              </a:rPr>
              <a:t> "semantic"</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A31515"/>
                </a:solidFill>
                <a:effectLst/>
                <a:uLnTx/>
                <a:uFillTx/>
                <a:latin typeface="Consolas"/>
                <a:ea typeface="+mn-ea"/>
                <a:cs typeface="Segoe UI"/>
              </a:rPr>
              <a:t>  "answers"</a:t>
            </a: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0451A5"/>
                </a:solidFill>
                <a:effectLst/>
                <a:uLnTx/>
                <a:uFillTx/>
                <a:latin typeface="Consolas"/>
                <a:ea typeface="+mn-ea"/>
                <a:cs typeface="Segoe UI"/>
              </a:rPr>
              <a:t>"extractive"</a:t>
            </a:r>
            <a:endParaRPr kumimoji="0" lang="en-US" sz="2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A31515"/>
                </a:solidFill>
                <a:effectLst/>
                <a:uLnTx/>
                <a:uFillTx/>
                <a:latin typeface="Consolas"/>
                <a:ea typeface="+mn-ea"/>
                <a:cs typeface="Segoe UI"/>
              </a:rPr>
              <a:t>  "captions"</a:t>
            </a:r>
            <a:r>
              <a:rPr kumimoji="0" lang="en-US" sz="2200" b="0" i="0" u="none" strike="noStrike" kern="1200" cap="none" spc="0" normalizeH="0" baseline="0" noProof="0">
                <a:ln>
                  <a:noFill/>
                </a:ln>
                <a:solidFill>
                  <a:srgbClr val="000000"/>
                </a:solidFill>
                <a:effectLst/>
                <a:uLnTx/>
                <a:uFillTx/>
                <a:latin typeface="Consolas"/>
                <a:ea typeface="+mn-ea"/>
                <a:cs typeface="Segoe UI"/>
              </a:rPr>
              <a:t>: </a:t>
            </a:r>
            <a:r>
              <a:rPr kumimoji="0" lang="en-US" sz="2200" b="0" i="0" u="none" strike="noStrike" kern="1200" cap="none" spc="0" normalizeH="0" baseline="0" noProof="0">
                <a:ln>
                  <a:noFill/>
                </a:ln>
                <a:solidFill>
                  <a:srgbClr val="0451A5"/>
                </a:solidFill>
                <a:effectLst/>
                <a:uLnTx/>
                <a:uFillTx/>
                <a:latin typeface="Consolas"/>
                <a:ea typeface="+mn-ea"/>
                <a:cs typeface="Segoe UI"/>
              </a:rPr>
              <a:t>"extractive"</a:t>
            </a:r>
            <a:endParaRPr kumimoji="0" lang="en-US" sz="2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6" name="Rectangle 1">
            <a:extLst>
              <a:ext uri="{FF2B5EF4-FFF2-40B4-BE49-F238E27FC236}">
                <a16:creationId xmlns:a16="http://schemas.microsoft.com/office/drawing/2014/main" id="{20533108-BE52-B401-1872-8D0C8FAA26AF}"/>
              </a:ext>
            </a:extLst>
          </p:cNvPr>
          <p:cNvSpPr>
            <a:spLocks noChangeArrowheads="1"/>
          </p:cNvSpPr>
          <p:nvPr/>
        </p:nvSpPr>
        <p:spPr bwMode="auto">
          <a:xfrm>
            <a:off x="0" y="138836"/>
            <a:ext cx="1040349" cy="1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111111"/>
                </a:solidFill>
                <a:effectLst/>
                <a:uLnTx/>
                <a:uFillTx/>
                <a:latin typeface="Arial Unicode MS"/>
                <a:ea typeface="+mn-ea"/>
                <a:cs typeface="+mn-cs"/>
              </a:rPr>
              <a:t>City eq 'New York</a:t>
            </a:r>
            <a:r>
              <a:rPr kumimoji="0" lang="en-US" altLang="en-US" sz="8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7021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8263" y="457200"/>
            <a:ext cx="11018520" cy="553998"/>
          </a:xfrm>
        </p:spPr>
        <p:txBody>
          <a:bodyPr/>
          <a:lstStyle/>
          <a:p>
            <a:r>
              <a:rPr lang="en-US"/>
              <a:t>Generate document embeddings</a:t>
            </a:r>
          </a:p>
        </p:txBody>
      </p:sp>
      <p:sp>
        <p:nvSpPr>
          <p:cNvPr id="9" name="Text Placeholder 8">
            <a:extLst>
              <a:ext uri="{FF2B5EF4-FFF2-40B4-BE49-F238E27FC236}">
                <a16:creationId xmlns:a16="http://schemas.microsoft.com/office/drawing/2014/main" id="{A7E4170E-63AA-43C4-A6A1-CFD422B79A8C}"/>
              </a:ext>
            </a:extLst>
          </p:cNvPr>
          <p:cNvSpPr>
            <a:spLocks noGrp="1"/>
          </p:cNvSpPr>
          <p:nvPr>
            <p:ph type="body" sz="quarter" idx="13"/>
          </p:nvPr>
        </p:nvSpPr>
        <p:spPr>
          <a:xfrm>
            <a:off x="0" y="1436688"/>
            <a:ext cx="3788358" cy="446148"/>
          </a:xfrm>
        </p:spPr>
        <p:txBody>
          <a:bodyPr/>
          <a:lstStyle/>
          <a:p>
            <a:r>
              <a:rPr lang="en-US"/>
              <a:t>docsEmbeddings.py</a:t>
            </a:r>
          </a:p>
        </p:txBody>
      </p:sp>
      <p:sp>
        <p:nvSpPr>
          <p:cNvPr id="5" name="Text Placeholder 4"/>
          <p:cNvSpPr>
            <a:spLocks noGrp="1"/>
          </p:cNvSpPr>
          <p:nvPr>
            <p:ph type="body" sz="quarter" idx="10"/>
          </p:nvPr>
        </p:nvSpPr>
        <p:spPr>
          <a:xfrm>
            <a:off x="588963" y="2098675"/>
            <a:ext cx="11017250" cy="2585323"/>
          </a:xfrm>
        </p:spPr>
        <p:txBody>
          <a:bodyPr/>
          <a:lstStyle/>
          <a:p>
            <a:r>
              <a:rPr lang="en-US" b="0">
                <a:solidFill>
                  <a:srgbClr val="6A9955"/>
                </a:solidFill>
                <a:effectLst/>
                <a:latin typeface="Consolas" panose="020B0609020204030204" pitchFamily="49" charset="0"/>
              </a:rPr>
              <a:t># generate document embeddings</a:t>
            </a:r>
            <a:endParaRPr lang="en-US" b="0">
              <a:solidFill>
                <a:srgbClr val="D4D4D4"/>
              </a:solidFill>
              <a:effectLst/>
              <a:latin typeface="Consolas" panose="020B0609020204030204" pitchFamily="49" charset="0"/>
            </a:endParaRPr>
          </a:p>
          <a:p>
            <a:r>
              <a:rPr lang="en-US" b="0">
                <a:solidFill>
                  <a:srgbClr val="0000FF"/>
                </a:solidFill>
                <a:effectLst/>
                <a:latin typeface="Consolas" panose="020B0609020204030204" pitchFamily="49" charset="0"/>
              </a:rPr>
              <a:t>def</a:t>
            </a:r>
            <a:r>
              <a:rPr lang="en-US" b="0">
                <a:solidFill>
                  <a:srgbClr val="000000"/>
                </a:solidFill>
                <a:effectLst/>
                <a:latin typeface="Consolas" panose="020B0609020204030204" pitchFamily="49" charset="0"/>
              </a:rPr>
              <a:t> </a:t>
            </a:r>
            <a:r>
              <a:rPr lang="en-US" b="0" err="1">
                <a:solidFill>
                  <a:srgbClr val="795E26"/>
                </a:solidFill>
                <a:effectLst/>
                <a:latin typeface="Consolas" panose="020B0609020204030204" pitchFamily="49" charset="0"/>
              </a:rPr>
              <a:t>generate_embeddings</a:t>
            </a:r>
            <a:r>
              <a:rPr lang="en-US" b="0">
                <a:solidFill>
                  <a:srgbClr val="000000"/>
                </a:solidFill>
                <a:effectLst/>
                <a:latin typeface="Consolas" panose="020B0609020204030204" pitchFamily="49" charset="0"/>
              </a:rPr>
              <a:t>(</a:t>
            </a:r>
            <a:r>
              <a:rPr lang="en-US" b="0">
                <a:solidFill>
                  <a:srgbClr val="001080"/>
                </a:solidFill>
                <a:effectLst/>
                <a:latin typeface="Consolas" panose="020B0609020204030204" pitchFamily="49" charset="0"/>
              </a:rPr>
              <a:t>text</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response</a:t>
            </a:r>
            <a:r>
              <a:rPr lang="en-US" b="0">
                <a:solidFill>
                  <a:srgbClr val="000000"/>
                </a:solidFill>
                <a:effectLst/>
                <a:latin typeface="Consolas" panose="020B0609020204030204" pitchFamily="49" charset="0"/>
              </a:rPr>
              <a:t> = </a:t>
            </a:r>
            <a:r>
              <a:rPr lang="en-US" b="0" err="1">
                <a:solidFill>
                  <a:srgbClr val="267F99"/>
                </a:solidFill>
                <a:effectLst/>
                <a:latin typeface="Consolas" panose="020B0609020204030204" pitchFamily="49" charset="0"/>
              </a:rPr>
              <a:t>openai</a:t>
            </a:r>
            <a:r>
              <a:rPr lang="en-US" b="0" err="1">
                <a:solidFill>
                  <a:srgbClr val="000000"/>
                </a:solidFill>
                <a:effectLst/>
                <a:latin typeface="Consolas" panose="020B0609020204030204" pitchFamily="49" charset="0"/>
              </a:rPr>
              <a:t>.</a:t>
            </a:r>
            <a:r>
              <a:rPr lang="en-US" b="0" err="1">
                <a:solidFill>
                  <a:srgbClr val="267F99"/>
                </a:solidFill>
                <a:effectLst/>
                <a:latin typeface="Consolas" panose="020B0609020204030204" pitchFamily="49" charset="0"/>
              </a:rPr>
              <a:t>Embedding</a:t>
            </a:r>
            <a:r>
              <a:rPr lang="en-US" b="0" err="1">
                <a:solidFill>
                  <a:srgbClr val="000000"/>
                </a:solidFill>
                <a:effectLst/>
                <a:latin typeface="Consolas" panose="020B0609020204030204" pitchFamily="49" charset="0"/>
              </a:rPr>
              <a:t>.</a:t>
            </a:r>
            <a:r>
              <a:rPr lang="en-US" b="0" err="1">
                <a:solidFill>
                  <a:srgbClr val="795E26"/>
                </a:solidFill>
                <a:effectLst/>
                <a:latin typeface="Consolas" panose="020B0609020204030204" pitchFamily="49" charset="0"/>
              </a:rPr>
              <a:t>create</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input</a:t>
            </a:r>
            <a:r>
              <a:rPr lang="en-US" b="0">
                <a:solidFill>
                  <a:srgbClr val="000000"/>
                </a:solidFill>
                <a:effectLst/>
                <a:latin typeface="Consolas" panose="020B0609020204030204" pitchFamily="49" charset="0"/>
              </a:rPr>
              <a:t>=</a:t>
            </a:r>
            <a:r>
              <a:rPr lang="en-US" b="0">
                <a:solidFill>
                  <a:srgbClr val="001080"/>
                </a:solidFill>
                <a:effectLst/>
                <a:latin typeface="Consolas" panose="020B0609020204030204" pitchFamily="49" charset="0"/>
              </a:rPr>
              <a:t>text</a:t>
            </a:r>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engine</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text-embedding-ada-002"</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embeddings</a:t>
            </a:r>
            <a:r>
              <a:rPr lang="en-US" b="0">
                <a:solidFill>
                  <a:srgbClr val="000000"/>
                </a:solidFill>
                <a:effectLst/>
                <a:latin typeface="Consolas" panose="020B0609020204030204" pitchFamily="49" charset="0"/>
              </a:rPr>
              <a:t> = </a:t>
            </a:r>
            <a:r>
              <a:rPr lang="en-US" b="0">
                <a:solidFill>
                  <a:srgbClr val="001080"/>
                </a:solidFill>
                <a:effectLst/>
                <a:latin typeface="Consolas" panose="020B0609020204030204" pitchFamily="49" charset="0"/>
              </a:rPr>
              <a:t>response</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data'</a:t>
            </a:r>
            <a:r>
              <a:rPr lang="en-US" b="0">
                <a:solidFill>
                  <a:srgbClr val="000000"/>
                </a:solidFill>
                <a:effectLst/>
                <a:latin typeface="Consolas" panose="020B0609020204030204" pitchFamily="49" charset="0"/>
              </a:rPr>
              <a:t>][</a:t>
            </a:r>
            <a:r>
              <a:rPr lang="en-US" b="0">
                <a:solidFill>
                  <a:srgbClr val="098658"/>
                </a:solidFill>
                <a:effectLst/>
                <a:latin typeface="Consolas" panose="020B0609020204030204" pitchFamily="49" charset="0"/>
              </a:rPr>
              <a:t>0</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embedding'</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AF00DB"/>
                </a:solidFill>
                <a:effectLst/>
                <a:latin typeface="Consolas" panose="020B0609020204030204" pitchFamily="49" charset="0"/>
              </a:rPr>
              <a:t>return</a:t>
            </a:r>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embeddings</a:t>
            </a:r>
            <a:endParaRPr lang="en-US" b="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215708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8263" y="457200"/>
            <a:ext cx="11018520" cy="553998"/>
          </a:xfrm>
        </p:spPr>
        <p:txBody>
          <a:bodyPr/>
          <a:lstStyle/>
          <a:p>
            <a:r>
              <a:rPr lang="en-US"/>
              <a:t>Generate query embedding</a:t>
            </a:r>
          </a:p>
        </p:txBody>
      </p:sp>
      <p:sp>
        <p:nvSpPr>
          <p:cNvPr id="9" name="Text Placeholder 8">
            <a:extLst>
              <a:ext uri="{FF2B5EF4-FFF2-40B4-BE49-F238E27FC236}">
                <a16:creationId xmlns:a16="http://schemas.microsoft.com/office/drawing/2014/main" id="{A7E4170E-63AA-43C4-A6A1-CFD422B79A8C}"/>
              </a:ext>
            </a:extLst>
          </p:cNvPr>
          <p:cNvSpPr>
            <a:spLocks noGrp="1"/>
          </p:cNvSpPr>
          <p:nvPr>
            <p:ph type="body" sz="quarter" idx="13"/>
          </p:nvPr>
        </p:nvSpPr>
        <p:spPr>
          <a:xfrm>
            <a:off x="0" y="1436688"/>
            <a:ext cx="3788358" cy="446148"/>
          </a:xfrm>
        </p:spPr>
        <p:txBody>
          <a:bodyPr/>
          <a:lstStyle/>
          <a:p>
            <a:r>
              <a:rPr lang="en-US"/>
              <a:t>queryEmbedding.py</a:t>
            </a:r>
          </a:p>
        </p:txBody>
      </p:sp>
      <p:sp>
        <p:nvSpPr>
          <p:cNvPr id="5" name="Text Placeholder 4"/>
          <p:cNvSpPr>
            <a:spLocks noGrp="1"/>
          </p:cNvSpPr>
          <p:nvPr>
            <p:ph type="body" sz="quarter" idx="10"/>
          </p:nvPr>
        </p:nvSpPr>
        <p:spPr>
          <a:xfrm>
            <a:off x="588963" y="2098675"/>
            <a:ext cx="11017250" cy="2585323"/>
          </a:xfrm>
        </p:spPr>
        <p:txBody>
          <a:bodyPr/>
          <a:lstStyle/>
          <a:p>
            <a:r>
              <a:rPr lang="en-US" b="0">
                <a:solidFill>
                  <a:srgbClr val="6A9955"/>
                </a:solidFill>
                <a:effectLst/>
                <a:latin typeface="Consolas" panose="020B0609020204030204" pitchFamily="49" charset="0"/>
              </a:rPr>
              <a:t># generate query embedding</a:t>
            </a:r>
            <a:endParaRPr lang="en-US" b="0">
              <a:solidFill>
                <a:srgbClr val="9CDCFE"/>
              </a:solidFill>
              <a:effectLst/>
              <a:latin typeface="Consolas" panose="020B0609020204030204" pitchFamily="49" charset="0"/>
            </a:endParaRPr>
          </a:p>
          <a:p>
            <a:r>
              <a:rPr lang="en-US" b="0">
                <a:solidFill>
                  <a:srgbClr val="001080"/>
                </a:solidFill>
                <a:effectLst/>
                <a:latin typeface="Consolas" panose="020B0609020204030204" pitchFamily="49" charset="0"/>
              </a:rPr>
              <a:t>response</a:t>
            </a:r>
            <a:r>
              <a:rPr lang="en-US" b="0">
                <a:solidFill>
                  <a:srgbClr val="000000"/>
                </a:solidFill>
                <a:effectLst/>
                <a:latin typeface="Consolas" panose="020B0609020204030204" pitchFamily="49" charset="0"/>
              </a:rPr>
              <a:t> = </a:t>
            </a:r>
            <a:r>
              <a:rPr lang="en-US" b="0" err="1">
                <a:solidFill>
                  <a:srgbClr val="267F99"/>
                </a:solidFill>
                <a:effectLst/>
                <a:latin typeface="Consolas" panose="020B0609020204030204" pitchFamily="49" charset="0"/>
              </a:rPr>
              <a:t>openai</a:t>
            </a:r>
            <a:r>
              <a:rPr lang="en-US" b="0" err="1">
                <a:solidFill>
                  <a:srgbClr val="000000"/>
                </a:solidFill>
                <a:effectLst/>
                <a:latin typeface="Consolas" panose="020B0609020204030204" pitchFamily="49" charset="0"/>
              </a:rPr>
              <a:t>.</a:t>
            </a:r>
            <a:r>
              <a:rPr lang="en-US" b="0" err="1">
                <a:solidFill>
                  <a:srgbClr val="267F99"/>
                </a:solidFill>
                <a:effectLst/>
                <a:latin typeface="Consolas" panose="020B0609020204030204" pitchFamily="49" charset="0"/>
              </a:rPr>
              <a:t>Embedding</a:t>
            </a:r>
            <a:r>
              <a:rPr lang="en-US" b="0" err="1">
                <a:solidFill>
                  <a:srgbClr val="000000"/>
                </a:solidFill>
                <a:effectLst/>
                <a:latin typeface="Consolas" panose="020B0609020204030204" pitchFamily="49" charset="0"/>
              </a:rPr>
              <a:t>.</a:t>
            </a:r>
            <a:r>
              <a:rPr lang="en-US" b="0" err="1">
                <a:solidFill>
                  <a:srgbClr val="795E26"/>
                </a:solidFill>
                <a:effectLst/>
                <a:latin typeface="Consolas" panose="020B0609020204030204" pitchFamily="49" charset="0"/>
              </a:rPr>
              <a:t>create</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input</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healthy foods"</a:t>
            </a:r>
            <a:r>
              <a:rPr lang="en-US" b="0">
                <a:solidFill>
                  <a:srgbClr val="000000"/>
                </a:solidFill>
                <a:effectLst/>
                <a:latin typeface="Consolas" panose="020B0609020204030204" pitchFamily="49" charset="0"/>
              </a:rPr>
              <a:t>,</a:t>
            </a:r>
          </a:p>
          <a:p>
            <a:r>
              <a:rPr lang="en-US" b="0">
                <a:solidFill>
                  <a:srgbClr val="000000"/>
                </a:solidFill>
                <a:effectLst/>
                <a:latin typeface="Consolas" panose="020B0609020204030204" pitchFamily="49" charset="0"/>
              </a:rPr>
              <a:t>    </a:t>
            </a:r>
            <a:r>
              <a:rPr lang="en-US" b="0">
                <a:solidFill>
                  <a:srgbClr val="001080"/>
                </a:solidFill>
                <a:effectLst/>
                <a:latin typeface="Consolas" panose="020B0609020204030204" pitchFamily="49" charset="0"/>
              </a:rPr>
              <a:t>engine</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text-embedding-ada-002"</a:t>
            </a:r>
            <a:endParaRPr lang="en-US" b="0">
              <a:solidFill>
                <a:srgbClr val="000000"/>
              </a:solidFill>
              <a:effectLst/>
              <a:latin typeface="Consolas" panose="020B0609020204030204" pitchFamily="49" charset="0"/>
            </a:endParaRPr>
          </a:p>
          <a:p>
            <a:r>
              <a:rPr lang="en-US" b="0">
                <a:solidFill>
                  <a:srgbClr val="000000"/>
                </a:solidFill>
                <a:effectLst/>
                <a:latin typeface="Consolas" panose="020B0609020204030204" pitchFamily="49" charset="0"/>
              </a:rPr>
              <a:t>)</a:t>
            </a:r>
          </a:p>
          <a:p>
            <a:r>
              <a:rPr lang="en-US" b="0">
                <a:solidFill>
                  <a:srgbClr val="001080"/>
                </a:solidFill>
                <a:effectLst/>
                <a:latin typeface="Consolas" panose="020B0609020204030204" pitchFamily="49" charset="0"/>
              </a:rPr>
              <a:t>embeddings</a:t>
            </a:r>
            <a:r>
              <a:rPr lang="en-US" b="0">
                <a:solidFill>
                  <a:srgbClr val="000000"/>
                </a:solidFill>
                <a:effectLst/>
                <a:latin typeface="Consolas" panose="020B0609020204030204" pitchFamily="49" charset="0"/>
              </a:rPr>
              <a:t> = </a:t>
            </a:r>
            <a:r>
              <a:rPr lang="en-US" b="0">
                <a:solidFill>
                  <a:srgbClr val="001080"/>
                </a:solidFill>
                <a:effectLst/>
                <a:latin typeface="Consolas" panose="020B0609020204030204" pitchFamily="49" charset="0"/>
              </a:rPr>
              <a:t>response</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data'</a:t>
            </a:r>
            <a:r>
              <a:rPr lang="en-US" b="0">
                <a:solidFill>
                  <a:srgbClr val="000000"/>
                </a:solidFill>
                <a:effectLst/>
                <a:latin typeface="Consolas" panose="020B0609020204030204" pitchFamily="49" charset="0"/>
              </a:rPr>
              <a:t>][</a:t>
            </a:r>
            <a:r>
              <a:rPr lang="en-US" b="0">
                <a:solidFill>
                  <a:srgbClr val="098658"/>
                </a:solidFill>
                <a:effectLst/>
                <a:latin typeface="Consolas" panose="020B0609020204030204" pitchFamily="49" charset="0"/>
              </a:rPr>
              <a:t>0</a:t>
            </a:r>
            <a:r>
              <a:rPr lang="en-US" b="0">
                <a:solidFill>
                  <a:srgbClr val="000000"/>
                </a:solidFill>
                <a:effectLst/>
                <a:latin typeface="Consolas" panose="020B0609020204030204" pitchFamily="49" charset="0"/>
              </a:rPr>
              <a:t>][</a:t>
            </a:r>
            <a:r>
              <a:rPr lang="en-US" b="0">
                <a:solidFill>
                  <a:srgbClr val="A31515"/>
                </a:solidFill>
                <a:effectLst/>
                <a:latin typeface="Consolas" panose="020B0609020204030204" pitchFamily="49" charset="0"/>
              </a:rPr>
              <a:t>'embedding'</a:t>
            </a:r>
            <a:r>
              <a:rPr lang="en-US" b="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3471581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AA0A774-5134-7242-E080-C7A7486DB8C5}"/>
              </a:ext>
            </a:extLst>
          </p:cNvPr>
          <p:cNvSpPr>
            <a:spLocks noGrp="1"/>
          </p:cNvSpPr>
          <p:nvPr>
            <p:ph type="title"/>
          </p:nvPr>
        </p:nvSpPr>
        <p:spPr/>
        <p:txBody>
          <a:bodyPr/>
          <a:lstStyle/>
          <a:p>
            <a:r>
              <a:rPr kumimoji="0" lang="en-US" sz="3200" b="0" i="0" u="none" strike="noStrike" kern="1200" cap="none" spc="-50" normalizeH="0" baseline="0" noProof="0" dirty="0">
                <a:ln w="3175">
                  <a:noFill/>
                </a:ln>
                <a:solidFill>
                  <a:srgbClr val="FFFFFF"/>
                </a:solidFill>
                <a:effectLst/>
                <a:uLnTx/>
                <a:uFillTx/>
                <a:latin typeface="Segoe UI Semibold"/>
                <a:ea typeface="+mn-ea"/>
                <a:cs typeface="Segoe UI"/>
              </a:rPr>
              <a:t>Introducing Integrated Vectorization</a:t>
            </a:r>
            <a:b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a:rPr>
            </a:br>
            <a:r>
              <a:rPr lang="en-US" sz="2000" dirty="0">
                <a:solidFill>
                  <a:srgbClr val="50E6FF"/>
                </a:solidFill>
                <a:latin typeface="Segoe UI Semibold"/>
                <a:cs typeface="Segoe UI"/>
              </a:rPr>
              <a:t>End-to-end data ingestion, chunking, vectorization, and advanced retrieval </a:t>
            </a:r>
            <a:endParaRPr lang="en-US" dirty="0"/>
          </a:p>
        </p:txBody>
      </p:sp>
      <p:graphicFrame>
        <p:nvGraphicFramePr>
          <p:cNvPr id="10" name="Content Placeholder 9">
            <a:extLst>
              <a:ext uri="{FF2B5EF4-FFF2-40B4-BE49-F238E27FC236}">
                <a16:creationId xmlns:a16="http://schemas.microsoft.com/office/drawing/2014/main" id="{2129E32E-D7CB-5698-7CB8-A35283378561}"/>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1956447917"/>
              </p:ext>
            </p:extLst>
          </p:nvPr>
        </p:nvGraphicFramePr>
        <p:xfrm>
          <a:off x="234949" y="2235200"/>
          <a:ext cx="11690351" cy="3416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ounded Rectangle 18" descr="Public preview&#10;">
            <a:extLst>
              <a:ext uri="{FF2B5EF4-FFF2-40B4-BE49-F238E27FC236}">
                <a16:creationId xmlns:a16="http://schemas.microsoft.com/office/drawing/2014/main" id="{21AE475E-C3B9-D584-8BC0-62A7F9A7F2BB}"/>
              </a:ext>
            </a:extLst>
          </p:cNvPr>
          <p:cNvSpPr/>
          <p:nvPr/>
        </p:nvSpPr>
        <p:spPr bwMode="auto">
          <a:xfrm>
            <a:off x="4553312" y="2235200"/>
            <a:ext cx="984916" cy="475428"/>
          </a:xfrm>
          <a:prstGeom prst="roundRect">
            <a:avLst>
              <a:gd name="adj" fmla="val 9671"/>
            </a:avLst>
          </a:prstGeom>
          <a:blipFill>
            <a:blip r:embed="rId8"/>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Preview</a:t>
            </a:r>
          </a:p>
        </p:txBody>
      </p:sp>
      <p:sp>
        <p:nvSpPr>
          <p:cNvPr id="5" name="Rounded Rectangle 18" descr="Public preview&#10;">
            <a:extLst>
              <a:ext uri="{FF2B5EF4-FFF2-40B4-BE49-F238E27FC236}">
                <a16:creationId xmlns:a16="http://schemas.microsoft.com/office/drawing/2014/main" id="{DB6FBAF2-D91C-13DB-A72B-D5CB91CC035D}"/>
              </a:ext>
            </a:extLst>
          </p:cNvPr>
          <p:cNvSpPr/>
          <p:nvPr/>
        </p:nvSpPr>
        <p:spPr bwMode="auto">
          <a:xfrm>
            <a:off x="10841507" y="2174261"/>
            <a:ext cx="984916" cy="475428"/>
          </a:xfrm>
          <a:prstGeom prst="roundRect">
            <a:avLst>
              <a:gd name="adj" fmla="val 9671"/>
            </a:avLst>
          </a:prstGeom>
          <a:blipFill>
            <a:blip r:embed="rId8"/>
            <a:stretch>
              <a:fillRect/>
            </a:stretch>
          </a:blipFill>
          <a:effectLst/>
          <a:scene3d>
            <a:camera prst="orthographicFront"/>
            <a:lightRig rig="contrasting" dir="t"/>
          </a:scene3d>
          <a:sp3d prstMaterial="flat">
            <a:bevelT w="57150" h="44450"/>
          </a:sp3d>
        </p:spPr>
        <p:txBody>
          <a:bodyPr wrap="none" lIns="118872" tIns="91440" rIns="118872" bIns="109728"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i="0" u="none" strike="noStrike" kern="0" cap="none" spc="0" normalizeH="0" baseline="0" noProof="0" dirty="0">
                <a:ln>
                  <a:noFill/>
                </a:ln>
                <a:gradFill flip="none" rotWithShape="1">
                  <a:gsLst>
                    <a:gs pos="25904">
                      <a:srgbClr val="2F2F2F"/>
                    </a:gs>
                    <a:gs pos="46000">
                      <a:srgbClr val="2F2F2F"/>
                    </a:gs>
                  </a:gsLst>
                  <a:lin ang="2700000" scaled="1"/>
                  <a:tileRect/>
                </a:gradFill>
                <a:effectLst/>
                <a:uLnTx/>
                <a:uFillTx/>
                <a:latin typeface="Segoe UI Semibold"/>
                <a:ea typeface="+mn-ea"/>
                <a:cs typeface="+mn-cs"/>
              </a:rPr>
              <a:t>Preview</a:t>
            </a:r>
          </a:p>
        </p:txBody>
      </p:sp>
    </p:spTree>
    <p:extLst>
      <p:ext uri="{BB962C8B-B14F-4D97-AF65-F5344CB8AC3E}">
        <p14:creationId xmlns:p14="http://schemas.microsoft.com/office/powerpoint/2010/main" val="1213871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4.16667E-6 -3.7037E-6 L -4.16667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4.16667E-6 -3.7037E-6 L -4.16667E-6 0.03542 " pathEditMode="relative" rAng="0" ptsTypes="AA">
                                      <p:cBhvr>
                                        <p:cTn id="14"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448CE4-EB47-1758-30C3-6BDADD2050D6}"/>
              </a:ext>
            </a:extLst>
          </p:cNvPr>
          <p:cNvSpPr txBox="1">
            <a:spLocks/>
          </p:cNvSpPr>
          <p:nvPr/>
        </p:nvSpPr>
        <p:spPr>
          <a:xfrm>
            <a:off x="588263" y="457200"/>
            <a:ext cx="11018520" cy="800219"/>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200">
                <a:solidFill>
                  <a:srgbClr val="FFFFFF"/>
                </a:solidFill>
                <a:latin typeface="Segoe UI Semibold"/>
                <a:cs typeface="Segoe UI"/>
              </a:rPr>
              <a:t>Introducing Integrated Vectorization Visualization</a:t>
            </a:r>
            <a:br>
              <a:rPr lang="en-US" sz="2000">
                <a:solidFill>
                  <a:srgbClr val="FFFFFF"/>
                </a:solidFill>
                <a:latin typeface="Segoe UI Semibold"/>
                <a:cs typeface="Segoe UI"/>
              </a:rPr>
            </a:br>
            <a:r>
              <a:rPr lang="en-US" sz="2000">
                <a:solidFill>
                  <a:srgbClr val="50E6FF"/>
                </a:solidFill>
                <a:latin typeface="Segoe UI Semibold"/>
                <a:cs typeface="Segoe UI"/>
              </a:rPr>
              <a:t>End-to-end data ingestion, chunking, vectorization, and advanced retrieval </a:t>
            </a:r>
            <a:endParaRPr lang="en-US"/>
          </a:p>
        </p:txBody>
      </p:sp>
      <p:pic>
        <p:nvPicPr>
          <p:cNvPr id="5" name="Content Placeholder 3" descr="A diagram of a software&#10;&#10;Description automatically generated">
            <a:extLst>
              <a:ext uri="{FF2B5EF4-FFF2-40B4-BE49-F238E27FC236}">
                <a16:creationId xmlns:a16="http://schemas.microsoft.com/office/drawing/2014/main" id="{04347AD6-97ED-6BBB-9379-2D47729302DB}"/>
              </a:ext>
            </a:extLst>
          </p:cNvPr>
          <p:cNvPicPr>
            <a:picLocks noChangeAspect="1"/>
          </p:cNvPicPr>
          <p:nvPr/>
        </p:nvPicPr>
        <p:blipFill>
          <a:blip r:embed="rId2"/>
          <a:stretch>
            <a:fillRect/>
          </a:stretch>
        </p:blipFill>
        <p:spPr>
          <a:xfrm>
            <a:off x="962469" y="1454979"/>
            <a:ext cx="9546682" cy="5271259"/>
          </a:xfrm>
          <a:prstGeom prst="rect">
            <a:avLst/>
          </a:prstGeom>
        </p:spPr>
      </p:pic>
    </p:spTree>
    <p:extLst>
      <p:ext uri="{BB962C8B-B14F-4D97-AF65-F5344CB8AC3E}">
        <p14:creationId xmlns:p14="http://schemas.microsoft.com/office/powerpoint/2010/main" val="331687283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1326938"/>
            <a:ext cx="4158362" cy="553998"/>
          </a:xfrm>
        </p:spPr>
        <p:txBody>
          <a:bodyPr/>
          <a:lstStyle/>
          <a:p>
            <a:r>
              <a:rPr lang="en-US">
                <a:cs typeface="Segoe UI"/>
              </a:rPr>
              <a:t>Chunking Skill</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2422619"/>
            <a:ext cx="4162425" cy="2585323"/>
          </a:xfrm>
        </p:spPr>
        <p:txBody>
          <a:bodyPr vert="horz" wrap="square" lIns="0" tIns="0" rIns="0" bIns="0" rtlCol="0" anchor="t">
            <a:spAutoFit/>
          </a:bodyPr>
          <a:lstStyle/>
          <a:p>
            <a:r>
              <a:rPr lang="en-US" i="1">
                <a:cs typeface="Segoe UI"/>
              </a:rPr>
              <a:t>I want to chunk my documents via the Indexer orchestration pipeline with a built-in skill</a:t>
            </a:r>
          </a:p>
          <a:p>
            <a:endParaRPr lang="en-US" i="1">
              <a:cs typeface="Segoe UI"/>
            </a:endParaRPr>
          </a:p>
          <a:p>
            <a:r>
              <a:rPr lang="en-US" sz="1800" i="1">
                <a:cs typeface="Segoe UI"/>
              </a:rPr>
              <a:t>This will be achieved by adding new functionality to existing </a:t>
            </a:r>
            <a:r>
              <a:rPr lang="en-US" sz="1800">
                <a:ea typeface="+mn-lt"/>
                <a:cs typeface="+mn-lt"/>
                <a:hlinkClick r:id="rId3"/>
              </a:rPr>
              <a:t>Text split cognitive skill - Azure Cognitive Search | Microsoft Learn</a:t>
            </a:r>
            <a:endParaRPr lang="en-US" sz="1800" i="1">
              <a:cs typeface="Segoe UI"/>
            </a:endParaRP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669279" y="234279"/>
            <a:ext cx="6522721" cy="586006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odata.type</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icrosoft.Skills.Text.SplitSkill</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description"</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split documents into chunk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textSplitMode</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page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maximumPageLength</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98658"/>
                </a:solidFill>
                <a:effectLst/>
                <a:uLnTx/>
                <a:uFillTx/>
                <a:latin typeface="Consolas" panose="020B0609020204030204" pitchFamily="49" charset="0"/>
                <a:ea typeface="+mn-ea"/>
                <a:cs typeface="Segoe UI" panose="020B0502040204020203" pitchFamily="34" charset="0"/>
              </a:rPr>
              <a:t>500</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pageOverlapLength</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98658"/>
                </a:solidFill>
                <a:effectLst/>
                <a:uLnTx/>
                <a:uFillTx/>
                <a:latin typeface="Consolas" panose="020B0609020204030204" pitchFamily="49" charset="0"/>
                <a:ea typeface="+mn-ea"/>
                <a:cs typeface="Segoe UI" panose="020B0502040204020203" pitchFamily="34" charset="0"/>
              </a:rPr>
              <a:t>100</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contex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input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sourc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ergedText</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endPar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output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textItems</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targetName</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pages"</a:t>
            </a:r>
            <a:endPar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6" name="Rectangle 1">
            <a:extLst>
              <a:ext uri="{FF2B5EF4-FFF2-40B4-BE49-F238E27FC236}">
                <a16:creationId xmlns:a16="http://schemas.microsoft.com/office/drawing/2014/main" id="{20533108-BE52-B401-1872-8D0C8FAA26AF}"/>
              </a:ext>
            </a:extLst>
          </p:cNvPr>
          <p:cNvSpPr>
            <a:spLocks noChangeArrowheads="1"/>
          </p:cNvSpPr>
          <p:nvPr/>
        </p:nvSpPr>
        <p:spPr bwMode="auto">
          <a:xfrm>
            <a:off x="0" y="138836"/>
            <a:ext cx="1040349" cy="1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111111"/>
                </a:solidFill>
                <a:effectLst/>
                <a:uLnTx/>
                <a:uFillTx/>
                <a:latin typeface="Arial Unicode MS"/>
                <a:ea typeface="+mn-ea"/>
                <a:cs typeface="+mn-cs"/>
              </a:rPr>
              <a:t>City eq 'New York</a:t>
            </a:r>
            <a:r>
              <a:rPr kumimoji="0" lang="en-US" altLang="en-US" sz="8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4141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1462206"/>
            <a:ext cx="4158362" cy="1661993"/>
          </a:xfrm>
        </p:spPr>
        <p:txBody>
          <a:bodyPr/>
          <a:lstStyle/>
          <a:p>
            <a:r>
              <a:rPr lang="en-US">
                <a:cs typeface="Segoe UI"/>
              </a:rPr>
              <a:t>Azure OpenAI service Embedding Skill</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677108"/>
          </a:xfrm>
        </p:spPr>
        <p:txBody>
          <a:bodyPr vert="horz" wrap="square" lIns="0" tIns="0" rIns="0" bIns="0" rtlCol="0" anchor="t">
            <a:spAutoFit/>
          </a:bodyPr>
          <a:lstStyle/>
          <a:p>
            <a:r>
              <a:rPr lang="en-US" i="1">
                <a:cs typeface="Segoe UI"/>
              </a:rPr>
              <a:t>I want to generate embeddings via my Azure OpenAI endpoint</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5347063" y="0"/>
            <a:ext cx="6844937"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5431819" y="228600"/>
            <a:ext cx="6760181" cy="512755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odata.type":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icrosoft.Skills.Text.AzureOpenAIEmbeddingSkill</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description"</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zure OpenAI Embedding Skill"</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contex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pages/*"</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resourceUri</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ttps://my-openai-service.openai.azure.com"</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apiKey</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xxx"</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deploymentId</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embedding-ada-002"</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inputs"</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source"</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pages/*"</a:t>
            </a:r>
            <a:endPar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outputs"</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embedding"</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targetName</a:t>
            </a:r>
            <a:r>
              <a:rPr kumimoji="0" lang="en-US" sz="14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4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6" name="Rectangle 1">
            <a:extLst>
              <a:ext uri="{FF2B5EF4-FFF2-40B4-BE49-F238E27FC236}">
                <a16:creationId xmlns:a16="http://schemas.microsoft.com/office/drawing/2014/main" id="{20533108-BE52-B401-1872-8D0C8FAA26AF}"/>
              </a:ext>
            </a:extLst>
          </p:cNvPr>
          <p:cNvSpPr>
            <a:spLocks noChangeArrowheads="1"/>
          </p:cNvSpPr>
          <p:nvPr/>
        </p:nvSpPr>
        <p:spPr bwMode="auto">
          <a:xfrm>
            <a:off x="0" y="138836"/>
            <a:ext cx="1040349" cy="1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111111"/>
                </a:solidFill>
                <a:effectLst/>
                <a:uLnTx/>
                <a:uFillTx/>
                <a:latin typeface="Arial Unicode MS"/>
                <a:ea typeface="+mn-ea"/>
                <a:cs typeface="+mn-cs"/>
              </a:rPr>
              <a:t>City eq 'New York</a:t>
            </a:r>
            <a:r>
              <a:rPr kumimoji="0" lang="en-US" altLang="en-US" sz="8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50997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588263" y="2016203"/>
            <a:ext cx="4158362" cy="1107996"/>
          </a:xfrm>
        </p:spPr>
        <p:txBody>
          <a:bodyPr/>
          <a:lstStyle/>
          <a:p>
            <a:r>
              <a:rPr lang="en-US">
                <a:cs typeface="Segoe UI"/>
              </a:rPr>
              <a:t>Custom Web API Skill</a:t>
            </a:r>
          </a:p>
        </p:txBody>
      </p:sp>
      <p:sp>
        <p:nvSpPr>
          <p:cNvPr id="3" name="Text Placeholder 2">
            <a:extLst>
              <a:ext uri="{FF2B5EF4-FFF2-40B4-BE49-F238E27FC236}">
                <a16:creationId xmlns:a16="http://schemas.microsoft.com/office/drawing/2014/main" id="{EB03E4EA-274B-4BE4-9A52-00B5B2697A08}"/>
              </a:ext>
            </a:extLst>
          </p:cNvPr>
          <p:cNvSpPr>
            <a:spLocks noGrp="1"/>
          </p:cNvSpPr>
          <p:nvPr>
            <p:ph type="body" sz="quarter" idx="10"/>
          </p:nvPr>
        </p:nvSpPr>
        <p:spPr>
          <a:xfrm>
            <a:off x="584200" y="3535540"/>
            <a:ext cx="4162425" cy="1015663"/>
          </a:xfrm>
        </p:spPr>
        <p:txBody>
          <a:bodyPr vert="horz" wrap="square" lIns="0" tIns="0" rIns="0" bIns="0" rtlCol="0" anchor="t">
            <a:spAutoFit/>
          </a:bodyPr>
          <a:lstStyle/>
          <a:p>
            <a:r>
              <a:rPr lang="en-US" i="1">
                <a:cs typeface="Segoe UI"/>
              </a:rPr>
              <a:t>Use this if you prefer to build a custom Web API for your data processing and vectorization.</a:t>
            </a:r>
          </a:p>
        </p:txBody>
      </p:sp>
      <p:sp>
        <p:nvSpPr>
          <p:cNvPr id="2" name="Rectangle 1" descr="Vector configuration code example">
            <a:extLst>
              <a:ext uri="{FF2B5EF4-FFF2-40B4-BE49-F238E27FC236}">
                <a16:creationId xmlns:a16="http://schemas.microsoft.com/office/drawing/2014/main" id="{5E2B74C0-9A79-DA1E-0EDA-6B06B0122063}"/>
              </a:ext>
            </a:extLst>
          </p:cNvPr>
          <p:cNvSpPr/>
          <p:nvPr/>
        </p:nvSpPr>
        <p:spPr bwMode="auto">
          <a:xfrm>
            <a:off x="4595090" y="0"/>
            <a:ext cx="7596910" cy="68580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 name="Text Placeholder 4">
            <a:extLst>
              <a:ext uri="{FF2B5EF4-FFF2-40B4-BE49-F238E27FC236}">
                <a16:creationId xmlns:a16="http://schemas.microsoft.com/office/drawing/2014/main" id="{F1F9C864-3D8F-DB25-E659-902FBBFBCD07}"/>
              </a:ext>
            </a:extLst>
          </p:cNvPr>
          <p:cNvSpPr txBox="1">
            <a:spLocks/>
          </p:cNvSpPr>
          <p:nvPr/>
        </p:nvSpPr>
        <p:spPr>
          <a:xfrm>
            <a:off x="4746857" y="574675"/>
            <a:ext cx="7445142" cy="551535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odata.type</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Microsoft.Skills.Custom.WebApiSkill</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description"</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Custom API Embedding Skill"</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contex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uri</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https://byoe.azurewebsites.ne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api</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0451A5"/>
                </a:solidFill>
                <a:effectLst/>
                <a:uLnTx/>
                <a:uFillTx/>
                <a:latin typeface="Consolas" panose="020B0609020204030204" pitchFamily="49" charset="0"/>
                <a:ea typeface="+mn-ea"/>
                <a:cs typeface="Segoe UI" panose="020B0502040204020203" pitchFamily="34" charset="0"/>
              </a:rPr>
              <a:t>embedding?code</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YOUR-FUNCTION-KEY-HERE</a:t>
            </a:r>
            <a:endPar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input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tex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sourc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document/text"</a:t>
            </a:r>
            <a:endPar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outputs"</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name"</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err="1">
                <a:ln>
                  <a:noFill/>
                </a:ln>
                <a:solidFill>
                  <a:srgbClr val="A31515"/>
                </a:solidFill>
                <a:effectLst/>
                <a:uLnTx/>
                <a:uFillTx/>
                <a:latin typeface="Consolas" panose="020B0609020204030204" pitchFamily="49" charset="0"/>
                <a:ea typeface="+mn-ea"/>
                <a:cs typeface="Segoe UI" panose="020B0502040204020203" pitchFamily="34" charset="0"/>
              </a:rPr>
              <a:t>targetName</a:t>
            </a:r>
            <a:r>
              <a:rPr kumimoji="0" lang="en-US" sz="1600" b="0" i="0" u="none" strike="noStrike" kern="1200" cap="none" spc="0" normalizeH="0" baseline="0" noProof="0">
                <a:ln>
                  <a:noFill/>
                </a:ln>
                <a:solidFill>
                  <a:srgbClr val="A31515"/>
                </a:solidFill>
                <a:effectLst/>
                <a:uLnTx/>
                <a:uFillTx/>
                <a:latin typeface="Consolas" panose="020B0609020204030204" pitchFamily="49" charset="0"/>
                <a:ea typeface="+mn-ea"/>
                <a:cs typeface="Segoe UI" panose="020B0502040204020203" pitchFamily="34" charset="0"/>
              </a:rPr>
              <a:t>"</a:t>
            </a: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r>
              <a:rPr kumimoji="0" lang="en-US" sz="1600" b="0" i="0" u="none" strike="noStrike" kern="1200" cap="none" spc="0" normalizeH="0" baseline="0" noProof="0">
                <a:ln>
                  <a:noFill/>
                </a:ln>
                <a:solidFill>
                  <a:srgbClr val="0451A5"/>
                </a:solidFill>
                <a:effectLst/>
                <a:uLnTx/>
                <a:uFillTx/>
                <a:latin typeface="Consolas" panose="020B0609020204030204" pitchFamily="49" charset="0"/>
                <a:ea typeface="+mn-ea"/>
                <a:cs typeface="Segoe UI" panose="020B0502040204020203" pitchFamily="34" charset="0"/>
              </a:rPr>
              <a:t>"vector"</a:t>
            </a:r>
            <a:endPar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Consolas" panose="020B0609020204030204" pitchFamily="49" charset="0"/>
                <a:ea typeface="+mn-ea"/>
                <a:cs typeface="Segoe UI" panose="020B0502040204020203" pitchFamily="34" charset="0"/>
              </a:rPr>
              <a:t>}</a:t>
            </a:r>
          </a:p>
        </p:txBody>
      </p:sp>
      <p:sp>
        <p:nvSpPr>
          <p:cNvPr id="6" name="Rectangle 1">
            <a:extLst>
              <a:ext uri="{FF2B5EF4-FFF2-40B4-BE49-F238E27FC236}">
                <a16:creationId xmlns:a16="http://schemas.microsoft.com/office/drawing/2014/main" id="{20533108-BE52-B401-1872-8D0C8FAA26AF}"/>
              </a:ext>
            </a:extLst>
          </p:cNvPr>
          <p:cNvSpPr>
            <a:spLocks noChangeArrowheads="1"/>
          </p:cNvSpPr>
          <p:nvPr/>
        </p:nvSpPr>
        <p:spPr bwMode="auto">
          <a:xfrm>
            <a:off x="0" y="138836"/>
            <a:ext cx="1040349" cy="1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111111"/>
                </a:solidFill>
                <a:effectLst/>
                <a:uLnTx/>
                <a:uFillTx/>
                <a:latin typeface="Arial Unicode MS"/>
                <a:ea typeface="+mn-ea"/>
                <a:cs typeface="+mn-cs"/>
              </a:rPr>
              <a:t>City eq 'New York</a:t>
            </a:r>
            <a:r>
              <a:rPr kumimoji="0" lang="en-US" altLang="en-US" sz="800" b="0" i="0" u="none" strike="noStrike" kern="1200" cap="none" spc="0" normalizeH="0" baseline="0" noProof="0">
                <a:ln>
                  <a:noFill/>
                </a:ln>
                <a:solidFill>
                  <a:srgbClr val="FFFFFF"/>
                </a:solidFill>
                <a:effectLst/>
                <a:uLnTx/>
                <a:uFillTx/>
                <a:latin typeface="Segoe UI"/>
                <a:ea typeface="+mn-ea"/>
                <a:cs typeface="+mn-cs"/>
              </a:rPr>
              <a:t> </a:t>
            </a:r>
            <a:endParaRPr kumimoji="0" lang="en-US" alt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32063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2A597952-03CC-B6D9-089E-DE05CACEC347}"/>
              </a:ext>
            </a:extLst>
          </p:cNvPr>
          <p:cNvSpPr>
            <a:spLocks noGrp="1"/>
          </p:cNvSpPr>
          <p:nvPr>
            <p:ph type="title"/>
          </p:nvPr>
        </p:nvSpPr>
        <p:spPr>
          <a:xfrm>
            <a:off x="588263" y="457200"/>
            <a:ext cx="11018520" cy="553998"/>
          </a:xfrm>
        </p:spPr>
        <p:txBody>
          <a:bodyPr/>
          <a:lstStyle/>
          <a:p>
            <a:r>
              <a:rPr lang="en-US" dirty="0"/>
              <a:t>Search filter and RBAC</a:t>
            </a:r>
          </a:p>
        </p:txBody>
      </p:sp>
      <p:sp>
        <p:nvSpPr>
          <p:cNvPr id="5" name="Rectangle 3">
            <a:extLst>
              <a:ext uri="{FF2B5EF4-FFF2-40B4-BE49-F238E27FC236}">
                <a16:creationId xmlns:a16="http://schemas.microsoft.com/office/drawing/2014/main" id="{7CD9DBD5-C631-F687-BB10-E01F205D1228}"/>
              </a:ext>
            </a:extLst>
          </p:cNvPr>
          <p:cNvSpPr>
            <a:spLocks noChangeArrowheads="1"/>
          </p:cNvSpPr>
          <p:nvPr/>
        </p:nvSpPr>
        <p:spPr bwMode="auto">
          <a:xfrm>
            <a:off x="6318666" y="1591910"/>
            <a:ext cx="5219700" cy="48339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0" compatLnSpc="1">
            <a:prstTxWarp prst="textNoShape">
              <a:avLst/>
            </a:prstTxWarp>
            <a:normAutofit/>
          </a:bodyPr>
          <a:lstStyle/>
          <a:p>
            <a:pPr marL="457200" lvl="0" indent="-457200" defTabSz="932742">
              <a:spcBef>
                <a:spcPct val="20000"/>
              </a:spcBef>
              <a:buSzPct val="90000"/>
              <a:buFont typeface="Arial" panose="020B0604020202020204" pitchFamily="34" charset="0"/>
              <a:buChar char="•"/>
            </a:pPr>
            <a:r>
              <a:rPr kumimoji="0" lang="en-US" altLang="en-US" sz="2400" b="0" i="0" u="none" strike="noStrike" cap="none" normalizeH="0" dirty="0">
                <a:ln>
                  <a:noFill/>
                </a:ln>
                <a:gradFill>
                  <a:gsLst>
                    <a:gs pos="1250">
                      <a:schemeClr val="tx1"/>
                    </a:gs>
                    <a:gs pos="100000">
                      <a:schemeClr val="tx1"/>
                    </a:gs>
                  </a:gsLst>
                  <a:lin ang="5400000" scaled="0"/>
                </a:gradFill>
                <a:effectLst/>
              </a:rPr>
              <a:t>This workaround adds a string field in the data source that represents a group or user identity, which you can make filterable in your index. </a:t>
            </a:r>
          </a:p>
          <a:p>
            <a:pPr marL="457200" lvl="0" indent="-457200" defTabSz="932742">
              <a:spcBef>
                <a:spcPct val="20000"/>
              </a:spcBef>
              <a:buSzPct val="90000"/>
              <a:buFont typeface="Arial" panose="020B0604020202020204" pitchFamily="34" charset="0"/>
              <a:buChar char="•"/>
            </a:pPr>
            <a:r>
              <a:rPr kumimoji="0" lang="en-US" altLang="en-US" sz="2400" b="0" i="0" u="none" strike="noStrike" cap="none" normalizeH="0" dirty="0">
                <a:ln>
                  <a:noFill/>
                </a:ln>
                <a:gradFill>
                  <a:gsLst>
                    <a:gs pos="1250">
                      <a:schemeClr val="tx1"/>
                    </a:gs>
                    <a:gs pos="100000">
                      <a:schemeClr val="tx1"/>
                    </a:gs>
                  </a:gsLst>
                  <a:lin ang="5400000" scaled="0"/>
                </a:gradFill>
                <a:effectLst/>
              </a:rPr>
              <a:t>The table describes two approaches for trimming search results of unauthorized content.</a:t>
            </a:r>
          </a:p>
          <a:p>
            <a:pPr marL="457200" lvl="0" indent="-457200" defTabSz="932742">
              <a:spcBef>
                <a:spcPct val="20000"/>
              </a:spcBef>
              <a:buSzPct val="90000"/>
              <a:buFont typeface="Arial" panose="020B0604020202020204" pitchFamily="34" charset="0"/>
              <a:buChar char="•"/>
            </a:pPr>
            <a:r>
              <a:rPr kumimoji="0" lang="en-US" altLang="en-US" sz="2400" b="0" i="0" u="none" strike="noStrike" cap="none" normalizeH="0" dirty="0">
                <a:ln>
                  <a:noFill/>
                </a:ln>
                <a:gradFill>
                  <a:gsLst>
                    <a:gs pos="1250">
                      <a:schemeClr val="tx1"/>
                    </a:gs>
                    <a:gs pos="100000">
                      <a:schemeClr val="tx1"/>
                    </a:gs>
                  </a:gsLst>
                  <a:lin ang="5400000" scaled="0"/>
                </a:gradFill>
                <a:effectLst/>
              </a:rPr>
              <a:t>More details </a:t>
            </a:r>
            <a:r>
              <a:rPr kumimoji="0" lang="en-US" altLang="en-US" sz="2400" b="0" i="0" u="none" strike="noStrike" cap="none" normalizeH="0" dirty="0">
                <a:ln>
                  <a:noFill/>
                </a:ln>
                <a:gradFill>
                  <a:gsLst>
                    <a:gs pos="1250">
                      <a:schemeClr val="tx1"/>
                    </a:gs>
                    <a:gs pos="100000">
                      <a:schemeClr val="tx1"/>
                    </a:gs>
                  </a:gsLst>
                  <a:lin ang="5400000" scaled="0"/>
                </a:gradFill>
                <a:effectLst/>
                <a:hlinkClick r:id="rId2"/>
              </a:rPr>
              <a:t>here</a:t>
            </a:r>
            <a:endParaRPr kumimoji="0" lang="en-US" altLang="en-US" sz="2400" b="0" i="0" u="none" strike="noStrike" cap="none" normalizeH="0" dirty="0">
              <a:ln>
                <a:noFill/>
              </a:ln>
              <a:gradFill>
                <a:gsLst>
                  <a:gs pos="1250">
                    <a:schemeClr val="tx1"/>
                  </a:gs>
                  <a:gs pos="100000">
                    <a:schemeClr val="tx1"/>
                  </a:gs>
                </a:gsLst>
                <a:lin ang="5400000" scaled="0"/>
              </a:gradFill>
              <a:effectLst/>
            </a:endParaRPr>
          </a:p>
        </p:txBody>
      </p:sp>
      <p:graphicFrame>
        <p:nvGraphicFramePr>
          <p:cNvPr id="2" name="Content Placeholder 1">
            <a:extLst>
              <a:ext uri="{FF2B5EF4-FFF2-40B4-BE49-F238E27FC236}">
                <a16:creationId xmlns:a16="http://schemas.microsoft.com/office/drawing/2014/main" id="{9B6B19BF-CAAC-2FFD-025D-A3CD6BEEC0F0}"/>
              </a:ext>
            </a:extLst>
          </p:cNvPr>
          <p:cNvGraphicFramePr>
            <a:graphicFrameLocks noGrp="1"/>
          </p:cNvGraphicFramePr>
          <p:nvPr>
            <p:ph sz="quarter" idx="12"/>
            <p:extLst>
              <p:ext uri="{D42A27DB-BD31-4B8C-83A1-F6EECF244321}">
                <p14:modId xmlns:p14="http://schemas.microsoft.com/office/powerpoint/2010/main" val="1775238098"/>
              </p:ext>
            </p:extLst>
          </p:nvPr>
        </p:nvGraphicFramePr>
        <p:xfrm>
          <a:off x="584200" y="1591910"/>
          <a:ext cx="5211764" cy="4520319"/>
        </p:xfrm>
        <a:graphic>
          <a:graphicData uri="http://schemas.openxmlformats.org/drawingml/2006/table">
            <a:tbl>
              <a:tblPr firstRow="1" firstCol="1" bandRow="1">
                <a:noFill/>
                <a:tableStyleId>{5C22544A-7EE6-4342-B048-85BDC9FD1C3A}</a:tableStyleId>
              </a:tblPr>
              <a:tblGrid>
                <a:gridCol w="1967411">
                  <a:extLst>
                    <a:ext uri="{9D8B030D-6E8A-4147-A177-3AD203B41FA5}">
                      <a16:colId xmlns:a16="http://schemas.microsoft.com/office/drawing/2014/main" val="1164290227"/>
                    </a:ext>
                  </a:extLst>
                </a:gridCol>
                <a:gridCol w="3244353">
                  <a:extLst>
                    <a:ext uri="{9D8B030D-6E8A-4147-A177-3AD203B41FA5}">
                      <a16:colId xmlns:a16="http://schemas.microsoft.com/office/drawing/2014/main" val="3964206542"/>
                    </a:ext>
                  </a:extLst>
                </a:gridCol>
              </a:tblGrid>
              <a:tr h="458691">
                <a:tc>
                  <a:txBody>
                    <a:bodyPr/>
                    <a:lstStyle/>
                    <a:p>
                      <a:pPr marL="0" marR="0">
                        <a:spcBef>
                          <a:spcPts val="0"/>
                        </a:spcBef>
                        <a:spcAft>
                          <a:spcPts val="0"/>
                        </a:spcAft>
                      </a:pPr>
                      <a:r>
                        <a:rPr lang="en-US" sz="1700" b="0" cap="none" spc="0">
                          <a:solidFill>
                            <a:schemeClr val="bg1"/>
                          </a:solidFill>
                          <a:effectLst/>
                        </a:rPr>
                        <a:t>Approach</a:t>
                      </a:r>
                      <a:endParaRPr lang="en-US" sz="1700" b="0" cap="none" spc="0" dirty="0">
                        <a:solidFill>
                          <a:schemeClr val="bg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12700" cmpd="sng">
                      <a:noFill/>
                    </a:lnL>
                    <a:lnR w="12700" cmpd="sng">
                      <a:noFill/>
                    </a:lnR>
                    <a:lnT w="28575" cap="flat" cmpd="sng" algn="ctr">
                      <a:solidFill>
                        <a:schemeClr val="tx1"/>
                      </a:solidFill>
                      <a:prstDash val="solid"/>
                    </a:lnT>
                    <a:lnB w="38100" cmpd="sng">
                      <a:noFill/>
                    </a:lnB>
                    <a:solidFill>
                      <a:schemeClr val="accent2"/>
                    </a:solidFill>
                  </a:tcPr>
                </a:tc>
                <a:tc>
                  <a:txBody>
                    <a:bodyPr/>
                    <a:lstStyle/>
                    <a:p>
                      <a:pPr marL="0" marR="0">
                        <a:spcBef>
                          <a:spcPts val="0"/>
                        </a:spcBef>
                        <a:spcAft>
                          <a:spcPts val="0"/>
                        </a:spcAft>
                      </a:pPr>
                      <a:r>
                        <a:rPr lang="en-US" sz="1700" b="0" cap="none" spc="0">
                          <a:solidFill>
                            <a:schemeClr val="bg1"/>
                          </a:solidFill>
                          <a:effectLst/>
                        </a:rPr>
                        <a:t>Description</a:t>
                      </a:r>
                      <a:endParaRPr lang="en-US" sz="1700" b="0" cap="none" spc="0" dirty="0">
                        <a:solidFill>
                          <a:schemeClr val="bg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12700" cmpd="sng">
                      <a:noFill/>
                    </a:lnL>
                    <a:lnR w="12700" cmpd="sng">
                      <a:noFill/>
                    </a:lnR>
                    <a:lnT w="28575" cap="flat" cmpd="sng" algn="ctr">
                      <a:solidFill>
                        <a:schemeClr val="tx1"/>
                      </a:solidFill>
                      <a:prstDash val="solid"/>
                    </a:lnT>
                    <a:lnB w="38100" cmpd="sng">
                      <a:noFill/>
                    </a:lnB>
                    <a:solidFill>
                      <a:schemeClr val="accent2"/>
                    </a:solidFill>
                  </a:tcPr>
                </a:tc>
                <a:extLst>
                  <a:ext uri="{0D108BD9-81ED-4DB2-BD59-A6C34878D82A}">
                    <a16:rowId xmlns:a16="http://schemas.microsoft.com/office/drawing/2014/main" val="2317042998"/>
                  </a:ext>
                </a:extLst>
              </a:tr>
              <a:tr h="2530194">
                <a:tc>
                  <a:txBody>
                    <a:bodyPr/>
                    <a:lstStyle/>
                    <a:p>
                      <a:pPr marL="0" marR="0">
                        <a:spcBef>
                          <a:spcPts val="0"/>
                        </a:spcBef>
                        <a:spcAft>
                          <a:spcPts val="0"/>
                        </a:spcAft>
                      </a:pPr>
                      <a:r>
                        <a:rPr lang="en-US" sz="1700" b="1" u="sng" cap="none" spc="0">
                          <a:solidFill>
                            <a:schemeClr val="tx1"/>
                          </a:solidFill>
                          <a:effectLst/>
                          <a:hlinkClick r:id="rId3">
                            <a:extLst>
                              <a:ext uri="{A12FA001-AC4F-418D-AE19-62706E023703}">
                                <ahyp:hlinkClr xmlns:ahyp="http://schemas.microsoft.com/office/drawing/2018/hyperlinkcolor" val="tx"/>
                              </a:ext>
                            </a:extLst>
                          </a:hlinkClick>
                        </a:rPr>
                        <a:t>Security trimming based on identity filters</a:t>
                      </a:r>
                      <a:endParaRPr lang="en-US" sz="1700" b="1" cap="none" spc="0">
                        <a:solidFill>
                          <a:schemeClr val="tx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0"/>
                        </a:spcBef>
                        <a:spcAft>
                          <a:spcPts val="0"/>
                        </a:spcAft>
                      </a:pPr>
                      <a:r>
                        <a:rPr lang="en-US" sz="1700" cap="none" spc="0">
                          <a:solidFill>
                            <a:schemeClr val="tx1"/>
                          </a:solidFill>
                          <a:effectLst/>
                        </a:rPr>
                        <a:t>Documents the basic workflow for implementing user identity access control. It covers adding security identifiers to an index, and then explains filtering against that field to trim results of prohibited content.</a:t>
                      </a:r>
                      <a:endParaRPr lang="en-US" sz="1700" cap="none" spc="0">
                        <a:solidFill>
                          <a:schemeClr val="tx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2750841802"/>
                  </a:ext>
                </a:extLst>
              </a:tr>
              <a:tr h="1531434">
                <a:tc>
                  <a:txBody>
                    <a:bodyPr/>
                    <a:lstStyle/>
                    <a:p>
                      <a:pPr marL="0" marR="0">
                        <a:spcBef>
                          <a:spcPts val="0"/>
                        </a:spcBef>
                        <a:spcAft>
                          <a:spcPts val="0"/>
                        </a:spcAft>
                      </a:pPr>
                      <a:r>
                        <a:rPr lang="en-US" sz="1700" b="1" u="sng" cap="none" spc="0">
                          <a:solidFill>
                            <a:schemeClr val="tx1"/>
                          </a:solidFill>
                          <a:effectLst/>
                          <a:hlinkClick r:id="rId4">
                            <a:extLst>
                              <a:ext uri="{A12FA001-AC4F-418D-AE19-62706E023703}">
                                <ahyp:hlinkClr xmlns:ahyp="http://schemas.microsoft.com/office/drawing/2018/hyperlinkcolor" val="tx"/>
                              </a:ext>
                            </a:extLst>
                          </a:hlinkClick>
                        </a:rPr>
                        <a:t>Security trimming based on Azure Active Directory identities</a:t>
                      </a:r>
                      <a:endParaRPr lang="en-US" sz="1700" b="1" cap="none" spc="0">
                        <a:solidFill>
                          <a:schemeClr val="tx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0"/>
                        </a:spcBef>
                        <a:spcAft>
                          <a:spcPts val="0"/>
                        </a:spcAft>
                      </a:pPr>
                      <a:r>
                        <a:rPr lang="en-US" sz="1500" cap="none" spc="0" dirty="0">
                          <a:solidFill>
                            <a:schemeClr val="tx1"/>
                          </a:solidFill>
                          <a:effectLst/>
                        </a:rPr>
                        <a:t>This article expands on the previous article, providing steps for retrieving identities from Azure Active Directory (Azure AD), one of the </a:t>
                      </a:r>
                      <a:r>
                        <a:rPr lang="en-US" sz="1500" u="sng" cap="none" spc="0" dirty="0">
                          <a:solidFill>
                            <a:schemeClr val="tx1"/>
                          </a:solidFill>
                          <a:effectLst/>
                          <a:hlinkClick r:id="rId5">
                            <a:extLst>
                              <a:ext uri="{A12FA001-AC4F-418D-AE19-62706E023703}">
                                <ahyp:hlinkClr xmlns:ahyp="http://schemas.microsoft.com/office/drawing/2018/hyperlinkcolor" val="tx"/>
                              </a:ext>
                            </a:extLst>
                          </a:hlinkClick>
                        </a:rPr>
                        <a:t>free services</a:t>
                      </a:r>
                      <a:r>
                        <a:rPr lang="en-US" sz="1500" cap="none" spc="0" dirty="0">
                          <a:solidFill>
                            <a:schemeClr val="tx1"/>
                          </a:solidFill>
                          <a:effectLst/>
                        </a:rPr>
                        <a:t> in the Azure cloud platform.</a:t>
                      </a:r>
                      <a:endParaRPr lang="en-US" sz="1500" cap="none" spc="0" dirty="0">
                        <a:solidFill>
                          <a:schemeClr val="tx1"/>
                        </a:solidFill>
                        <a:effectLst/>
                        <a:latin typeface="Aptos" panose="020B0004020202020204" pitchFamily="34" charset="0"/>
                        <a:ea typeface="PMingLiU" panose="02020500000000000000" pitchFamily="18" charset="-120"/>
                        <a:cs typeface="Aptos" panose="020B0004020202020204" pitchFamily="34" charset="0"/>
                      </a:endParaRPr>
                    </a:p>
                  </a:txBody>
                  <a:tcPr marL="10948" marR="10948" marT="77681" marB="77681">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859443889"/>
                  </a:ext>
                </a:extLst>
              </a:tr>
            </a:tbl>
          </a:graphicData>
        </a:graphic>
      </p:graphicFrame>
    </p:spTree>
    <p:extLst>
      <p:ext uri="{BB962C8B-B14F-4D97-AF65-F5344CB8AC3E}">
        <p14:creationId xmlns:p14="http://schemas.microsoft.com/office/powerpoint/2010/main" val="30103382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A936E115-53BE-FC1D-393E-EB0ED66B1E10}"/>
              </a:ext>
            </a:extLst>
          </p:cNvPr>
          <p:cNvSpPr/>
          <p:nvPr/>
        </p:nvSpPr>
        <p:spPr bwMode="auto">
          <a:xfrm>
            <a:off x="7861513" y="5870726"/>
            <a:ext cx="1710266" cy="7836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356D6F69-4558-360C-0E32-E2D1FAB814EF}"/>
              </a:ext>
            </a:extLst>
          </p:cNvPr>
          <p:cNvSpPr/>
          <p:nvPr/>
        </p:nvSpPr>
        <p:spPr bwMode="auto">
          <a:xfrm>
            <a:off x="2113882" y="5862259"/>
            <a:ext cx="1710266" cy="78361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a:extLst>
              <a:ext uri="{FF2B5EF4-FFF2-40B4-BE49-F238E27FC236}">
                <a16:creationId xmlns:a16="http://schemas.microsoft.com/office/drawing/2014/main" id="{84967D42-AD22-93CA-60FA-BBD95A4C6DF5}"/>
              </a:ext>
            </a:extLst>
          </p:cNvPr>
          <p:cNvSpPr/>
          <p:nvPr/>
        </p:nvSpPr>
        <p:spPr bwMode="auto">
          <a:xfrm>
            <a:off x="7861513" y="4501427"/>
            <a:ext cx="1710266" cy="78361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32ADA65A-36D5-4318-5A86-F08391AC7B94}"/>
              </a:ext>
            </a:extLst>
          </p:cNvPr>
          <p:cNvSpPr/>
          <p:nvPr/>
        </p:nvSpPr>
        <p:spPr bwMode="auto">
          <a:xfrm>
            <a:off x="7821403" y="3148329"/>
            <a:ext cx="1710266" cy="78361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60A02D83-F58A-0CFE-FD89-BD1266D08608}"/>
              </a:ext>
            </a:extLst>
          </p:cNvPr>
          <p:cNvSpPr/>
          <p:nvPr/>
        </p:nvSpPr>
        <p:spPr bwMode="auto">
          <a:xfrm>
            <a:off x="2113882" y="4501428"/>
            <a:ext cx="1710266" cy="78361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a:extLst>
              <a:ext uri="{FF2B5EF4-FFF2-40B4-BE49-F238E27FC236}">
                <a16:creationId xmlns:a16="http://schemas.microsoft.com/office/drawing/2014/main" id="{127149FF-8FDC-5E67-FFC2-4690115AB187}"/>
              </a:ext>
            </a:extLst>
          </p:cNvPr>
          <p:cNvSpPr/>
          <p:nvPr/>
        </p:nvSpPr>
        <p:spPr bwMode="auto">
          <a:xfrm>
            <a:off x="2113882" y="3195918"/>
            <a:ext cx="1710266" cy="783619"/>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itle 16">
            <a:extLst>
              <a:ext uri="{FF2B5EF4-FFF2-40B4-BE49-F238E27FC236}">
                <a16:creationId xmlns:a16="http://schemas.microsoft.com/office/drawing/2014/main" id="{80517D9E-8601-9B34-D093-F01D1035775D}"/>
              </a:ext>
            </a:extLst>
          </p:cNvPr>
          <p:cNvSpPr txBox="1">
            <a:spLocks/>
          </p:cNvSpPr>
          <p:nvPr/>
        </p:nvSpPr>
        <p:spPr>
          <a:xfrm>
            <a:off x="3065814" y="498796"/>
            <a:ext cx="6200486" cy="488170"/>
          </a:xfrm>
          <a:prstGeom prst="rect">
            <a:avLst/>
          </a:prstGeom>
        </p:spPr>
        <p:txBody>
          <a:bodyPr vert="horz" lIns="91440" tIns="45720" rIns="91440" bIns="45720" rtlCol="0" anchor="ctr">
            <a:normAutofit fontScale="90000" lnSpcReduction="20000"/>
          </a:bodyPr>
          <a:lstStyle>
            <a:lvl1pPr algn="ctr" defTabSz="932563"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Indexing and Querying</a:t>
            </a:r>
          </a:p>
        </p:txBody>
      </p:sp>
      <p:pic>
        <p:nvPicPr>
          <p:cNvPr id="72" name="Graphic 71" descr="Document icon">
            <a:extLst>
              <a:ext uri="{FF2B5EF4-FFF2-40B4-BE49-F238E27FC236}">
                <a16:creationId xmlns:a16="http://schemas.microsoft.com/office/drawing/2014/main" id="{92510510-C313-BF1A-B521-BE01D7CFB3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11816" y="1803754"/>
            <a:ext cx="914400" cy="914400"/>
          </a:xfrm>
          <a:prstGeom prst="rect">
            <a:avLst/>
          </a:prstGeom>
        </p:spPr>
      </p:pic>
      <p:cxnSp>
        <p:nvCxnSpPr>
          <p:cNvPr id="73" name="Straight Arrow Connector 72" descr="Leads to">
            <a:extLst>
              <a:ext uri="{FF2B5EF4-FFF2-40B4-BE49-F238E27FC236}">
                <a16:creationId xmlns:a16="http://schemas.microsoft.com/office/drawing/2014/main" id="{2CF23F38-0A7A-277F-696F-C63467AB45DC}"/>
              </a:ext>
              <a:ext uri="{C183D7F6-B498-43B3-948B-1728B52AA6E4}">
                <adec:decorative xmlns:adec="http://schemas.microsoft.com/office/drawing/2017/decorative" val="0"/>
              </a:ext>
            </a:extLst>
          </p:cNvPr>
          <p:cNvCxnSpPr/>
          <p:nvPr/>
        </p:nvCxnSpPr>
        <p:spPr>
          <a:xfrm>
            <a:off x="2969016" y="2743249"/>
            <a:ext cx="0" cy="385011"/>
          </a:xfrm>
          <a:prstGeom prst="straightConnector1">
            <a:avLst/>
          </a:prstGeom>
          <a:noFill/>
          <a:ln w="9525" cap="flat" cmpd="sng" algn="ctr">
            <a:solidFill>
              <a:srgbClr val="FFFFFF"/>
            </a:solidFill>
            <a:prstDash val="solid"/>
            <a:headEnd type="none" w="lg" len="med"/>
            <a:tailEnd type="triangle"/>
          </a:ln>
          <a:effectLst/>
        </p:spPr>
      </p:cxnSp>
      <p:sp>
        <p:nvSpPr>
          <p:cNvPr id="74" name="Text Placeholder 1">
            <a:extLst>
              <a:ext uri="{FF2B5EF4-FFF2-40B4-BE49-F238E27FC236}">
                <a16:creationId xmlns:a16="http://schemas.microsoft.com/office/drawing/2014/main" id="{8676FC6A-9927-DCBB-E4E2-7B3E59BAB630}"/>
              </a:ext>
            </a:extLst>
          </p:cNvPr>
          <p:cNvSpPr txBox="1">
            <a:spLocks/>
          </p:cNvSpPr>
          <p:nvPr/>
        </p:nvSpPr>
        <p:spPr>
          <a:xfrm>
            <a:off x="2380575" y="3344158"/>
            <a:ext cx="1180763" cy="57943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pPr>
            <a:r>
              <a:rPr lang="en-US" sz="1600" dirty="0">
                <a:solidFill>
                  <a:srgbClr val="50E6FF"/>
                </a:solidFill>
                <a:latin typeface="Segoe UI"/>
                <a:cs typeface="Segoe UI" pitchFamily="34" charset="0"/>
              </a:rPr>
              <a:t>Document Cracking</a:t>
            </a:r>
          </a:p>
        </p:txBody>
      </p:sp>
      <p:cxnSp>
        <p:nvCxnSpPr>
          <p:cNvPr id="75" name="Straight Arrow Connector 74" descr="Leads to">
            <a:extLst>
              <a:ext uri="{FF2B5EF4-FFF2-40B4-BE49-F238E27FC236}">
                <a16:creationId xmlns:a16="http://schemas.microsoft.com/office/drawing/2014/main" id="{68ECA7D7-E31E-4FF0-5791-AD411D3FF864}"/>
              </a:ext>
              <a:ext uri="{C183D7F6-B498-43B3-948B-1728B52AA6E4}">
                <adec:decorative xmlns:adec="http://schemas.microsoft.com/office/drawing/2017/decorative" val="0"/>
              </a:ext>
            </a:extLst>
          </p:cNvPr>
          <p:cNvCxnSpPr/>
          <p:nvPr/>
        </p:nvCxnSpPr>
        <p:spPr>
          <a:xfrm>
            <a:off x="2971847" y="4054376"/>
            <a:ext cx="0" cy="385011"/>
          </a:xfrm>
          <a:prstGeom prst="straightConnector1">
            <a:avLst/>
          </a:prstGeom>
          <a:noFill/>
          <a:ln w="9525" cap="flat" cmpd="sng" algn="ctr">
            <a:solidFill>
              <a:srgbClr val="FFFFFF"/>
            </a:solidFill>
            <a:prstDash val="solid"/>
            <a:headEnd type="none" w="lg" len="med"/>
            <a:tailEnd type="triangle"/>
          </a:ln>
          <a:effectLst/>
        </p:spPr>
      </p:cxnSp>
      <p:sp>
        <p:nvSpPr>
          <p:cNvPr id="76" name="Text Placeholder 2">
            <a:extLst>
              <a:ext uri="{FF2B5EF4-FFF2-40B4-BE49-F238E27FC236}">
                <a16:creationId xmlns:a16="http://schemas.microsoft.com/office/drawing/2014/main" id="{92EE31E8-72C3-FCCB-1DFE-43BFEA08609C}"/>
              </a:ext>
            </a:extLst>
          </p:cNvPr>
          <p:cNvSpPr txBox="1">
            <a:spLocks/>
          </p:cNvSpPr>
          <p:nvPr/>
        </p:nvSpPr>
        <p:spPr>
          <a:xfrm>
            <a:off x="1888722" y="4624670"/>
            <a:ext cx="2160587" cy="57943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pPr>
            <a:r>
              <a:rPr lang="en-US" sz="1600">
                <a:solidFill>
                  <a:srgbClr val="50E6FF"/>
                </a:solidFill>
                <a:latin typeface="Segoe UI"/>
                <a:cs typeface="Segoe UI" pitchFamily="34" charset="0"/>
              </a:rPr>
              <a:t>AI Enrichments  (optional)</a:t>
            </a:r>
          </a:p>
        </p:txBody>
      </p:sp>
      <p:cxnSp>
        <p:nvCxnSpPr>
          <p:cNvPr id="77" name="Straight Arrow Connector 76" descr="Leads to">
            <a:extLst>
              <a:ext uri="{FF2B5EF4-FFF2-40B4-BE49-F238E27FC236}">
                <a16:creationId xmlns:a16="http://schemas.microsoft.com/office/drawing/2014/main" id="{699E8BE4-AFEE-7F1A-3F29-0B297C1E3195}"/>
              </a:ext>
              <a:ext uri="{C183D7F6-B498-43B3-948B-1728B52AA6E4}">
                <adec:decorative xmlns:adec="http://schemas.microsoft.com/office/drawing/2017/decorative" val="0"/>
              </a:ext>
            </a:extLst>
          </p:cNvPr>
          <p:cNvCxnSpPr/>
          <p:nvPr/>
        </p:nvCxnSpPr>
        <p:spPr>
          <a:xfrm>
            <a:off x="2969016" y="5353786"/>
            <a:ext cx="0" cy="385011"/>
          </a:xfrm>
          <a:prstGeom prst="straightConnector1">
            <a:avLst/>
          </a:prstGeom>
          <a:noFill/>
          <a:ln w="9525" cap="flat" cmpd="sng" algn="ctr">
            <a:solidFill>
              <a:srgbClr val="FFFFFF"/>
            </a:solidFill>
            <a:prstDash val="solid"/>
            <a:headEnd type="none" w="lg" len="med"/>
            <a:tailEnd type="triangle"/>
          </a:ln>
          <a:effectLst/>
        </p:spPr>
      </p:cxnSp>
      <p:sp>
        <p:nvSpPr>
          <p:cNvPr id="78" name="Text Placeholder 3">
            <a:extLst>
              <a:ext uri="{FF2B5EF4-FFF2-40B4-BE49-F238E27FC236}">
                <a16:creationId xmlns:a16="http://schemas.microsoft.com/office/drawing/2014/main" id="{DB3D8C47-D89F-F28F-8A07-54A5AAE35464}"/>
              </a:ext>
            </a:extLst>
          </p:cNvPr>
          <p:cNvSpPr txBox="1">
            <a:spLocks/>
          </p:cNvSpPr>
          <p:nvPr/>
        </p:nvSpPr>
        <p:spPr>
          <a:xfrm>
            <a:off x="2497123" y="5998632"/>
            <a:ext cx="943786" cy="52780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600" dirty="0">
                <a:solidFill>
                  <a:srgbClr val="FFFFFF"/>
                </a:solidFill>
                <a:latin typeface="Segoe UI"/>
                <a:ea typeface="Segoe UI" pitchFamily="34" charset="0"/>
                <a:cs typeface="Segoe UI" pitchFamily="34" charset="0"/>
              </a:rPr>
              <a:t>Inverted Index</a:t>
            </a:r>
          </a:p>
        </p:txBody>
      </p:sp>
      <p:grpSp>
        <p:nvGrpSpPr>
          <p:cNvPr id="79" name="Group 78" descr="Screenshot of a search bar displaying a text, &quot;How to build a better mousetrap&quot;.">
            <a:extLst>
              <a:ext uri="{FF2B5EF4-FFF2-40B4-BE49-F238E27FC236}">
                <a16:creationId xmlns:a16="http://schemas.microsoft.com/office/drawing/2014/main" id="{A95D31C5-DC45-EEA7-2BC9-11D13C0A3F00}"/>
              </a:ext>
            </a:extLst>
          </p:cNvPr>
          <p:cNvGrpSpPr/>
          <p:nvPr/>
        </p:nvGrpSpPr>
        <p:grpSpPr>
          <a:xfrm>
            <a:off x="6968691" y="2079057"/>
            <a:ext cx="3157086" cy="433137"/>
            <a:chOff x="6968691" y="2079057"/>
            <a:chExt cx="3157086" cy="433137"/>
          </a:xfrm>
        </p:grpSpPr>
        <p:sp>
          <p:nvSpPr>
            <p:cNvPr id="80" name="TextBox 79">
              <a:extLst>
                <a:ext uri="{FF2B5EF4-FFF2-40B4-BE49-F238E27FC236}">
                  <a16:creationId xmlns:a16="http://schemas.microsoft.com/office/drawing/2014/main" id="{F4AA59BF-07C6-5599-FFBF-8C45245ED38C}"/>
                </a:ext>
                <a:ext uri="{C183D7F6-B498-43B3-948B-1728B52AA6E4}">
                  <adec:decorative xmlns:adec="http://schemas.microsoft.com/office/drawing/2017/decorative" val="1"/>
                </a:ext>
              </a:extLst>
            </p:cNvPr>
            <p:cNvSpPr txBox="1"/>
            <p:nvPr/>
          </p:nvSpPr>
          <p:spPr>
            <a:xfrm>
              <a:off x="7059560" y="2187903"/>
              <a:ext cx="2512219" cy="215444"/>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50E6FF"/>
                  </a:solidFill>
                  <a:effectLst/>
                  <a:uLnTx/>
                  <a:uFillTx/>
                  <a:ea typeface="Segoe UI" pitchFamily="34" charset="0"/>
                  <a:cs typeface="Segoe UI" pitchFamily="34" charset="0"/>
                </a:rPr>
                <a:t>How to build a better mousetrap</a:t>
              </a:r>
            </a:p>
          </p:txBody>
        </p:sp>
        <p:sp>
          <p:nvSpPr>
            <p:cNvPr id="81" name="Oval 80">
              <a:extLst>
                <a:ext uri="{FF2B5EF4-FFF2-40B4-BE49-F238E27FC236}">
                  <a16:creationId xmlns:a16="http://schemas.microsoft.com/office/drawing/2014/main" id="{B62BBD64-3299-CDE9-EAE1-09CB9177BFC0}"/>
                </a:ext>
                <a:ext uri="{C183D7F6-B498-43B3-948B-1728B52AA6E4}">
                  <adec:decorative xmlns:adec="http://schemas.microsoft.com/office/drawing/2017/decorative" val="1"/>
                </a:ext>
              </a:extLst>
            </p:cNvPr>
            <p:cNvSpPr/>
            <p:nvPr/>
          </p:nvSpPr>
          <p:spPr bwMode="auto">
            <a:xfrm>
              <a:off x="9712163" y="2169514"/>
              <a:ext cx="182880" cy="182880"/>
            </a:xfrm>
            <a:prstGeom prst="ellipse">
              <a:avLst/>
            </a:prstGeom>
            <a:solidFill>
              <a:srgbClr val="000000"/>
            </a:solidFill>
            <a:ln w="222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77A759A1-9A9C-E031-E48D-8ACA6FEE8DB5}"/>
                </a:ext>
                <a:ext uri="{C183D7F6-B498-43B3-948B-1728B52AA6E4}">
                  <adec:decorative xmlns:adec="http://schemas.microsoft.com/office/drawing/2017/decorative" val="1"/>
                </a:ext>
              </a:extLst>
            </p:cNvPr>
            <p:cNvCxnSpPr>
              <a:cxnSpLocks/>
            </p:cNvCxnSpPr>
            <p:nvPr/>
          </p:nvCxnSpPr>
          <p:spPr>
            <a:xfrm>
              <a:off x="9880101" y="2326516"/>
              <a:ext cx="106795" cy="105644"/>
            </a:xfrm>
            <a:prstGeom prst="line">
              <a:avLst/>
            </a:prstGeom>
            <a:noFill/>
            <a:ln w="15875" cap="flat" cmpd="sng" algn="ctr">
              <a:solidFill>
                <a:srgbClr val="FFFFFF"/>
              </a:solidFill>
              <a:prstDash val="solid"/>
              <a:headEnd type="none" w="lg" len="med"/>
              <a:tailEnd type="none" w="lg" len="med"/>
            </a:ln>
            <a:effectLst/>
          </p:spPr>
        </p:cxnSp>
        <p:sp>
          <p:nvSpPr>
            <p:cNvPr id="83" name="Rectangle 82">
              <a:extLst>
                <a:ext uri="{FF2B5EF4-FFF2-40B4-BE49-F238E27FC236}">
                  <a16:creationId xmlns:a16="http://schemas.microsoft.com/office/drawing/2014/main" id="{D9A743C7-AF7B-BF59-141B-54CDE1EB4FC8}"/>
                </a:ext>
                <a:ext uri="{C183D7F6-B498-43B3-948B-1728B52AA6E4}">
                  <adec:decorative xmlns:adec="http://schemas.microsoft.com/office/drawing/2017/decorative" val="1"/>
                </a:ext>
              </a:extLst>
            </p:cNvPr>
            <p:cNvSpPr/>
            <p:nvPr/>
          </p:nvSpPr>
          <p:spPr bwMode="auto">
            <a:xfrm>
              <a:off x="6968691" y="2079057"/>
              <a:ext cx="3157086" cy="433137"/>
            </a:xfrm>
            <a:prstGeom prst="rect">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400" b="0" i="1" u="none" strike="noStrike" kern="0" cap="none" spc="0" normalizeH="0" baseline="0" noProof="0">
                <a:ln>
                  <a:noFill/>
                </a:ln>
                <a:solidFill>
                  <a:srgbClr val="000000">
                    <a:lumMod val="50000"/>
                    <a:lumOff val="50000"/>
                  </a:srgbClr>
                </a:solidFill>
                <a:effectLst/>
                <a:uLnTx/>
                <a:uFillTx/>
                <a:latin typeface="Segoe UI"/>
                <a:ea typeface="Segoe UI" pitchFamily="34" charset="0"/>
                <a:cs typeface="Segoe UI" pitchFamily="34" charset="0"/>
              </a:endParaRPr>
            </a:p>
          </p:txBody>
        </p:sp>
      </p:grpSp>
      <p:cxnSp>
        <p:nvCxnSpPr>
          <p:cNvPr id="84" name="Straight Arrow Connector 83" descr="Leads to">
            <a:extLst>
              <a:ext uri="{FF2B5EF4-FFF2-40B4-BE49-F238E27FC236}">
                <a16:creationId xmlns:a16="http://schemas.microsoft.com/office/drawing/2014/main" id="{8A885CF4-7838-BFF8-6B2A-3281EC424AD4}"/>
              </a:ext>
              <a:ext uri="{C183D7F6-B498-43B3-948B-1728B52AA6E4}">
                <adec:decorative xmlns:adec="http://schemas.microsoft.com/office/drawing/2017/decorative" val="0"/>
              </a:ext>
            </a:extLst>
          </p:cNvPr>
          <p:cNvCxnSpPr/>
          <p:nvPr/>
        </p:nvCxnSpPr>
        <p:spPr>
          <a:xfrm>
            <a:off x="8669397" y="2743249"/>
            <a:ext cx="0" cy="385011"/>
          </a:xfrm>
          <a:prstGeom prst="straightConnector1">
            <a:avLst/>
          </a:prstGeom>
          <a:noFill/>
          <a:ln w="9525" cap="flat" cmpd="sng" algn="ctr">
            <a:solidFill>
              <a:srgbClr val="FFFFFF"/>
            </a:solidFill>
            <a:prstDash val="solid"/>
            <a:headEnd type="none" w="lg" len="med"/>
            <a:tailEnd type="triangle"/>
          </a:ln>
          <a:effectLst/>
        </p:spPr>
      </p:cxnSp>
      <p:sp>
        <p:nvSpPr>
          <p:cNvPr id="85" name="Text Placeholder 6">
            <a:extLst>
              <a:ext uri="{FF2B5EF4-FFF2-40B4-BE49-F238E27FC236}">
                <a16:creationId xmlns:a16="http://schemas.microsoft.com/office/drawing/2014/main" id="{DC4A6CD7-5FE1-1ABB-F517-63ECB4D6DFA8}"/>
              </a:ext>
            </a:extLst>
          </p:cNvPr>
          <p:cNvSpPr txBox="1">
            <a:spLocks/>
          </p:cNvSpPr>
          <p:nvPr/>
        </p:nvSpPr>
        <p:spPr>
          <a:xfrm>
            <a:off x="8072493" y="3341982"/>
            <a:ext cx="1193807" cy="43313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50E6FF"/>
                </a:solidFill>
                <a:effectLst/>
                <a:uLnTx/>
                <a:uFillTx/>
                <a:latin typeface="Segoe UI"/>
                <a:ea typeface="+mn-ea"/>
                <a:cs typeface="Segoe UI" pitchFamily="34" charset="0"/>
              </a:rPr>
              <a:t>Retrieval</a:t>
            </a:r>
            <a:endParaRPr kumimoji="0" lang="en-US" sz="24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endParaRPr>
          </a:p>
        </p:txBody>
      </p:sp>
      <p:cxnSp>
        <p:nvCxnSpPr>
          <p:cNvPr id="86" name="Straight Arrow Connector 85" descr="Leads to">
            <a:extLst>
              <a:ext uri="{FF2B5EF4-FFF2-40B4-BE49-F238E27FC236}">
                <a16:creationId xmlns:a16="http://schemas.microsoft.com/office/drawing/2014/main" id="{E71958D6-8E60-23D8-9F3B-DF4AD39D65B6}"/>
              </a:ext>
              <a:ext uri="{C183D7F6-B498-43B3-948B-1728B52AA6E4}">
                <adec:decorative xmlns:adec="http://schemas.microsoft.com/office/drawing/2017/decorative" val="0"/>
              </a:ext>
            </a:extLst>
          </p:cNvPr>
          <p:cNvCxnSpPr/>
          <p:nvPr/>
        </p:nvCxnSpPr>
        <p:spPr>
          <a:xfrm>
            <a:off x="8672228" y="4054376"/>
            <a:ext cx="0" cy="385011"/>
          </a:xfrm>
          <a:prstGeom prst="straightConnector1">
            <a:avLst/>
          </a:prstGeom>
          <a:noFill/>
          <a:ln w="9525" cap="flat" cmpd="sng" algn="ctr">
            <a:solidFill>
              <a:srgbClr val="FFFFFF"/>
            </a:solidFill>
            <a:prstDash val="solid"/>
            <a:headEnd type="none" w="lg" len="med"/>
            <a:tailEnd type="triangle"/>
          </a:ln>
          <a:effectLst/>
        </p:spPr>
      </p:cxnSp>
      <p:sp>
        <p:nvSpPr>
          <p:cNvPr id="87" name="Text Placeholder 7">
            <a:extLst>
              <a:ext uri="{FF2B5EF4-FFF2-40B4-BE49-F238E27FC236}">
                <a16:creationId xmlns:a16="http://schemas.microsoft.com/office/drawing/2014/main" id="{884A6A84-A3BF-F049-72B2-07A39C810E53}"/>
              </a:ext>
            </a:extLst>
          </p:cNvPr>
          <p:cNvSpPr txBox="1">
            <a:spLocks/>
          </p:cNvSpPr>
          <p:nvPr/>
        </p:nvSpPr>
        <p:spPr>
          <a:xfrm>
            <a:off x="7958193" y="4633940"/>
            <a:ext cx="1436687" cy="385011"/>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pPr>
            <a:r>
              <a:rPr lang="en-US" sz="1600">
                <a:solidFill>
                  <a:srgbClr val="50E6FF"/>
                </a:solidFill>
                <a:latin typeface="Segoe UI"/>
                <a:cs typeface="Segoe UI" pitchFamily="34" charset="0"/>
              </a:rPr>
              <a:t>Ranking</a:t>
            </a:r>
          </a:p>
        </p:txBody>
      </p:sp>
      <p:cxnSp>
        <p:nvCxnSpPr>
          <p:cNvPr id="88" name="Straight Arrow Connector 87" descr="Leads to">
            <a:extLst>
              <a:ext uri="{FF2B5EF4-FFF2-40B4-BE49-F238E27FC236}">
                <a16:creationId xmlns:a16="http://schemas.microsoft.com/office/drawing/2014/main" id="{520625A5-198C-A8F4-0EA4-B4E6372E89CF}"/>
              </a:ext>
              <a:ext uri="{C183D7F6-B498-43B3-948B-1728B52AA6E4}">
                <adec:decorative xmlns:adec="http://schemas.microsoft.com/office/drawing/2017/decorative" val="0"/>
              </a:ext>
            </a:extLst>
          </p:cNvPr>
          <p:cNvCxnSpPr/>
          <p:nvPr/>
        </p:nvCxnSpPr>
        <p:spPr>
          <a:xfrm>
            <a:off x="8669397" y="5342174"/>
            <a:ext cx="0" cy="385011"/>
          </a:xfrm>
          <a:prstGeom prst="straightConnector1">
            <a:avLst/>
          </a:prstGeom>
          <a:noFill/>
          <a:ln w="9525" cap="flat" cmpd="sng" algn="ctr">
            <a:solidFill>
              <a:srgbClr val="FFFFFF"/>
            </a:solidFill>
            <a:prstDash val="solid"/>
            <a:headEnd type="none" w="lg" len="med"/>
            <a:tailEnd type="triangle"/>
          </a:ln>
          <a:effectLst/>
        </p:spPr>
      </p:cxnSp>
      <p:sp>
        <p:nvSpPr>
          <p:cNvPr id="89" name="Text Placeholder 9">
            <a:extLst>
              <a:ext uri="{FF2B5EF4-FFF2-40B4-BE49-F238E27FC236}">
                <a16:creationId xmlns:a16="http://schemas.microsoft.com/office/drawing/2014/main" id="{72987646-5391-CE8B-2D37-C49259C531C0}"/>
              </a:ext>
            </a:extLst>
          </p:cNvPr>
          <p:cNvSpPr txBox="1">
            <a:spLocks/>
          </p:cNvSpPr>
          <p:nvPr/>
        </p:nvSpPr>
        <p:spPr>
          <a:xfrm>
            <a:off x="7794657" y="6095818"/>
            <a:ext cx="1749477" cy="460765"/>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defRPr/>
            </a:pPr>
            <a:r>
              <a:rPr lang="en-US" sz="1600">
                <a:solidFill>
                  <a:srgbClr val="FFFFFF"/>
                </a:solidFill>
                <a:latin typeface="Segoe UI"/>
                <a:ea typeface="Segoe UI" pitchFamily="34" charset="0"/>
                <a:cs typeface="Segoe UI" pitchFamily="34" charset="0"/>
              </a:rPr>
              <a:t>Query Results</a:t>
            </a:r>
          </a:p>
        </p:txBody>
      </p:sp>
      <p:sp>
        <p:nvSpPr>
          <p:cNvPr id="2" name="Text Placeholder 1">
            <a:extLst>
              <a:ext uri="{FF2B5EF4-FFF2-40B4-BE49-F238E27FC236}">
                <a16:creationId xmlns:a16="http://schemas.microsoft.com/office/drawing/2014/main" id="{56205620-F6AF-436C-A541-D389C57313E0}"/>
              </a:ext>
            </a:extLst>
          </p:cNvPr>
          <p:cNvSpPr txBox="1">
            <a:spLocks/>
          </p:cNvSpPr>
          <p:nvPr/>
        </p:nvSpPr>
        <p:spPr>
          <a:xfrm>
            <a:off x="2378633" y="1294981"/>
            <a:ext cx="1180763" cy="57943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pPr>
            <a:r>
              <a:rPr lang="en-US" sz="2000" b="1" dirty="0">
                <a:solidFill>
                  <a:srgbClr val="50E6FF"/>
                </a:solidFill>
                <a:latin typeface="Segoe UI"/>
                <a:cs typeface="Segoe UI" pitchFamily="34" charset="0"/>
              </a:rPr>
              <a:t>Indexing</a:t>
            </a:r>
          </a:p>
        </p:txBody>
      </p:sp>
      <p:sp>
        <p:nvSpPr>
          <p:cNvPr id="3" name="Text Placeholder 1">
            <a:extLst>
              <a:ext uri="{FF2B5EF4-FFF2-40B4-BE49-F238E27FC236}">
                <a16:creationId xmlns:a16="http://schemas.microsoft.com/office/drawing/2014/main" id="{73F7CDE2-A950-61D6-6041-6C94A3AD28FC}"/>
              </a:ext>
            </a:extLst>
          </p:cNvPr>
          <p:cNvSpPr txBox="1">
            <a:spLocks/>
          </p:cNvSpPr>
          <p:nvPr/>
        </p:nvSpPr>
        <p:spPr>
          <a:xfrm>
            <a:off x="7861513" y="1308712"/>
            <a:ext cx="1180763" cy="579438"/>
          </a:xfrm>
          <a:prstGeom prst="rect">
            <a:avLst/>
          </a:prstGeom>
        </p:spPr>
        <p:txBody>
          <a:bodyPr vert="horz" wrap="square" lIns="0" tIns="0" rIns="0" bIns="0" rtlCol="0">
            <a:noAutofit/>
          </a:bodyPr>
          <a:lst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472" fontAlgn="base">
              <a:spcBef>
                <a:spcPct val="0"/>
              </a:spcBef>
              <a:spcAft>
                <a:spcPct val="0"/>
              </a:spcAft>
              <a:buSzTx/>
            </a:pPr>
            <a:r>
              <a:rPr lang="en-US" sz="2000" b="1" dirty="0">
                <a:solidFill>
                  <a:srgbClr val="50E6FF"/>
                </a:solidFill>
                <a:latin typeface="Segoe UI"/>
                <a:cs typeface="Segoe UI" pitchFamily="34" charset="0"/>
              </a:rPr>
              <a:t>Querying</a:t>
            </a:r>
          </a:p>
        </p:txBody>
      </p:sp>
    </p:spTree>
    <p:extLst>
      <p:ext uri="{BB962C8B-B14F-4D97-AF65-F5344CB8AC3E}">
        <p14:creationId xmlns:p14="http://schemas.microsoft.com/office/powerpoint/2010/main" val="3115449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9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8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4" grpId="0" animBg="1"/>
      <p:bldP spid="93" grpId="0" animBg="1"/>
      <p:bldP spid="92" grpId="0" animBg="1"/>
      <p:bldP spid="91" grpId="0" animBg="1"/>
      <p:bldP spid="90" grpId="0" animBg="1"/>
      <p:bldP spid="74" grpId="0"/>
      <p:bldP spid="76" grpId="0"/>
      <p:bldP spid="78" grpId="0"/>
      <p:bldP spid="85" grpId="0"/>
      <p:bldP spid="87" grpId="0"/>
      <p:bldP spid="89" grpId="0"/>
      <p:bldP spid="2" grpId="0"/>
      <p:bldP spid="3"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Title 1">
            <a:extLst>
              <a:ext uri="{FF2B5EF4-FFF2-40B4-BE49-F238E27FC236}">
                <a16:creationId xmlns:a16="http://schemas.microsoft.com/office/drawing/2014/main" id="{1671B98D-8EB3-29A2-753C-2A1F33C87D1B}"/>
              </a:ext>
            </a:extLst>
          </p:cNvPr>
          <p:cNvSpPr>
            <a:spLocks noGrp="1"/>
          </p:cNvSpPr>
          <p:nvPr>
            <p:ph type="title"/>
          </p:nvPr>
        </p:nvSpPr>
        <p:spPr>
          <a:xfrm>
            <a:off x="588263" y="457200"/>
            <a:ext cx="11018520" cy="553998"/>
          </a:xfrm>
        </p:spPr>
        <p:txBody>
          <a:bodyPr/>
          <a:lstStyle/>
          <a:p>
            <a:r>
              <a:rPr lang="en-US" dirty="0"/>
              <a:t>What does it mean to end users?</a:t>
            </a:r>
          </a:p>
        </p:txBody>
      </p:sp>
      <p:sp>
        <p:nvSpPr>
          <p:cNvPr id="1033" name="Text Placeholder 2">
            <a:extLst>
              <a:ext uri="{FF2B5EF4-FFF2-40B4-BE49-F238E27FC236}">
                <a16:creationId xmlns:a16="http://schemas.microsoft.com/office/drawing/2014/main" id="{08ED5FC7-CC3D-6791-B527-363F0A96B8C2}"/>
              </a:ext>
            </a:extLst>
          </p:cNvPr>
          <p:cNvSpPr>
            <a:spLocks noGrp="1"/>
          </p:cNvSpPr>
          <p:nvPr>
            <p:ph type="body" sz="quarter" idx="13"/>
          </p:nvPr>
        </p:nvSpPr>
        <p:spPr>
          <a:xfrm>
            <a:off x="8115300" y="2017713"/>
            <a:ext cx="3494088" cy="615553"/>
          </a:xfrm>
        </p:spPr>
        <p:txBody>
          <a:bodyPr/>
          <a:lstStyle/>
          <a:p>
            <a:r>
              <a:rPr lang="en-US" dirty="0"/>
              <a:t>Answer is governed by access control</a:t>
            </a:r>
          </a:p>
        </p:txBody>
      </p:sp>
      <p:pic>
        <p:nvPicPr>
          <p:cNvPr id="1026" name="Picture 6">
            <a:extLst>
              <a:ext uri="{FF2B5EF4-FFF2-40B4-BE49-F238E27FC236}">
                <a16:creationId xmlns:a16="http://schemas.microsoft.com/office/drawing/2014/main" id="{2FFFCA3A-F02F-5DCF-0DF9-228ADE04B9A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69860" y="1436688"/>
            <a:ext cx="6878791" cy="4832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9634688"/>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67ACED00-315A-4DDD-B655-180CEFCCC74F}"/>
              </a:ext>
            </a:extLst>
          </p:cNvPr>
          <p:cNvSpPr txBox="1">
            <a:spLocks noGrp="1"/>
          </p:cNvSpPr>
          <p:nvPr>
            <p:ph type="title"/>
          </p:nvPr>
        </p:nvSpPr>
        <p:spPr>
          <a:xfrm>
            <a:off x="855657" y="2223000"/>
            <a:ext cx="3183637" cy="5683250"/>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3841"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100" normalizeH="0" baseline="0" noProof="0" dirty="0">
                <a:ln w="3175">
                  <a:noFill/>
                </a:ln>
                <a:solidFill>
                  <a:schemeClr val="bg1"/>
                </a:solidFill>
                <a:effectLst/>
                <a:uLnTx/>
                <a:uFillTx/>
                <a:latin typeface="Segoe UI Semibold" panose="020B0702040204020203" pitchFamily="34" charset="0"/>
                <a:ea typeface="+mn-ea"/>
                <a:cs typeface="Segoe UI Semibold" panose="020B0702040204020203" pitchFamily="34" charset="0"/>
              </a:rPr>
              <a:t>Security Feature</a:t>
            </a:r>
          </a:p>
        </p:txBody>
      </p:sp>
      <p:sp>
        <p:nvSpPr>
          <p:cNvPr id="41" name="Rectangle 40">
            <a:extLst>
              <a:ext uri="{FF2B5EF4-FFF2-40B4-BE49-F238E27FC236}">
                <a16:creationId xmlns:a16="http://schemas.microsoft.com/office/drawing/2014/main" id="{06DD33A8-0B4B-41B0-ACAA-17E9A9D470CA}"/>
              </a:ext>
            </a:extLst>
          </p:cNvPr>
          <p:cNvSpPr/>
          <p:nvPr/>
        </p:nvSpPr>
        <p:spPr>
          <a:xfrm>
            <a:off x="7034681" y="527696"/>
            <a:ext cx="2474179"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ecure and reliable </a:t>
            </a:r>
          </a:p>
        </p:txBody>
      </p:sp>
      <p:grpSp>
        <p:nvGrpSpPr>
          <p:cNvPr id="47" name="Group 308">
            <a:extLst>
              <a:ext uri="{FF2B5EF4-FFF2-40B4-BE49-F238E27FC236}">
                <a16:creationId xmlns:a16="http://schemas.microsoft.com/office/drawing/2014/main" id="{E940CAFA-7696-467A-9E49-1CD3112CC0F5}"/>
              </a:ext>
              <a:ext uri="{C183D7F6-B498-43B3-948B-1728B52AA6E4}">
                <adec:decorative xmlns:adec="http://schemas.microsoft.com/office/drawing/2017/decorative" val="1"/>
              </a:ext>
            </a:extLst>
          </p:cNvPr>
          <p:cNvGrpSpPr>
            <a:grpSpLocks noChangeAspect="1"/>
          </p:cNvGrpSpPr>
          <p:nvPr/>
        </p:nvGrpSpPr>
        <p:grpSpPr bwMode="auto">
          <a:xfrm>
            <a:off x="1912686" y="3074025"/>
            <a:ext cx="534790" cy="706783"/>
            <a:chOff x="4171" y="796"/>
            <a:chExt cx="199" cy="263"/>
          </a:xfrm>
        </p:grpSpPr>
        <p:sp>
          <p:nvSpPr>
            <p:cNvPr id="48" name="Freeform 309">
              <a:extLst>
                <a:ext uri="{FF2B5EF4-FFF2-40B4-BE49-F238E27FC236}">
                  <a16:creationId xmlns:a16="http://schemas.microsoft.com/office/drawing/2014/main" id="{1C9D393E-4936-4AE4-A971-69985F5CF322}"/>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73" name="Freeform 310">
              <a:extLst>
                <a:ext uri="{FF2B5EF4-FFF2-40B4-BE49-F238E27FC236}">
                  <a16:creationId xmlns:a16="http://schemas.microsoft.com/office/drawing/2014/main" id="{AC24DAA6-24A2-435C-930A-579F9632444C}"/>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74" name="Freeform 311">
              <a:extLst>
                <a:ext uri="{FF2B5EF4-FFF2-40B4-BE49-F238E27FC236}">
                  <a16:creationId xmlns:a16="http://schemas.microsoft.com/office/drawing/2014/main" id="{7ADD3A19-D41E-4339-9DB9-5D97E15A469A}"/>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90" name="Group 89">
            <a:extLst>
              <a:ext uri="{FF2B5EF4-FFF2-40B4-BE49-F238E27FC236}">
                <a16:creationId xmlns:a16="http://schemas.microsoft.com/office/drawing/2014/main" id="{3A5B943A-88E2-4834-BFBC-F25321F51DD2}"/>
              </a:ext>
              <a:ext uri="{C183D7F6-B498-43B3-948B-1728B52AA6E4}">
                <adec:decorative xmlns:adec="http://schemas.microsoft.com/office/drawing/2017/decorative" val="1"/>
              </a:ext>
            </a:extLst>
          </p:cNvPr>
          <p:cNvGrpSpPr/>
          <p:nvPr/>
        </p:nvGrpSpPr>
        <p:grpSpPr>
          <a:xfrm>
            <a:off x="4921729" y="1275805"/>
            <a:ext cx="6894449" cy="5250743"/>
            <a:chOff x="377568" y="3069021"/>
            <a:chExt cx="3511260" cy="5827144"/>
          </a:xfrm>
        </p:grpSpPr>
        <p:sp>
          <p:nvSpPr>
            <p:cNvPr id="91" name="Rectangle 90">
              <a:extLst>
                <a:ext uri="{FF2B5EF4-FFF2-40B4-BE49-F238E27FC236}">
                  <a16:creationId xmlns:a16="http://schemas.microsoft.com/office/drawing/2014/main" id="{9918C254-1F52-4C29-9255-05A80DBE0350}"/>
                </a:ext>
              </a:extLst>
            </p:cNvPr>
            <p:cNvSpPr/>
            <p:nvPr/>
          </p:nvSpPr>
          <p:spPr>
            <a:xfrm>
              <a:off x="377568" y="3174989"/>
              <a:ext cx="3412273" cy="5721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Built for the </a:t>
              </a: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cale and performance </a:t>
              </a: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eeds of enterprises</a:t>
              </a: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with </a:t>
              </a: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advanced security and privacy features</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600" b="1" dirty="0">
                <a:solidFill>
                  <a:srgbClr val="000000"/>
                </a:solidFill>
                <a:latin typeface="Segoe UI Semibold" panose="020B0702040204020203" pitchFamily="34" charset="0"/>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calability (partitioning, replication)</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600" b="1" dirty="0">
                <a:solidFill>
                  <a:srgbClr val="000000"/>
                </a:solidFill>
                <a:latin typeface="Segoe UI Semibold" panose="020B0702040204020203" pitchFamily="34" charset="0"/>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Encryption with customer managed keys (CMK)</a:t>
              </a:r>
            </a:p>
            <a:p>
              <a:pPr marL="0" marR="0" lvl="0" indent="0" algn="l" defTabSz="914192" rtl="0" eaLnBrk="1" fontAlgn="auto" latinLnBrk="0" hangingPunct="1">
                <a:lnSpc>
                  <a:spcPct val="100000"/>
                </a:lnSpc>
                <a:spcBef>
                  <a:spcPts val="0"/>
                </a:spcBef>
                <a:spcAft>
                  <a:spcPts val="0"/>
                </a:spcAft>
                <a:buClrTx/>
                <a:buSzTx/>
                <a:buFontTx/>
                <a:buNone/>
                <a:tabLst/>
                <a:defRPr/>
              </a:pPr>
              <a:endParaRPr lang="en-US" sz="1600" b="1" dirty="0">
                <a:solidFill>
                  <a:srgbClr val="000000"/>
                </a:solidFill>
                <a:latin typeface="Segoe UI Semibold" panose="020B0702040204020203" pitchFamily="34" charset="0"/>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Network Isolation and managed identify </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upport for Azure Active Directory role-based access (RBAC) control </a:t>
              </a: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SLA of </a:t>
              </a: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99.9% availability </a:t>
              </a:r>
              <a:r>
                <a:rPr kumimoji="0" lang="en-US" sz="16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with</a:t>
              </a:r>
              <a:r>
                <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 </a:t>
              </a:r>
              <a:r>
                <a:rPr kumimoji="0" lang="en-US" sz="1600" b="1"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i</a:t>
              </a:r>
              <a:r>
                <a:rPr kumimoji="0" lang="en-US" sz="1600" b="0" i="0" u="none" strike="noStrike" kern="1200" cap="none" spc="0" normalizeH="0" baseline="0" noProof="0" dirty="0">
                  <a:ln>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ndustry leading privacy and security</a:t>
              </a:r>
              <a:endPar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rPr>
                <a:t>FedRamp</a:t>
              </a:r>
              <a:endPar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ISO 27001:2013</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SOC 2Type 2</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rPr>
                <a:t>GxP</a:t>
              </a:r>
              <a:r>
                <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21 CFR Part 11)</a:t>
              </a:r>
            </a:p>
            <a:p>
              <a:pPr marL="287338" marR="0" lvl="0" indent="-287338" algn="l" defTabSz="914400" rtl="0" eaLnBrk="1" fontAlgn="base" latinLnBrk="0" hangingPunct="1">
                <a:lnSpc>
                  <a:spcPct val="100000"/>
                </a:lnSpc>
                <a:spcBef>
                  <a:spcPts val="0"/>
                </a:spcBef>
                <a:spcAft>
                  <a:spcPts val="600"/>
                </a:spcAft>
                <a:buClr>
                  <a:srgbClr val="0078D4"/>
                </a:buClr>
                <a:buSzTx/>
                <a:buFont typeface="Segoe UI Emoji" panose="020B0502040204020203"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HIPPAA and the HITECH act </a:t>
              </a:r>
            </a:p>
            <a:p>
              <a:pPr marL="0" marR="0" lvl="0" indent="0" algn="l" defTabSz="914400" rtl="0" eaLnBrk="1" fontAlgn="base" latinLnBrk="0" hangingPunct="1">
                <a:lnSpc>
                  <a:spcPct val="100000"/>
                </a:lnSpc>
                <a:spcBef>
                  <a:spcPts val="0"/>
                </a:spcBef>
                <a:spcAft>
                  <a:spcPts val="600"/>
                </a:spcAft>
                <a:buClr>
                  <a:srgbClr val="0078D4"/>
                </a:buClr>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nd more)</a:t>
              </a:r>
            </a:p>
          </p:txBody>
        </p:sp>
        <p:cxnSp>
          <p:nvCxnSpPr>
            <p:cNvPr id="92" name="Straight Connector 91">
              <a:extLst>
                <a:ext uri="{FF2B5EF4-FFF2-40B4-BE49-F238E27FC236}">
                  <a16:creationId xmlns:a16="http://schemas.microsoft.com/office/drawing/2014/main" id="{0FBF5710-F3C6-4CFD-96A4-963D9EA1ABA0}"/>
                </a:ext>
              </a:extLst>
            </p:cNvPr>
            <p:cNvCxnSpPr>
              <a:cxnSpLocks/>
            </p:cNvCxnSpPr>
            <p:nvPr/>
          </p:nvCxnSpPr>
          <p:spPr>
            <a:xfrm>
              <a:off x="457200" y="3069021"/>
              <a:ext cx="343162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18275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7710432-E319-9F0A-EEDC-127B5873C56E}"/>
              </a:ext>
            </a:extLst>
          </p:cNvPr>
          <p:cNvSpPr>
            <a:spLocks noGrp="1"/>
          </p:cNvSpPr>
          <p:nvPr>
            <p:ph type="title"/>
          </p:nvPr>
        </p:nvSpPr>
        <p:spPr>
          <a:xfrm>
            <a:off x="588263" y="457200"/>
            <a:ext cx="11018520" cy="553998"/>
          </a:xfrm>
        </p:spPr>
        <p:txBody>
          <a:bodyPr/>
          <a:lstStyle/>
          <a:p>
            <a:r>
              <a:rPr lang="en-US" dirty="0"/>
              <a:t>Integrated with </a:t>
            </a:r>
            <a:r>
              <a:rPr lang="en-US" dirty="0" err="1"/>
              <a:t>Entra</a:t>
            </a:r>
            <a:r>
              <a:rPr lang="en-US" dirty="0"/>
              <a:t> ID (AAD)</a:t>
            </a:r>
          </a:p>
        </p:txBody>
      </p:sp>
      <p:sp>
        <p:nvSpPr>
          <p:cNvPr id="5" name="TextBox 4">
            <a:extLst>
              <a:ext uri="{FF2B5EF4-FFF2-40B4-BE49-F238E27FC236}">
                <a16:creationId xmlns:a16="http://schemas.microsoft.com/office/drawing/2014/main" id="{0E8FBAA5-B348-E4FC-826C-D6B4AC41A66B}"/>
              </a:ext>
            </a:extLst>
          </p:cNvPr>
          <p:cNvSpPr txBox="1"/>
          <p:nvPr/>
        </p:nvSpPr>
        <p:spPr>
          <a:xfrm>
            <a:off x="8115300" y="2017713"/>
            <a:ext cx="3494088" cy="4251325"/>
          </a:xfrm>
          <a:prstGeom prst="rect">
            <a:avLst/>
          </a:prstGeom>
        </p:spPr>
        <p:txBody>
          <a:bodyPr vert="horz" wrap="square" lIns="0" tIns="0" rIns="0" bIns="0" rtlCol="0">
            <a:normAutofit/>
          </a:bodyPr>
          <a:lstStyle/>
          <a:p>
            <a:pPr defTabSz="932742">
              <a:spcBef>
                <a:spcPct val="20000"/>
              </a:spcBef>
              <a:buSzPct val="90000"/>
            </a:pPr>
            <a:r>
              <a:rPr lang="en-US" sz="2000" kern="1200" spc="0" baseline="0">
                <a:gradFill>
                  <a:gsLst>
                    <a:gs pos="1250">
                      <a:schemeClr val="tx1"/>
                    </a:gs>
                    <a:gs pos="100000">
                      <a:schemeClr val="tx1"/>
                    </a:gs>
                  </a:gsLst>
                  <a:lin ang="5400000" scaled="0"/>
                </a:gradFill>
                <a:latin typeface="+mn-lt"/>
                <a:ea typeface="+mn-ea"/>
                <a:cs typeface="Segoe UI" panose="020B0502040204020203" pitchFamily="34" charset="0"/>
                <a:hlinkClick r:id="rId2"/>
              </a:rPr>
              <a:t>Access Control in Generative AI applications with Azure Cognitive Search - Microsoft Community </a:t>
            </a:r>
            <a:r>
              <a:rPr lang="en-US" sz="2000" kern="1200" spc="0" baseline="0" dirty="0" err="1">
                <a:gradFill>
                  <a:gsLst>
                    <a:gs pos="1250">
                      <a:schemeClr val="tx1"/>
                    </a:gs>
                    <a:gs pos="100000">
                      <a:schemeClr val="tx1"/>
                    </a:gs>
                  </a:gsLst>
                  <a:lin ang="5400000" scaled="0"/>
                </a:gradFill>
                <a:latin typeface="+mn-lt"/>
                <a:ea typeface="+mn-ea"/>
                <a:cs typeface="Segoe UI" panose="020B0502040204020203" pitchFamily="34" charset="0"/>
                <a:hlinkClick r:id="rId2"/>
              </a:rPr>
              <a:t>HubAccess</a:t>
            </a:r>
            <a:r>
              <a:rPr lang="en-US" sz="2000" kern="1200" spc="0" baseline="0">
                <a:gradFill>
                  <a:gsLst>
                    <a:gs pos="1250">
                      <a:schemeClr val="tx1"/>
                    </a:gs>
                    <a:gs pos="100000">
                      <a:schemeClr val="tx1"/>
                    </a:gs>
                  </a:gsLst>
                  <a:lin ang="5400000" scaled="0"/>
                </a:gradFill>
                <a:latin typeface="+mn-lt"/>
                <a:ea typeface="+mn-ea"/>
                <a:cs typeface="Segoe UI" panose="020B0502040204020203" pitchFamily="34" charset="0"/>
                <a:hlinkClick r:id="rId2"/>
              </a:rPr>
              <a:t> Control in Generative AI applications with Azure Cognitive Search - Microsoft Community Hub</a:t>
            </a:r>
            <a:endParaRPr lang="en-US" sz="2000" kern="1200" spc="0" baseline="0">
              <a:gradFill>
                <a:gsLst>
                  <a:gs pos="1250">
                    <a:schemeClr val="tx1"/>
                  </a:gs>
                  <a:gs pos="100000">
                    <a:schemeClr val="tx1"/>
                  </a:gs>
                </a:gsLst>
                <a:lin ang="5400000" scaled="0"/>
              </a:gradFill>
              <a:latin typeface="+mn-lt"/>
              <a:ea typeface="+mn-ea"/>
              <a:cs typeface="Segoe UI" panose="020B0502040204020203" pitchFamily="34" charset="0"/>
            </a:endParaRPr>
          </a:p>
        </p:txBody>
      </p:sp>
      <p:pic>
        <p:nvPicPr>
          <p:cNvPr id="7" name="Picture 6">
            <a:extLst>
              <a:ext uri="{FF2B5EF4-FFF2-40B4-BE49-F238E27FC236}">
                <a16:creationId xmlns:a16="http://schemas.microsoft.com/office/drawing/2014/main" id="{64CCB2CF-D404-FEE9-FC9E-7CB00A9324EF}"/>
              </a:ext>
            </a:extLst>
          </p:cNvPr>
          <p:cNvPicPr>
            <a:picLocks noChangeAspect="1"/>
          </p:cNvPicPr>
          <p:nvPr/>
        </p:nvPicPr>
        <p:blipFill>
          <a:blip r:embed="rId3"/>
          <a:stretch>
            <a:fillRect/>
          </a:stretch>
        </p:blipFill>
        <p:spPr>
          <a:xfrm>
            <a:off x="582612" y="1967009"/>
            <a:ext cx="7253288" cy="3771708"/>
          </a:xfrm>
          <a:prstGeom prst="rect">
            <a:avLst/>
          </a:prstGeom>
          <a:noFill/>
        </p:spPr>
      </p:pic>
    </p:spTree>
    <p:extLst>
      <p:ext uri="{BB962C8B-B14F-4D97-AF65-F5344CB8AC3E}">
        <p14:creationId xmlns:p14="http://schemas.microsoft.com/office/powerpoint/2010/main" val="343263892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A6BC4-DDC3-23DC-2AF1-F968C41DD7CF}"/>
              </a:ext>
            </a:extLst>
          </p:cNvPr>
          <p:cNvSpPr>
            <a:spLocks noGrp="1"/>
          </p:cNvSpPr>
          <p:nvPr>
            <p:ph type="title"/>
          </p:nvPr>
        </p:nvSpPr>
        <p:spPr/>
        <p:txBody>
          <a:bodyPr/>
          <a:lstStyle/>
          <a:p>
            <a:r>
              <a:rPr lang="en-US"/>
              <a:t>Sample Flow</a:t>
            </a:r>
          </a:p>
        </p:txBody>
      </p:sp>
      <p:sp>
        <p:nvSpPr>
          <p:cNvPr id="3" name="Text Placeholder 2">
            <a:extLst>
              <a:ext uri="{FF2B5EF4-FFF2-40B4-BE49-F238E27FC236}">
                <a16:creationId xmlns:a16="http://schemas.microsoft.com/office/drawing/2014/main" id="{57DE4480-8B27-2D8D-48F7-5B19372BF0E0}"/>
              </a:ext>
            </a:extLst>
          </p:cNvPr>
          <p:cNvSpPr>
            <a:spLocks noGrp="1"/>
          </p:cNvSpPr>
          <p:nvPr>
            <p:ph type="body" sz="quarter" idx="13"/>
          </p:nvPr>
        </p:nvSpPr>
        <p:spPr/>
        <p:txBody>
          <a:bodyPr/>
          <a:lstStyle/>
          <a:p>
            <a:endParaRPr lang="en-US"/>
          </a:p>
        </p:txBody>
      </p:sp>
      <p:pic>
        <p:nvPicPr>
          <p:cNvPr id="6" name="Picture 5">
            <a:extLst>
              <a:ext uri="{FF2B5EF4-FFF2-40B4-BE49-F238E27FC236}">
                <a16:creationId xmlns:a16="http://schemas.microsoft.com/office/drawing/2014/main" id="{A6284D0F-7212-C053-12B0-7FAF5F7A7A4F}"/>
              </a:ext>
            </a:extLst>
          </p:cNvPr>
          <p:cNvPicPr>
            <a:picLocks noChangeAspect="1"/>
          </p:cNvPicPr>
          <p:nvPr/>
        </p:nvPicPr>
        <p:blipFill>
          <a:blip r:embed="rId2"/>
          <a:stretch>
            <a:fillRect/>
          </a:stretch>
        </p:blipFill>
        <p:spPr>
          <a:xfrm>
            <a:off x="378577" y="2095490"/>
            <a:ext cx="11434846" cy="2667019"/>
          </a:xfrm>
          <a:prstGeom prst="rect">
            <a:avLst/>
          </a:prstGeom>
        </p:spPr>
      </p:pic>
    </p:spTree>
    <p:extLst>
      <p:ext uri="{BB962C8B-B14F-4D97-AF65-F5344CB8AC3E}">
        <p14:creationId xmlns:p14="http://schemas.microsoft.com/office/powerpoint/2010/main" val="511424257"/>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30585-093F-E600-B5D7-2024F4B7B447}"/>
              </a:ext>
            </a:extLst>
          </p:cNvPr>
          <p:cNvSpPr>
            <a:spLocks noGrp="1"/>
          </p:cNvSpPr>
          <p:nvPr>
            <p:ph type="title"/>
          </p:nvPr>
        </p:nvSpPr>
        <p:spPr/>
        <p:txBody>
          <a:bodyPr/>
          <a:lstStyle/>
          <a:p>
            <a:r>
              <a:rPr lang="en-US" dirty="0"/>
              <a:t>Private Endpoint</a:t>
            </a:r>
          </a:p>
        </p:txBody>
      </p:sp>
      <p:pic>
        <p:nvPicPr>
          <p:cNvPr id="4" name="Picture 3">
            <a:extLst>
              <a:ext uri="{FF2B5EF4-FFF2-40B4-BE49-F238E27FC236}">
                <a16:creationId xmlns:a16="http://schemas.microsoft.com/office/drawing/2014/main" id="{1416430A-A0FF-4227-85B8-C35C1630D2D2}"/>
              </a:ext>
            </a:extLst>
          </p:cNvPr>
          <p:cNvPicPr>
            <a:picLocks noChangeAspect="1"/>
          </p:cNvPicPr>
          <p:nvPr/>
        </p:nvPicPr>
        <p:blipFill>
          <a:blip r:embed="rId2"/>
          <a:stretch>
            <a:fillRect/>
          </a:stretch>
        </p:blipFill>
        <p:spPr>
          <a:xfrm>
            <a:off x="588263" y="1377164"/>
            <a:ext cx="7261324" cy="2198938"/>
          </a:xfrm>
          <a:prstGeom prst="rect">
            <a:avLst/>
          </a:prstGeom>
        </p:spPr>
      </p:pic>
      <p:sp>
        <p:nvSpPr>
          <p:cNvPr id="8" name="TextBox 7">
            <a:extLst>
              <a:ext uri="{FF2B5EF4-FFF2-40B4-BE49-F238E27FC236}">
                <a16:creationId xmlns:a16="http://schemas.microsoft.com/office/drawing/2014/main" id="{4973E75B-BDC5-420B-C3C8-BD1A51A0D3A2}"/>
              </a:ext>
            </a:extLst>
          </p:cNvPr>
          <p:cNvSpPr txBox="1"/>
          <p:nvPr/>
        </p:nvSpPr>
        <p:spPr>
          <a:xfrm>
            <a:off x="8197369" y="1704022"/>
            <a:ext cx="3324738" cy="1200329"/>
          </a:xfrm>
          <a:prstGeom prst="rect">
            <a:avLst/>
          </a:prstGeom>
          <a:noFill/>
        </p:spPr>
        <p:txBody>
          <a:bodyPr wrap="square">
            <a:spAutoFit/>
          </a:bodyPr>
          <a:lstStyle/>
          <a:p>
            <a:r>
              <a:rPr lang="en-US" dirty="0"/>
              <a:t>allows a client on a virtual network to </a:t>
            </a:r>
            <a:r>
              <a:rPr lang="en-US" dirty="0">
                <a:solidFill>
                  <a:schemeClr val="accent1"/>
                </a:solidFill>
              </a:rPr>
              <a:t>privately and securely</a:t>
            </a:r>
            <a:r>
              <a:rPr lang="en-US" dirty="0"/>
              <a:t> access data in a search index over a Private Link</a:t>
            </a:r>
          </a:p>
        </p:txBody>
      </p:sp>
      <p:sp>
        <p:nvSpPr>
          <p:cNvPr id="12" name="TextBox 11">
            <a:extLst>
              <a:ext uri="{FF2B5EF4-FFF2-40B4-BE49-F238E27FC236}">
                <a16:creationId xmlns:a16="http://schemas.microsoft.com/office/drawing/2014/main" id="{F45856EF-7B93-CD41-88C6-4C9AE4743964}"/>
              </a:ext>
            </a:extLst>
          </p:cNvPr>
          <p:cNvSpPr txBox="1"/>
          <p:nvPr/>
        </p:nvSpPr>
        <p:spPr>
          <a:xfrm>
            <a:off x="588263" y="3957843"/>
            <a:ext cx="6738150" cy="2308324"/>
          </a:xfrm>
          <a:prstGeom prst="rect">
            <a:avLst/>
          </a:prstGeom>
          <a:noFill/>
        </p:spPr>
        <p:txBody>
          <a:bodyPr wrap="square">
            <a:spAutoFit/>
          </a:bodyPr>
          <a:lstStyle/>
          <a:p>
            <a:pPr marL="285750" indent="-285750">
              <a:buFont typeface="Arial" panose="020B0604020202020204" pitchFamily="34" charset="0"/>
              <a:buChar char="•"/>
            </a:pPr>
            <a:r>
              <a:rPr lang="en-US" dirty="0"/>
              <a:t>The private endpoint uses an IP address from the </a:t>
            </a:r>
            <a:r>
              <a:rPr lang="en-US" dirty="0">
                <a:solidFill>
                  <a:schemeClr val="accent1"/>
                </a:solidFill>
              </a:rPr>
              <a:t>virtual network</a:t>
            </a:r>
            <a:r>
              <a:rPr lang="en-US" dirty="0"/>
              <a:t> address space for connections to your search service. </a:t>
            </a:r>
          </a:p>
          <a:p>
            <a:pPr marL="285750" indent="-285750">
              <a:buFont typeface="Arial" panose="020B0604020202020204" pitchFamily="34" charset="0"/>
              <a:buChar char="•"/>
            </a:pPr>
            <a:r>
              <a:rPr lang="en-US" dirty="0"/>
              <a:t>Network traffic between the client and the search service traverses over the virtual network and a private link on the </a:t>
            </a:r>
            <a:r>
              <a:rPr lang="en-US" dirty="0">
                <a:solidFill>
                  <a:schemeClr val="accent1"/>
                </a:solidFill>
              </a:rPr>
              <a:t>Microsoft backbone network</a:t>
            </a:r>
            <a:r>
              <a:rPr lang="en-US" dirty="0"/>
              <a:t>, eliminating exposure from the public internet. </a:t>
            </a:r>
          </a:p>
          <a:p>
            <a:pPr marL="285750" indent="-285750">
              <a:buFont typeface="Arial" panose="020B0604020202020204" pitchFamily="34" charset="0"/>
              <a:buChar char="•"/>
            </a:pPr>
            <a:r>
              <a:rPr lang="en-US" dirty="0"/>
              <a:t>A </a:t>
            </a:r>
            <a:r>
              <a:rPr lang="en-US" dirty="0">
                <a:solidFill>
                  <a:schemeClr val="accent1"/>
                </a:solidFill>
              </a:rPr>
              <a:t>VNET</a:t>
            </a:r>
            <a:r>
              <a:rPr lang="en-US" dirty="0"/>
              <a:t> allows for secure communication among resources, with your on-premises network as well as the Internet.</a:t>
            </a:r>
          </a:p>
        </p:txBody>
      </p:sp>
    </p:spTree>
    <p:extLst>
      <p:ext uri="{BB962C8B-B14F-4D97-AF65-F5344CB8AC3E}">
        <p14:creationId xmlns:p14="http://schemas.microsoft.com/office/powerpoint/2010/main" val="41428262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00DFA1-661A-3870-5511-D43823EA7FF4}"/>
              </a:ext>
            </a:extLst>
          </p:cNvPr>
          <p:cNvSpPr>
            <a:spLocks noGrp="1"/>
          </p:cNvSpPr>
          <p:nvPr>
            <p:ph type="title"/>
          </p:nvPr>
        </p:nvSpPr>
        <p:spPr/>
        <p:txBody>
          <a:bodyPr/>
          <a:lstStyle/>
          <a:p>
            <a:r>
              <a:rPr lang="en-US" dirty="0"/>
              <a:t>Sample Architecture with private access</a:t>
            </a:r>
          </a:p>
        </p:txBody>
      </p:sp>
      <p:sp>
        <p:nvSpPr>
          <p:cNvPr id="2" name="Content Placeholder 1">
            <a:extLst>
              <a:ext uri="{FF2B5EF4-FFF2-40B4-BE49-F238E27FC236}">
                <a16:creationId xmlns:a16="http://schemas.microsoft.com/office/drawing/2014/main" id="{86ED8F3A-9E41-286A-7F3B-7E616D352EEF}"/>
              </a:ext>
            </a:extLst>
          </p:cNvPr>
          <p:cNvSpPr>
            <a:spLocks noGrp="1"/>
          </p:cNvSpPr>
          <p:nvPr>
            <p:ph sz="quarter" idx="10"/>
          </p:nvPr>
        </p:nvSpPr>
        <p:spPr>
          <a:xfrm>
            <a:off x="7841895" y="1427784"/>
            <a:ext cx="4162348" cy="3705630"/>
          </a:xfrm>
        </p:spPr>
        <p:txBody>
          <a:bodyPr/>
          <a:lstStyle/>
          <a:p>
            <a:r>
              <a:rPr lang="en-US" dirty="0"/>
              <a:t>Inbound access with private endpoint</a:t>
            </a:r>
          </a:p>
          <a:p>
            <a:r>
              <a:rPr lang="en-US" dirty="0"/>
              <a:t>Outbound access from Indexer to data source with Shared private access</a:t>
            </a:r>
          </a:p>
          <a:p>
            <a:endParaRPr lang="en-US" dirty="0"/>
          </a:p>
          <a:p>
            <a:endParaRPr lang="en-US" dirty="0"/>
          </a:p>
        </p:txBody>
      </p:sp>
      <p:pic>
        <p:nvPicPr>
          <p:cNvPr id="7" name="Picture 6">
            <a:extLst>
              <a:ext uri="{FF2B5EF4-FFF2-40B4-BE49-F238E27FC236}">
                <a16:creationId xmlns:a16="http://schemas.microsoft.com/office/drawing/2014/main" id="{9559EC58-ED1C-BE8A-B489-567D40C6DAD5}"/>
              </a:ext>
            </a:extLst>
          </p:cNvPr>
          <p:cNvPicPr>
            <a:picLocks noChangeAspect="1"/>
          </p:cNvPicPr>
          <p:nvPr/>
        </p:nvPicPr>
        <p:blipFill>
          <a:blip r:embed="rId2"/>
          <a:stretch>
            <a:fillRect/>
          </a:stretch>
        </p:blipFill>
        <p:spPr>
          <a:xfrm>
            <a:off x="524828" y="1199693"/>
            <a:ext cx="7121907" cy="5519318"/>
          </a:xfrm>
          <a:prstGeom prst="rect">
            <a:avLst/>
          </a:prstGeom>
        </p:spPr>
      </p:pic>
      <p:sp>
        <p:nvSpPr>
          <p:cNvPr id="3" name="Rectangle 2">
            <a:extLst>
              <a:ext uri="{FF2B5EF4-FFF2-40B4-BE49-F238E27FC236}">
                <a16:creationId xmlns:a16="http://schemas.microsoft.com/office/drawing/2014/main" id="{A216970F-800C-061E-FDC8-58F3EF90B937}"/>
              </a:ext>
            </a:extLst>
          </p:cNvPr>
          <p:cNvSpPr/>
          <p:nvPr/>
        </p:nvSpPr>
        <p:spPr bwMode="auto">
          <a:xfrm>
            <a:off x="4601261" y="3152851"/>
            <a:ext cx="3189427" cy="19019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1692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80C3D-0368-8673-01D3-64A2BA5A083A}"/>
              </a:ext>
            </a:extLst>
          </p:cNvPr>
          <p:cNvSpPr>
            <a:spLocks noGrp="1"/>
          </p:cNvSpPr>
          <p:nvPr>
            <p:ph type="title"/>
          </p:nvPr>
        </p:nvSpPr>
        <p:spPr/>
        <p:txBody>
          <a:bodyPr/>
          <a:lstStyle/>
          <a:p>
            <a:r>
              <a:rPr lang="en-US" dirty="0"/>
              <a:t>Data residency</a:t>
            </a:r>
          </a:p>
        </p:txBody>
      </p:sp>
      <p:sp>
        <p:nvSpPr>
          <p:cNvPr id="6" name="TextBox 5">
            <a:extLst>
              <a:ext uri="{FF2B5EF4-FFF2-40B4-BE49-F238E27FC236}">
                <a16:creationId xmlns:a16="http://schemas.microsoft.com/office/drawing/2014/main" id="{0AB39760-1208-9EC8-6992-3C42DF909922}"/>
              </a:ext>
            </a:extLst>
          </p:cNvPr>
          <p:cNvSpPr txBox="1"/>
          <p:nvPr/>
        </p:nvSpPr>
        <p:spPr>
          <a:xfrm>
            <a:off x="2827538" y="2348117"/>
            <a:ext cx="6738150" cy="1754326"/>
          </a:xfrm>
          <a:prstGeom prst="rect">
            <a:avLst/>
          </a:prstGeom>
          <a:noFill/>
        </p:spPr>
        <p:txBody>
          <a:bodyPr wrap="square">
            <a:spAutoFit/>
          </a:bodyPr>
          <a:lstStyle/>
          <a:p>
            <a:r>
              <a:rPr lang="en-US" dirty="0"/>
              <a:t>When you set up a search service, you choose a location or region that determines where customer data is stored and processed. </a:t>
            </a:r>
          </a:p>
          <a:p>
            <a:endParaRPr lang="en-US" dirty="0"/>
          </a:p>
          <a:p>
            <a:r>
              <a:rPr lang="en-US" b="0" i="0" dirty="0">
                <a:solidFill>
                  <a:srgbClr val="161616"/>
                </a:solidFill>
                <a:effectLst/>
                <a:latin typeface="Segoe UI" panose="020B0502040204020203" pitchFamily="34" charset="0"/>
              </a:rPr>
              <a:t>Azure AI Search won't store customer data outside of your specified region</a:t>
            </a:r>
            <a:endParaRPr lang="en-US" dirty="0"/>
          </a:p>
        </p:txBody>
      </p:sp>
      <p:sp>
        <p:nvSpPr>
          <p:cNvPr id="7" name="TextBox 6">
            <a:extLst>
              <a:ext uri="{FF2B5EF4-FFF2-40B4-BE49-F238E27FC236}">
                <a16:creationId xmlns:a16="http://schemas.microsoft.com/office/drawing/2014/main" id="{D46A08E5-4214-FE3C-B8FB-CF3AAE8C110C}"/>
              </a:ext>
            </a:extLst>
          </p:cNvPr>
          <p:cNvSpPr txBox="1"/>
          <p:nvPr/>
        </p:nvSpPr>
        <p:spPr>
          <a:xfrm>
            <a:off x="2898560" y="4746879"/>
            <a:ext cx="6738150" cy="369332"/>
          </a:xfrm>
          <a:prstGeom prst="rect">
            <a:avLst/>
          </a:prstGeom>
          <a:noFill/>
        </p:spPr>
        <p:txBody>
          <a:bodyPr wrap="square">
            <a:spAutoFit/>
          </a:bodyPr>
          <a:lstStyle/>
          <a:p>
            <a:r>
              <a:rPr lang="en-US" dirty="0">
                <a:hlinkClick r:id="rId2"/>
              </a:rPr>
              <a:t>Security overview - Azure AI Search | Microsoft Learn</a:t>
            </a:r>
            <a:endParaRPr lang="en-US" dirty="0"/>
          </a:p>
        </p:txBody>
      </p:sp>
    </p:spTree>
    <p:extLst>
      <p:ext uri="{BB962C8B-B14F-4D97-AF65-F5344CB8AC3E}">
        <p14:creationId xmlns:p14="http://schemas.microsoft.com/office/powerpoint/2010/main" val="191352603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7DDC1-30DC-19F9-7117-4EA492E617C1}"/>
              </a:ext>
            </a:extLst>
          </p:cNvPr>
          <p:cNvSpPr>
            <a:spLocks noGrp="1"/>
          </p:cNvSpPr>
          <p:nvPr>
            <p:ph type="title"/>
          </p:nvPr>
        </p:nvSpPr>
        <p:spPr/>
        <p:txBody>
          <a:bodyPr/>
          <a:lstStyle/>
          <a:p>
            <a:r>
              <a:rPr lang="en-US" dirty="0"/>
              <a:t>Data Protection</a:t>
            </a:r>
          </a:p>
        </p:txBody>
      </p:sp>
      <p:sp>
        <p:nvSpPr>
          <p:cNvPr id="6" name="TextBox 5">
            <a:extLst>
              <a:ext uri="{FF2B5EF4-FFF2-40B4-BE49-F238E27FC236}">
                <a16:creationId xmlns:a16="http://schemas.microsoft.com/office/drawing/2014/main" id="{5FFF7BD6-0B00-A3FE-E93A-6BC4BA81AD7D}"/>
              </a:ext>
            </a:extLst>
          </p:cNvPr>
          <p:cNvSpPr txBox="1"/>
          <p:nvPr/>
        </p:nvSpPr>
        <p:spPr>
          <a:xfrm>
            <a:off x="588263" y="1195785"/>
            <a:ext cx="6738150" cy="1754326"/>
          </a:xfrm>
          <a:prstGeom prst="rect">
            <a:avLst/>
          </a:prstGeom>
          <a:noFill/>
        </p:spPr>
        <p:txBody>
          <a:bodyPr wrap="square">
            <a:spAutoFit/>
          </a:bodyPr>
          <a:lstStyle/>
          <a:p>
            <a:r>
              <a:rPr lang="en-US" u="sng" dirty="0"/>
              <a:t>Data in transit:</a:t>
            </a:r>
          </a:p>
          <a:p>
            <a:pPr marL="285750" indent="-285750">
              <a:buFont typeface="Arial" panose="020B0604020202020204" pitchFamily="34" charset="0"/>
              <a:buChar char="•"/>
            </a:pPr>
            <a:r>
              <a:rPr lang="en-US" b="0" i="0" dirty="0">
                <a:solidFill>
                  <a:srgbClr val="161616"/>
                </a:solidFill>
                <a:effectLst/>
                <a:latin typeface="Segoe UI" panose="020B0502040204020203" pitchFamily="34" charset="0"/>
              </a:rPr>
              <a:t>encryption starts with connections and transmissions</a:t>
            </a:r>
          </a:p>
          <a:p>
            <a:pPr marL="285750" indent="-285750">
              <a:buFont typeface="Arial" panose="020B0604020202020204" pitchFamily="34" charset="0"/>
              <a:buChar char="•"/>
            </a:pPr>
            <a:r>
              <a:rPr lang="en-US" b="0" i="0" dirty="0">
                <a:solidFill>
                  <a:srgbClr val="161616"/>
                </a:solidFill>
                <a:effectLst/>
                <a:latin typeface="Segoe UI" panose="020B0502040204020203" pitchFamily="34" charset="0"/>
              </a:rPr>
              <a:t>All client-to-service connections use TLS 1.2 encryption</a:t>
            </a:r>
          </a:p>
          <a:p>
            <a:endParaRPr lang="en-US" dirty="0">
              <a:solidFill>
                <a:srgbClr val="161616"/>
              </a:solidFill>
              <a:latin typeface="Segoe UI" panose="020B0502040204020203" pitchFamily="34" charset="0"/>
            </a:endParaRPr>
          </a:p>
          <a:p>
            <a:r>
              <a:rPr lang="en-US" u="sng" dirty="0"/>
              <a:t>Data at rest:</a:t>
            </a:r>
          </a:p>
          <a:p>
            <a:endParaRPr lang="en-US" dirty="0"/>
          </a:p>
        </p:txBody>
      </p:sp>
      <p:pic>
        <p:nvPicPr>
          <p:cNvPr id="8" name="Picture 7">
            <a:extLst>
              <a:ext uri="{FF2B5EF4-FFF2-40B4-BE49-F238E27FC236}">
                <a16:creationId xmlns:a16="http://schemas.microsoft.com/office/drawing/2014/main" id="{E65BF51C-4BCE-56E2-E6D5-4C17AA577C18}"/>
              </a:ext>
            </a:extLst>
          </p:cNvPr>
          <p:cNvPicPr>
            <a:picLocks noChangeAspect="1"/>
          </p:cNvPicPr>
          <p:nvPr/>
        </p:nvPicPr>
        <p:blipFill>
          <a:blip r:embed="rId2"/>
          <a:stretch>
            <a:fillRect/>
          </a:stretch>
        </p:blipFill>
        <p:spPr>
          <a:xfrm>
            <a:off x="695002" y="2678501"/>
            <a:ext cx="6043150" cy="3237717"/>
          </a:xfrm>
          <a:prstGeom prst="rect">
            <a:avLst/>
          </a:prstGeom>
        </p:spPr>
      </p:pic>
      <p:sp>
        <p:nvSpPr>
          <p:cNvPr id="12" name="TextBox 11">
            <a:extLst>
              <a:ext uri="{FF2B5EF4-FFF2-40B4-BE49-F238E27FC236}">
                <a16:creationId xmlns:a16="http://schemas.microsoft.com/office/drawing/2014/main" id="{72200D7F-5CBD-D049-E64E-25E18015F010}"/>
              </a:ext>
            </a:extLst>
          </p:cNvPr>
          <p:cNvSpPr txBox="1"/>
          <p:nvPr/>
        </p:nvSpPr>
        <p:spPr>
          <a:xfrm>
            <a:off x="695002" y="6045667"/>
            <a:ext cx="10286676" cy="646331"/>
          </a:xfrm>
          <a:prstGeom prst="rect">
            <a:avLst/>
          </a:prstGeom>
          <a:noFill/>
        </p:spPr>
        <p:txBody>
          <a:bodyPr wrap="square">
            <a:spAutoFit/>
          </a:bodyPr>
          <a:lstStyle/>
          <a:p>
            <a:r>
              <a:rPr lang="en-US" dirty="0"/>
              <a:t>Optionally, you can add customer-managed keys (CMK) for supplemental encryption of indexed content for double encryption of data at rest.</a:t>
            </a:r>
          </a:p>
        </p:txBody>
      </p:sp>
    </p:spTree>
    <p:extLst>
      <p:ext uri="{BB962C8B-B14F-4D97-AF65-F5344CB8AC3E}">
        <p14:creationId xmlns:p14="http://schemas.microsoft.com/office/powerpoint/2010/main" val="355417516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E2BBE5-E3B8-2732-61AC-E2067A94E0B6}"/>
              </a:ext>
            </a:extLst>
          </p:cNvPr>
          <p:cNvSpPr txBox="1">
            <a:spLocks/>
          </p:cNvSpPr>
          <p:nvPr/>
        </p:nvSpPr>
        <p:spPr>
          <a:xfrm>
            <a:off x="348792" y="448733"/>
            <a:ext cx="1101852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dirty="0">
                <a:ln w="3175">
                  <a:noFill/>
                </a:ln>
                <a:gradFill>
                  <a:gsLst>
                    <a:gs pos="1250">
                      <a:sysClr val="windowText" lastClr="000000"/>
                    </a:gs>
                    <a:gs pos="100000">
                      <a:sysClr val="windowText" lastClr="000000"/>
                    </a:gs>
                  </a:gsLst>
                  <a:lin ang="5400000" scaled="0"/>
                </a:gradFill>
                <a:effectLst/>
                <a:uLnTx/>
                <a:uFillTx/>
                <a:latin typeface="Segoe UI Semibold"/>
                <a:ea typeface="+mn-ea"/>
                <a:cs typeface="Segoe UI" pitchFamily="34" charset="0"/>
              </a:rPr>
              <a:t>Catalogue search/ Product Discovery Search</a:t>
            </a:r>
          </a:p>
        </p:txBody>
      </p:sp>
      <p:sp>
        <p:nvSpPr>
          <p:cNvPr id="4" name="Rectangle 3">
            <a:extLst>
              <a:ext uri="{FF2B5EF4-FFF2-40B4-BE49-F238E27FC236}">
                <a16:creationId xmlns:a16="http://schemas.microsoft.com/office/drawing/2014/main" id="{EF5A49A8-E18A-F164-99D1-12A647858E60}"/>
              </a:ext>
            </a:extLst>
          </p:cNvPr>
          <p:cNvSpPr/>
          <p:nvPr/>
        </p:nvSpPr>
        <p:spPr>
          <a:xfrm>
            <a:off x="348792" y="915550"/>
            <a:ext cx="11018519" cy="276999"/>
          </a:xfrm>
          <a:prstGeom prst="rect">
            <a:avLst/>
          </a:prstGeom>
        </p:spPr>
        <p:txBody>
          <a:bodyPr vert="horz" wrap="square" lIns="0" tIns="0" rIns="0" bIns="0" rtlCol="0" anchor="t">
            <a:spAutoFit/>
          </a:bodyPr>
          <a:lstStyle/>
          <a:p>
            <a:pPr defTabSz="932742">
              <a:spcBef>
                <a:spcPct val="0"/>
              </a:spcBef>
              <a:defRPr/>
            </a:pPr>
            <a:r>
              <a:rPr lang="en-US" spc="-10">
                <a:ln w="3175">
                  <a:noFill/>
                </a:ln>
                <a:solidFill>
                  <a:srgbClr val="0078D4"/>
                </a:solidFill>
                <a:latin typeface="Segoe UI Semibold"/>
                <a:cs typeface="Segoe UI" pitchFamily="34" charset="0"/>
              </a:rPr>
              <a:t>Surface relevant product details for your customers</a:t>
            </a:r>
          </a:p>
        </p:txBody>
      </p:sp>
      <p:grpSp>
        <p:nvGrpSpPr>
          <p:cNvPr id="5" name="Group 4">
            <a:extLst>
              <a:ext uri="{FF2B5EF4-FFF2-40B4-BE49-F238E27FC236}">
                <a16:creationId xmlns:a16="http://schemas.microsoft.com/office/drawing/2014/main" id="{F490AF61-2CD7-C189-3954-8DFA70F920D8}"/>
              </a:ext>
              <a:ext uri="{C183D7F6-B498-43B3-948B-1728B52AA6E4}">
                <adec:decorative xmlns:adec="http://schemas.microsoft.com/office/drawing/2017/decorative" val="1"/>
              </a:ext>
            </a:extLst>
          </p:cNvPr>
          <p:cNvGrpSpPr/>
          <p:nvPr/>
        </p:nvGrpSpPr>
        <p:grpSpPr>
          <a:xfrm>
            <a:off x="17947" y="1228479"/>
            <a:ext cx="12106901" cy="5004578"/>
            <a:chOff x="17947" y="1228479"/>
            <a:chExt cx="12106901" cy="5004578"/>
          </a:xfrm>
        </p:grpSpPr>
        <p:sp>
          <p:nvSpPr>
            <p:cNvPr id="6" name="Rectangle 5">
              <a:extLst>
                <a:ext uri="{FF2B5EF4-FFF2-40B4-BE49-F238E27FC236}">
                  <a16:creationId xmlns:a16="http://schemas.microsoft.com/office/drawing/2014/main" id="{56F47479-EC98-D121-5510-6786FDD05631}"/>
                </a:ext>
              </a:extLst>
            </p:cNvPr>
            <p:cNvSpPr/>
            <p:nvPr/>
          </p:nvSpPr>
          <p:spPr>
            <a:xfrm>
              <a:off x="10429102" y="2971773"/>
              <a:ext cx="1311276" cy="253916"/>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panose="020B0702040204020203" pitchFamily="34" charset="0"/>
                  <a:cs typeface="Segoe UI Semibold" panose="020B0702040204020203" pitchFamily="34" charset="0"/>
                </a:rPr>
                <a:t>Azure Web App</a:t>
              </a:r>
            </a:p>
          </p:txBody>
        </p:sp>
        <p:sp>
          <p:nvSpPr>
            <p:cNvPr id="7" name="Right Bracket 6">
              <a:extLst>
                <a:ext uri="{FF2B5EF4-FFF2-40B4-BE49-F238E27FC236}">
                  <a16:creationId xmlns:a16="http://schemas.microsoft.com/office/drawing/2014/main" id="{DD44F690-9B40-A08D-F2F1-AB47F11FAA6F}"/>
                </a:ext>
              </a:extLst>
            </p:cNvPr>
            <p:cNvSpPr/>
            <p:nvPr/>
          </p:nvSpPr>
          <p:spPr>
            <a:xfrm>
              <a:off x="1230360" y="1760019"/>
              <a:ext cx="210586" cy="1257300"/>
            </a:xfrm>
            <a:prstGeom prst="rightBracket">
              <a:avLst>
                <a:gd name="adj" fmla="val 0"/>
              </a:avLst>
            </a:prstGeom>
            <a:noFill/>
            <a:ln w="12700" cap="flat" cmpd="sng" algn="ctr">
              <a:solidFill>
                <a:srgbClr val="000000"/>
              </a:solidFill>
              <a:prstDash val="solid"/>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0505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247952E7-DAC8-79CF-F5A0-1AE62E17F695}"/>
                </a:ext>
              </a:extLst>
            </p:cNvPr>
            <p:cNvSpPr txBox="1"/>
            <p:nvPr/>
          </p:nvSpPr>
          <p:spPr>
            <a:xfrm>
              <a:off x="121119" y="4155947"/>
              <a:ext cx="1396451"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Products, pricing catalogue, orders</a:t>
              </a:r>
            </a:p>
          </p:txBody>
        </p:sp>
        <p:sp>
          <p:nvSpPr>
            <p:cNvPr id="9" name="Rectangle 8">
              <a:extLst>
                <a:ext uri="{FF2B5EF4-FFF2-40B4-BE49-F238E27FC236}">
                  <a16:creationId xmlns:a16="http://schemas.microsoft.com/office/drawing/2014/main" id="{7D5B1FE0-81D3-B4F6-A264-2AB83F2F3362}"/>
                </a:ext>
              </a:extLst>
            </p:cNvPr>
            <p:cNvSpPr/>
            <p:nvPr/>
          </p:nvSpPr>
          <p:spPr>
            <a:xfrm>
              <a:off x="17947" y="3064862"/>
              <a:ext cx="1475072" cy="307777"/>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a:rPr>
                <a:t>Ingest</a:t>
              </a:r>
            </a:p>
          </p:txBody>
        </p:sp>
        <p:cxnSp>
          <p:nvCxnSpPr>
            <p:cNvPr id="10" name="Straight Arrow Connector 9">
              <a:extLst>
                <a:ext uri="{FF2B5EF4-FFF2-40B4-BE49-F238E27FC236}">
                  <a16:creationId xmlns:a16="http://schemas.microsoft.com/office/drawing/2014/main" id="{1D9E3ACC-56F0-96AB-02D0-A701EEF771FB}"/>
                </a:ext>
              </a:extLst>
            </p:cNvPr>
            <p:cNvCxnSpPr>
              <a:cxnSpLocks/>
            </p:cNvCxnSpPr>
            <p:nvPr/>
          </p:nvCxnSpPr>
          <p:spPr>
            <a:xfrm flipV="1">
              <a:off x="760423" y="3350575"/>
              <a:ext cx="0" cy="307882"/>
            </a:xfrm>
            <a:prstGeom prst="straightConnector1">
              <a:avLst/>
            </a:prstGeom>
            <a:noFill/>
            <a:ln w="12700" cap="flat" cmpd="sng" algn="ctr">
              <a:solidFill>
                <a:srgbClr val="0078D4"/>
              </a:solidFill>
              <a:prstDash val="solid"/>
              <a:headEnd type="none"/>
              <a:tailEnd type="triangle"/>
            </a:ln>
            <a:effectLst/>
          </p:spPr>
        </p:cxnSp>
        <p:cxnSp>
          <p:nvCxnSpPr>
            <p:cNvPr id="11" name="Straight Arrow Connector 10">
              <a:extLst>
                <a:ext uri="{FF2B5EF4-FFF2-40B4-BE49-F238E27FC236}">
                  <a16:creationId xmlns:a16="http://schemas.microsoft.com/office/drawing/2014/main" id="{9512D011-41D9-11E2-BE0A-FEBC3B6FBE5A}"/>
                </a:ext>
              </a:extLst>
            </p:cNvPr>
            <p:cNvCxnSpPr>
              <a:cxnSpLocks/>
            </p:cNvCxnSpPr>
            <p:nvPr/>
          </p:nvCxnSpPr>
          <p:spPr>
            <a:xfrm>
              <a:off x="8914467" y="2340326"/>
              <a:ext cx="868134" cy="0"/>
            </a:xfrm>
            <a:prstGeom prst="straightConnector1">
              <a:avLst/>
            </a:prstGeom>
            <a:noFill/>
            <a:ln w="12700" cap="flat" cmpd="sng" algn="ctr">
              <a:solidFill>
                <a:srgbClr val="0078D4"/>
              </a:solidFill>
              <a:prstDash val="solid"/>
              <a:headEnd type="none"/>
              <a:tailEnd type="triangle"/>
            </a:ln>
            <a:effectLst/>
          </p:spPr>
        </p:cxnSp>
        <p:sp>
          <p:nvSpPr>
            <p:cNvPr id="12" name="TextBox 11">
              <a:extLst>
                <a:ext uri="{FF2B5EF4-FFF2-40B4-BE49-F238E27FC236}">
                  <a16:creationId xmlns:a16="http://schemas.microsoft.com/office/drawing/2014/main" id="{A1CFDD35-3507-9EF9-A976-2131895E32C3}"/>
                </a:ext>
              </a:extLst>
            </p:cNvPr>
            <p:cNvSpPr txBox="1"/>
            <p:nvPr/>
          </p:nvSpPr>
          <p:spPr>
            <a:xfrm>
              <a:off x="176452" y="4998255"/>
              <a:ext cx="1285784" cy="253916"/>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Segoe UI Semibold" panose="020B0702040204020203" pitchFamily="34" charset="0"/>
                  <a:cs typeface="Segoe UI Semibold" panose="020B0702040204020203" pitchFamily="34" charset="0"/>
                </a:rPr>
                <a:t>Invoicing sales</a:t>
              </a:r>
            </a:p>
          </p:txBody>
        </p:sp>
        <p:sp>
          <p:nvSpPr>
            <p:cNvPr id="13" name="Rectangle 12">
              <a:extLst>
                <a:ext uri="{FF2B5EF4-FFF2-40B4-BE49-F238E27FC236}">
                  <a16:creationId xmlns:a16="http://schemas.microsoft.com/office/drawing/2014/main" id="{C9838144-E5F5-BCCF-3DE4-75CCD8F89B6B}"/>
                </a:ext>
              </a:extLst>
            </p:cNvPr>
            <p:cNvSpPr/>
            <p:nvPr/>
          </p:nvSpPr>
          <p:spPr>
            <a:xfrm>
              <a:off x="6251174" y="1689702"/>
              <a:ext cx="3319461" cy="276999"/>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4"/>
                  </a:solidFill>
                  <a:effectLst/>
                  <a:uLnTx/>
                  <a:uFillTx/>
                  <a:latin typeface="Segoe UI Semibold"/>
                </a:rPr>
                <a:t>Search index in AI Search</a:t>
              </a:r>
            </a:p>
          </p:txBody>
        </p:sp>
        <p:sp>
          <p:nvSpPr>
            <p:cNvPr id="14" name="Rectangle 13">
              <a:extLst>
                <a:ext uri="{FF2B5EF4-FFF2-40B4-BE49-F238E27FC236}">
                  <a16:creationId xmlns:a16="http://schemas.microsoft.com/office/drawing/2014/main" id="{C0D6995C-8D13-C8F4-3F2E-9BFC74444435}"/>
                </a:ext>
              </a:extLst>
            </p:cNvPr>
            <p:cNvSpPr/>
            <p:nvPr/>
          </p:nvSpPr>
          <p:spPr>
            <a:xfrm>
              <a:off x="10104878" y="1707569"/>
              <a:ext cx="1475072" cy="461665"/>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4"/>
                  </a:solidFill>
                  <a:effectLst/>
                  <a:uLnTx/>
                  <a:uFillTx/>
                  <a:latin typeface="Segoe UI Semibold"/>
                </a:rPr>
                <a:t>Query/Search Retrieval</a:t>
              </a:r>
            </a:p>
          </p:txBody>
        </p:sp>
        <p:sp>
          <p:nvSpPr>
            <p:cNvPr id="15" name="Rectangle 14">
              <a:extLst>
                <a:ext uri="{FF2B5EF4-FFF2-40B4-BE49-F238E27FC236}">
                  <a16:creationId xmlns:a16="http://schemas.microsoft.com/office/drawing/2014/main" id="{0E9814AD-0A7E-087E-EA04-FC6834386C2B}"/>
                </a:ext>
              </a:extLst>
            </p:cNvPr>
            <p:cNvSpPr/>
            <p:nvPr/>
          </p:nvSpPr>
          <p:spPr>
            <a:xfrm>
              <a:off x="2769967" y="1228479"/>
              <a:ext cx="2488225" cy="276999"/>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4"/>
                  </a:solidFill>
                  <a:effectLst/>
                  <a:uLnTx/>
                  <a:uFillTx/>
                  <a:latin typeface="Segoe UI Semibold"/>
                </a:rPr>
                <a:t>Azure AI Search </a:t>
              </a:r>
            </a:p>
          </p:txBody>
        </p:sp>
        <p:grpSp>
          <p:nvGrpSpPr>
            <p:cNvPr id="16" name="Group 15">
              <a:extLst>
                <a:ext uri="{FF2B5EF4-FFF2-40B4-BE49-F238E27FC236}">
                  <a16:creationId xmlns:a16="http://schemas.microsoft.com/office/drawing/2014/main" id="{E4BD8AB2-B13E-374E-CEF5-8914B1A4B046}"/>
                </a:ext>
              </a:extLst>
            </p:cNvPr>
            <p:cNvGrpSpPr/>
            <p:nvPr/>
          </p:nvGrpSpPr>
          <p:grpSpPr>
            <a:xfrm>
              <a:off x="10363551" y="2171576"/>
              <a:ext cx="1027966" cy="720714"/>
              <a:chOff x="10283524" y="2608041"/>
              <a:chExt cx="1222540" cy="958584"/>
            </a:xfrm>
          </p:grpSpPr>
          <p:grpSp>
            <p:nvGrpSpPr>
              <p:cNvPr id="58" name="Group 57">
                <a:extLst>
                  <a:ext uri="{FF2B5EF4-FFF2-40B4-BE49-F238E27FC236}">
                    <a16:creationId xmlns:a16="http://schemas.microsoft.com/office/drawing/2014/main" id="{31D2D8C7-FFE1-0B55-6DDA-B4EA128AE192}"/>
                  </a:ext>
                </a:extLst>
              </p:cNvPr>
              <p:cNvGrpSpPr/>
              <p:nvPr/>
            </p:nvGrpSpPr>
            <p:grpSpPr>
              <a:xfrm>
                <a:off x="10283524" y="2608041"/>
                <a:ext cx="1222540" cy="958584"/>
                <a:chOff x="8598353" y="4344078"/>
                <a:chExt cx="944789" cy="740802"/>
              </a:xfrm>
            </p:grpSpPr>
            <p:sp>
              <p:nvSpPr>
                <p:cNvPr id="64" name="Freeform 5">
                  <a:extLst>
                    <a:ext uri="{FF2B5EF4-FFF2-40B4-BE49-F238E27FC236}">
                      <a16:creationId xmlns:a16="http://schemas.microsoft.com/office/drawing/2014/main" id="{CEF07BE6-9C5E-788A-2BA0-FE8B45F07F6A}"/>
                    </a:ext>
                  </a:extLst>
                </p:cNvPr>
                <p:cNvSpPr>
                  <a:spLocks/>
                </p:cNvSpPr>
                <p:nvPr/>
              </p:nvSpPr>
              <p:spPr bwMode="auto">
                <a:xfrm>
                  <a:off x="8598353" y="4344078"/>
                  <a:ext cx="944789" cy="740802"/>
                </a:xfrm>
                <a:custGeom>
                  <a:avLst/>
                  <a:gdLst>
                    <a:gd name="T0" fmla="*/ 0 w 426"/>
                    <a:gd name="T1" fmla="*/ 12 h 333"/>
                    <a:gd name="T2" fmla="*/ 0 w 426"/>
                    <a:gd name="T3" fmla="*/ 12 h 333"/>
                    <a:gd name="T4" fmla="*/ 0 w 426"/>
                    <a:gd name="T5" fmla="*/ 255 h 333"/>
                    <a:gd name="T6" fmla="*/ 12 w 426"/>
                    <a:gd name="T7" fmla="*/ 268 h 333"/>
                    <a:gd name="T8" fmla="*/ 195 w 426"/>
                    <a:gd name="T9" fmla="*/ 268 h 333"/>
                    <a:gd name="T10" fmla="*/ 195 w 426"/>
                    <a:gd name="T11" fmla="*/ 306 h 333"/>
                    <a:gd name="T12" fmla="*/ 130 w 426"/>
                    <a:gd name="T13" fmla="*/ 306 h 333"/>
                    <a:gd name="T14" fmla="*/ 130 w 426"/>
                    <a:gd name="T15" fmla="*/ 333 h 333"/>
                    <a:gd name="T16" fmla="*/ 293 w 426"/>
                    <a:gd name="T17" fmla="*/ 333 h 333"/>
                    <a:gd name="T18" fmla="*/ 293 w 426"/>
                    <a:gd name="T19" fmla="*/ 306 h 333"/>
                    <a:gd name="T20" fmla="*/ 228 w 426"/>
                    <a:gd name="T21" fmla="*/ 306 h 333"/>
                    <a:gd name="T22" fmla="*/ 228 w 426"/>
                    <a:gd name="T23" fmla="*/ 268 h 333"/>
                    <a:gd name="T24" fmla="*/ 413 w 426"/>
                    <a:gd name="T25" fmla="*/ 268 h 333"/>
                    <a:gd name="T26" fmla="*/ 426 w 426"/>
                    <a:gd name="T27" fmla="*/ 255 h 333"/>
                    <a:gd name="T28" fmla="*/ 426 w 426"/>
                    <a:gd name="T29" fmla="*/ 12 h 333"/>
                    <a:gd name="T30" fmla="*/ 413 w 426"/>
                    <a:gd name="T31" fmla="*/ 0 h 333"/>
                    <a:gd name="T32" fmla="*/ 12 w 426"/>
                    <a:gd name="T33" fmla="*/ 0 h 333"/>
                    <a:gd name="T34" fmla="*/ 0 w 426"/>
                    <a:gd name="T35" fmla="*/ 1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6" h="333">
                      <a:moveTo>
                        <a:pt x="0" y="12"/>
                      </a:moveTo>
                      <a:lnTo>
                        <a:pt x="0" y="12"/>
                      </a:lnTo>
                      <a:lnTo>
                        <a:pt x="0" y="255"/>
                      </a:lnTo>
                      <a:cubicBezTo>
                        <a:pt x="0" y="262"/>
                        <a:pt x="5" y="268"/>
                        <a:pt x="12" y="268"/>
                      </a:cubicBezTo>
                      <a:lnTo>
                        <a:pt x="195" y="268"/>
                      </a:lnTo>
                      <a:lnTo>
                        <a:pt x="195" y="306"/>
                      </a:lnTo>
                      <a:lnTo>
                        <a:pt x="130" y="306"/>
                      </a:lnTo>
                      <a:lnTo>
                        <a:pt x="130" y="333"/>
                      </a:lnTo>
                      <a:lnTo>
                        <a:pt x="293" y="333"/>
                      </a:lnTo>
                      <a:lnTo>
                        <a:pt x="293" y="306"/>
                      </a:lnTo>
                      <a:lnTo>
                        <a:pt x="228" y="306"/>
                      </a:lnTo>
                      <a:lnTo>
                        <a:pt x="228" y="268"/>
                      </a:lnTo>
                      <a:lnTo>
                        <a:pt x="413" y="268"/>
                      </a:lnTo>
                      <a:cubicBezTo>
                        <a:pt x="420" y="268"/>
                        <a:pt x="426" y="262"/>
                        <a:pt x="426" y="255"/>
                      </a:cubicBezTo>
                      <a:lnTo>
                        <a:pt x="426" y="12"/>
                      </a:lnTo>
                      <a:cubicBezTo>
                        <a:pt x="426" y="5"/>
                        <a:pt x="420" y="0"/>
                        <a:pt x="413" y="0"/>
                      </a:cubicBezTo>
                      <a:lnTo>
                        <a:pt x="12" y="0"/>
                      </a:lnTo>
                      <a:cubicBezTo>
                        <a:pt x="5" y="0"/>
                        <a:pt x="0" y="5"/>
                        <a:pt x="0" y="1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useBgFill="1">
              <p:nvSpPr>
                <p:cNvPr id="65" name="Rectangle 64">
                  <a:extLst>
                    <a:ext uri="{FF2B5EF4-FFF2-40B4-BE49-F238E27FC236}">
                      <a16:creationId xmlns:a16="http://schemas.microsoft.com/office/drawing/2014/main" id="{B5060E0A-4AF2-2749-464C-3B0FE78A1B72}"/>
                    </a:ext>
                  </a:extLst>
                </p:cNvPr>
                <p:cNvSpPr/>
                <p:nvPr/>
              </p:nvSpPr>
              <p:spPr bwMode="auto">
                <a:xfrm>
                  <a:off x="8658600" y="4406671"/>
                  <a:ext cx="824296" cy="471490"/>
                </a:xfrm>
                <a:prstGeom prst="rect">
                  <a:avLst/>
                </a:prstGeom>
                <a:solidFill>
                  <a:srgbClr val="50E6FF">
                    <a:shade val="80000"/>
                    <a:satMod val="1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D455780C-6CE7-EA61-CFE9-9602B681710A}"/>
                  </a:ext>
                </a:extLst>
              </p:cNvPr>
              <p:cNvGrpSpPr/>
              <p:nvPr/>
            </p:nvGrpSpPr>
            <p:grpSpPr>
              <a:xfrm>
                <a:off x="10620185" y="2778642"/>
                <a:ext cx="549218" cy="430854"/>
                <a:chOff x="9152808" y="3451427"/>
                <a:chExt cx="493296" cy="386984"/>
              </a:xfrm>
            </p:grpSpPr>
            <p:grpSp>
              <p:nvGrpSpPr>
                <p:cNvPr id="60" name="Group 59">
                  <a:extLst>
                    <a:ext uri="{FF2B5EF4-FFF2-40B4-BE49-F238E27FC236}">
                      <a16:creationId xmlns:a16="http://schemas.microsoft.com/office/drawing/2014/main" id="{FC0F77A3-36E7-597D-9522-25DB353B063D}"/>
                    </a:ext>
                  </a:extLst>
                </p:cNvPr>
                <p:cNvGrpSpPr/>
                <p:nvPr/>
              </p:nvGrpSpPr>
              <p:grpSpPr>
                <a:xfrm>
                  <a:off x="9152808" y="3451427"/>
                  <a:ext cx="493296" cy="386984"/>
                  <a:chOff x="9215306" y="3500456"/>
                  <a:chExt cx="368300" cy="288925"/>
                </a:xfrm>
              </p:grpSpPr>
              <p:sp>
                <p:nvSpPr>
                  <p:cNvPr id="62" name="Freeform 283">
                    <a:extLst>
                      <a:ext uri="{FF2B5EF4-FFF2-40B4-BE49-F238E27FC236}">
                        <a16:creationId xmlns:a16="http://schemas.microsoft.com/office/drawing/2014/main" id="{292C80BB-C60B-228F-A79D-8D0D4AA97A1E}"/>
                      </a:ext>
                    </a:extLst>
                  </p:cNvPr>
                  <p:cNvSpPr>
                    <a:spLocks/>
                  </p:cNvSpPr>
                  <p:nvPr/>
                </p:nvSpPr>
                <p:spPr bwMode="auto">
                  <a:xfrm>
                    <a:off x="9215306" y="3579831"/>
                    <a:ext cx="368300" cy="209550"/>
                  </a:xfrm>
                  <a:prstGeom prst="rect">
                    <a:avLst/>
                  </a:pr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63" name="Freeform 284">
                    <a:extLst>
                      <a:ext uri="{FF2B5EF4-FFF2-40B4-BE49-F238E27FC236}">
                        <a16:creationId xmlns:a16="http://schemas.microsoft.com/office/drawing/2014/main" id="{69661886-F2E0-1283-7FBA-C91937337B9E}"/>
                      </a:ext>
                    </a:extLst>
                  </p:cNvPr>
                  <p:cNvSpPr>
                    <a:spLocks/>
                  </p:cNvSpPr>
                  <p:nvPr/>
                </p:nvSpPr>
                <p:spPr bwMode="auto">
                  <a:xfrm>
                    <a:off x="9215306" y="3500456"/>
                    <a:ext cx="368300" cy="52388"/>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grpSp>
            <p:sp>
              <p:nvSpPr>
                <p:cNvPr id="61" name="Graphic 9" descr="World">
                  <a:extLst>
                    <a:ext uri="{FF2B5EF4-FFF2-40B4-BE49-F238E27FC236}">
                      <a16:creationId xmlns:a16="http://schemas.microsoft.com/office/drawing/2014/main" id="{A640CFEB-6E2F-11B9-F664-F322BDC1A5F4}"/>
                    </a:ext>
                  </a:extLst>
                </p:cNvPr>
                <p:cNvSpPr/>
                <p:nvPr/>
              </p:nvSpPr>
              <p:spPr>
                <a:xfrm>
                  <a:off x="9295506" y="3594126"/>
                  <a:ext cx="207900" cy="207900"/>
                </a:xfrm>
                <a:custGeom>
                  <a:avLst/>
                  <a:gdLst>
                    <a:gd name="connsiteX0" fmla="*/ 421481 w 733425"/>
                    <a:gd name="connsiteY0" fmla="*/ 669131 h 733425"/>
                    <a:gd name="connsiteX1" fmla="*/ 558641 w 733425"/>
                    <a:gd name="connsiteY1" fmla="*/ 388144 h 733425"/>
                    <a:gd name="connsiteX2" fmla="*/ 672941 w 733425"/>
                    <a:gd name="connsiteY2" fmla="*/ 388144 h 733425"/>
                    <a:gd name="connsiteX3" fmla="*/ 421481 w 733425"/>
                    <a:gd name="connsiteY3" fmla="*/ 669131 h 733425"/>
                    <a:gd name="connsiteX4" fmla="*/ 65246 w 733425"/>
                    <a:gd name="connsiteY4" fmla="*/ 388144 h 733425"/>
                    <a:gd name="connsiteX5" fmla="*/ 179546 w 733425"/>
                    <a:gd name="connsiteY5" fmla="*/ 388144 h 733425"/>
                    <a:gd name="connsiteX6" fmla="*/ 316706 w 733425"/>
                    <a:gd name="connsiteY6" fmla="*/ 669131 h 733425"/>
                    <a:gd name="connsiteX7" fmla="*/ 65246 w 733425"/>
                    <a:gd name="connsiteY7" fmla="*/ 388144 h 733425"/>
                    <a:gd name="connsiteX8" fmla="*/ 316706 w 733425"/>
                    <a:gd name="connsiteY8" fmla="*/ 69056 h 733425"/>
                    <a:gd name="connsiteX9" fmla="*/ 179546 w 733425"/>
                    <a:gd name="connsiteY9" fmla="*/ 350044 h 733425"/>
                    <a:gd name="connsiteX10" fmla="*/ 65246 w 733425"/>
                    <a:gd name="connsiteY10" fmla="*/ 350044 h 733425"/>
                    <a:gd name="connsiteX11" fmla="*/ 316706 w 733425"/>
                    <a:gd name="connsiteY11" fmla="*/ 69056 h 733425"/>
                    <a:gd name="connsiteX12" fmla="*/ 388144 w 733425"/>
                    <a:gd name="connsiteY12" fmla="*/ 388144 h 733425"/>
                    <a:gd name="connsiteX13" fmla="*/ 520541 w 733425"/>
                    <a:gd name="connsiteY13" fmla="*/ 388144 h 733425"/>
                    <a:gd name="connsiteX14" fmla="*/ 388144 w 733425"/>
                    <a:gd name="connsiteY14" fmla="*/ 650081 h 733425"/>
                    <a:gd name="connsiteX15" fmla="*/ 388144 w 733425"/>
                    <a:gd name="connsiteY15" fmla="*/ 388144 h 733425"/>
                    <a:gd name="connsiteX16" fmla="*/ 350044 w 733425"/>
                    <a:gd name="connsiteY16" fmla="*/ 388144 h 733425"/>
                    <a:gd name="connsiteX17" fmla="*/ 350044 w 733425"/>
                    <a:gd name="connsiteY17" fmla="*/ 650081 h 733425"/>
                    <a:gd name="connsiteX18" fmla="*/ 217646 w 733425"/>
                    <a:gd name="connsiteY18" fmla="*/ 388144 h 733425"/>
                    <a:gd name="connsiteX19" fmla="*/ 350044 w 733425"/>
                    <a:gd name="connsiteY19" fmla="*/ 388144 h 733425"/>
                    <a:gd name="connsiteX20" fmla="*/ 388144 w 733425"/>
                    <a:gd name="connsiteY20" fmla="*/ 88106 h 733425"/>
                    <a:gd name="connsiteX21" fmla="*/ 520541 w 733425"/>
                    <a:gd name="connsiteY21" fmla="*/ 350044 h 733425"/>
                    <a:gd name="connsiteX22" fmla="*/ 388144 w 733425"/>
                    <a:gd name="connsiteY22" fmla="*/ 350044 h 733425"/>
                    <a:gd name="connsiteX23" fmla="*/ 388144 w 733425"/>
                    <a:gd name="connsiteY23" fmla="*/ 88106 h 733425"/>
                    <a:gd name="connsiteX24" fmla="*/ 350044 w 733425"/>
                    <a:gd name="connsiteY24" fmla="*/ 350044 h 733425"/>
                    <a:gd name="connsiteX25" fmla="*/ 217646 w 733425"/>
                    <a:gd name="connsiteY25" fmla="*/ 350044 h 733425"/>
                    <a:gd name="connsiteX26" fmla="*/ 350044 w 733425"/>
                    <a:gd name="connsiteY26" fmla="*/ 88106 h 733425"/>
                    <a:gd name="connsiteX27" fmla="*/ 350044 w 733425"/>
                    <a:gd name="connsiteY27" fmla="*/ 350044 h 733425"/>
                    <a:gd name="connsiteX28" fmla="*/ 672941 w 733425"/>
                    <a:gd name="connsiteY28" fmla="*/ 350044 h 733425"/>
                    <a:gd name="connsiteX29" fmla="*/ 558641 w 733425"/>
                    <a:gd name="connsiteY29" fmla="*/ 350044 h 733425"/>
                    <a:gd name="connsiteX30" fmla="*/ 421481 w 733425"/>
                    <a:gd name="connsiteY30" fmla="*/ 69056 h 733425"/>
                    <a:gd name="connsiteX31" fmla="*/ 672941 w 733425"/>
                    <a:gd name="connsiteY31" fmla="*/ 350044 h 733425"/>
                    <a:gd name="connsiteX32" fmla="*/ 369094 w 733425"/>
                    <a:gd name="connsiteY32" fmla="*/ 7144 h 733425"/>
                    <a:gd name="connsiteX33" fmla="*/ 7144 w 733425"/>
                    <a:gd name="connsiteY33" fmla="*/ 369094 h 733425"/>
                    <a:gd name="connsiteX34" fmla="*/ 369094 w 733425"/>
                    <a:gd name="connsiteY34" fmla="*/ 731044 h 733425"/>
                    <a:gd name="connsiteX35" fmla="*/ 731044 w 733425"/>
                    <a:gd name="connsiteY35" fmla="*/ 369094 h 733425"/>
                    <a:gd name="connsiteX36" fmla="*/ 369094 w 733425"/>
                    <a:gd name="connsiteY36" fmla="*/ 71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33425" h="733425">
                      <a:moveTo>
                        <a:pt x="421481" y="669131"/>
                      </a:moveTo>
                      <a:cubicBezTo>
                        <a:pt x="483394" y="592931"/>
                        <a:pt x="551974" y="496729"/>
                        <a:pt x="558641" y="388144"/>
                      </a:cubicBezTo>
                      <a:lnTo>
                        <a:pt x="672941" y="388144"/>
                      </a:lnTo>
                      <a:cubicBezTo>
                        <a:pt x="664369" y="530066"/>
                        <a:pt x="558641" y="645319"/>
                        <a:pt x="421481" y="669131"/>
                      </a:cubicBezTo>
                      <a:close/>
                      <a:moveTo>
                        <a:pt x="65246" y="388144"/>
                      </a:moveTo>
                      <a:lnTo>
                        <a:pt x="179546" y="388144"/>
                      </a:lnTo>
                      <a:cubicBezTo>
                        <a:pt x="187166" y="496729"/>
                        <a:pt x="254794" y="592931"/>
                        <a:pt x="316706" y="669131"/>
                      </a:cubicBezTo>
                      <a:cubicBezTo>
                        <a:pt x="179546" y="645319"/>
                        <a:pt x="73819" y="530066"/>
                        <a:pt x="65246" y="388144"/>
                      </a:cubicBezTo>
                      <a:close/>
                      <a:moveTo>
                        <a:pt x="316706" y="69056"/>
                      </a:moveTo>
                      <a:cubicBezTo>
                        <a:pt x="254794" y="145256"/>
                        <a:pt x="186214" y="241459"/>
                        <a:pt x="179546" y="350044"/>
                      </a:cubicBezTo>
                      <a:lnTo>
                        <a:pt x="65246" y="350044"/>
                      </a:lnTo>
                      <a:cubicBezTo>
                        <a:pt x="73819" y="208121"/>
                        <a:pt x="179546" y="92869"/>
                        <a:pt x="316706" y="69056"/>
                      </a:cubicBezTo>
                      <a:close/>
                      <a:moveTo>
                        <a:pt x="388144" y="388144"/>
                      </a:moveTo>
                      <a:lnTo>
                        <a:pt x="520541" y="388144"/>
                      </a:lnTo>
                      <a:cubicBezTo>
                        <a:pt x="512921" y="486251"/>
                        <a:pt x="449104" y="574834"/>
                        <a:pt x="388144" y="650081"/>
                      </a:cubicBezTo>
                      <a:lnTo>
                        <a:pt x="388144" y="388144"/>
                      </a:lnTo>
                      <a:close/>
                      <a:moveTo>
                        <a:pt x="350044" y="388144"/>
                      </a:moveTo>
                      <a:lnTo>
                        <a:pt x="350044" y="650081"/>
                      </a:lnTo>
                      <a:cubicBezTo>
                        <a:pt x="289084" y="574834"/>
                        <a:pt x="225266" y="486251"/>
                        <a:pt x="217646" y="388144"/>
                      </a:cubicBezTo>
                      <a:lnTo>
                        <a:pt x="350044" y="388144"/>
                      </a:lnTo>
                      <a:close/>
                      <a:moveTo>
                        <a:pt x="388144" y="88106"/>
                      </a:moveTo>
                      <a:cubicBezTo>
                        <a:pt x="449104" y="163354"/>
                        <a:pt x="512921" y="250984"/>
                        <a:pt x="520541" y="350044"/>
                      </a:cubicBezTo>
                      <a:lnTo>
                        <a:pt x="388144" y="350044"/>
                      </a:lnTo>
                      <a:lnTo>
                        <a:pt x="388144" y="88106"/>
                      </a:lnTo>
                      <a:close/>
                      <a:moveTo>
                        <a:pt x="350044" y="350044"/>
                      </a:moveTo>
                      <a:lnTo>
                        <a:pt x="217646" y="350044"/>
                      </a:lnTo>
                      <a:cubicBezTo>
                        <a:pt x="225266" y="251936"/>
                        <a:pt x="289084" y="163354"/>
                        <a:pt x="350044" y="88106"/>
                      </a:cubicBezTo>
                      <a:lnTo>
                        <a:pt x="350044" y="350044"/>
                      </a:lnTo>
                      <a:close/>
                      <a:moveTo>
                        <a:pt x="672941" y="350044"/>
                      </a:moveTo>
                      <a:lnTo>
                        <a:pt x="558641" y="350044"/>
                      </a:lnTo>
                      <a:cubicBezTo>
                        <a:pt x="551974" y="241459"/>
                        <a:pt x="483394" y="145256"/>
                        <a:pt x="421481" y="69056"/>
                      </a:cubicBezTo>
                      <a:cubicBezTo>
                        <a:pt x="558641" y="92869"/>
                        <a:pt x="664369" y="208121"/>
                        <a:pt x="672941" y="350044"/>
                      </a:cubicBezTo>
                      <a:close/>
                      <a:moveTo>
                        <a:pt x="369094" y="7144"/>
                      </a:moveTo>
                      <a:cubicBezTo>
                        <a:pt x="169069" y="7144"/>
                        <a:pt x="7144" y="169069"/>
                        <a:pt x="7144" y="369094"/>
                      </a:cubicBezTo>
                      <a:cubicBezTo>
                        <a:pt x="7144" y="569119"/>
                        <a:pt x="169069" y="731044"/>
                        <a:pt x="369094" y="731044"/>
                      </a:cubicBezTo>
                      <a:cubicBezTo>
                        <a:pt x="569119" y="731044"/>
                        <a:pt x="731044" y="569119"/>
                        <a:pt x="731044" y="369094"/>
                      </a:cubicBezTo>
                      <a:cubicBezTo>
                        <a:pt x="731044" y="169069"/>
                        <a:pt x="569119" y="7144"/>
                        <a:pt x="369094" y="7144"/>
                      </a:cubicBez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grpSp>
        </p:grpSp>
        <p:sp>
          <p:nvSpPr>
            <p:cNvPr id="17" name="Freeform 205">
              <a:extLst>
                <a:ext uri="{FF2B5EF4-FFF2-40B4-BE49-F238E27FC236}">
                  <a16:creationId xmlns:a16="http://schemas.microsoft.com/office/drawing/2014/main" id="{0F28C756-08CA-49E2-F254-A697DD4D5750}"/>
                </a:ext>
              </a:extLst>
            </p:cNvPr>
            <p:cNvSpPr/>
            <p:nvPr/>
          </p:nvSpPr>
          <p:spPr bwMode="auto">
            <a:xfrm>
              <a:off x="7575855" y="1997479"/>
              <a:ext cx="1055912" cy="720714"/>
            </a:xfrm>
            <a:custGeom>
              <a:avLst/>
              <a:gdLst>
                <a:gd name="connsiteX0" fmla="*/ 2332249 w 4045340"/>
                <a:gd name="connsiteY0" fmla="*/ 997217 h 2761159"/>
                <a:gd name="connsiteX1" fmla="*/ 2630676 w 4045340"/>
                <a:gd name="connsiteY1" fmla="*/ 1120830 h 2761159"/>
                <a:gd name="connsiteX2" fmla="*/ 2630676 w 4045340"/>
                <a:gd name="connsiteY2" fmla="*/ 1717686 h 2761159"/>
                <a:gd name="connsiteX3" fmla="*/ 2033822 w 4045340"/>
                <a:gd name="connsiteY3" fmla="*/ 1717686 h 2761159"/>
                <a:gd name="connsiteX4" fmla="*/ 2033822 w 4045340"/>
                <a:gd name="connsiteY4" fmla="*/ 1120830 h 2761159"/>
                <a:gd name="connsiteX5" fmla="*/ 2332249 w 4045340"/>
                <a:gd name="connsiteY5" fmla="*/ 997217 h 2761159"/>
                <a:gd name="connsiteX6" fmla="*/ 2332249 w 4045340"/>
                <a:gd name="connsiteY6" fmla="*/ 792731 h 2761159"/>
                <a:gd name="connsiteX7" fmla="*/ 1889229 w 4045340"/>
                <a:gd name="connsiteY7" fmla="*/ 976236 h 2761159"/>
                <a:gd name="connsiteX8" fmla="*/ 1777405 w 4045340"/>
                <a:gd name="connsiteY8" fmla="*/ 1710621 h 2761159"/>
                <a:gd name="connsiteX9" fmla="*/ 1789003 w 4045340"/>
                <a:gd name="connsiteY9" fmla="*/ 1730248 h 2761159"/>
                <a:gd name="connsiteX10" fmla="*/ 1319082 w 4045340"/>
                <a:gd name="connsiteY10" fmla="*/ 2197420 h 2761159"/>
                <a:gd name="connsiteX11" fmla="*/ 1298142 w 4045340"/>
                <a:gd name="connsiteY11" fmla="*/ 2402892 h 2761159"/>
                <a:gd name="connsiteX12" fmla="*/ 1319083 w 4045340"/>
                <a:gd name="connsiteY12" fmla="*/ 2428528 h 2761159"/>
                <a:gd name="connsiteX13" fmla="*/ 1319082 w 4045340"/>
                <a:gd name="connsiteY13" fmla="*/ 2428528 h 2761159"/>
                <a:gd name="connsiteX14" fmla="*/ 1319083 w 4045340"/>
                <a:gd name="connsiteY14" fmla="*/ 2428528 h 2761159"/>
                <a:gd name="connsiteX15" fmla="*/ 1319083 w 4045340"/>
                <a:gd name="connsiteY15" fmla="*/ 2428528 h 2761159"/>
                <a:gd name="connsiteX16" fmla="*/ 1344718 w 4045340"/>
                <a:gd name="connsiteY16" fmla="*/ 2449468 h 2761159"/>
                <a:gd name="connsiteX17" fmla="*/ 1550190 w 4045340"/>
                <a:gd name="connsiteY17" fmla="*/ 2428528 h 2761159"/>
                <a:gd name="connsiteX18" fmla="*/ 2016481 w 4045340"/>
                <a:gd name="connsiteY18" fmla="*/ 1959681 h 2761159"/>
                <a:gd name="connsiteX19" fmla="*/ 2040887 w 4045340"/>
                <a:gd name="connsiteY19" fmla="*/ 1974103 h 2761159"/>
                <a:gd name="connsiteX20" fmla="*/ 2775268 w 4045340"/>
                <a:gd name="connsiteY20" fmla="*/ 1862280 h 2761159"/>
                <a:gd name="connsiteX21" fmla="*/ 2775268 w 4045340"/>
                <a:gd name="connsiteY21" fmla="*/ 976237 h 2761159"/>
                <a:gd name="connsiteX22" fmla="*/ 2332249 w 4045340"/>
                <a:gd name="connsiteY22" fmla="*/ 792731 h 2761159"/>
                <a:gd name="connsiteX23" fmla="*/ 2551785 w 4045340"/>
                <a:gd name="connsiteY23" fmla="*/ 0 h 2761159"/>
                <a:gd name="connsiteX24" fmla="*/ 3531439 w 4045340"/>
                <a:gd name="connsiteY24" fmla="*/ 979654 h 2761159"/>
                <a:gd name="connsiteX25" fmla="*/ 3511536 w 4045340"/>
                <a:gd name="connsiteY25" fmla="*/ 1177089 h 2761159"/>
                <a:gd name="connsiteX26" fmla="*/ 3490037 w 4045340"/>
                <a:gd name="connsiteY26" fmla="*/ 1246348 h 2761159"/>
                <a:gd name="connsiteX27" fmla="*/ 3574149 w 4045340"/>
                <a:gd name="connsiteY27" fmla="*/ 1272458 h 2761159"/>
                <a:gd name="connsiteX28" fmla="*/ 4045340 w 4045340"/>
                <a:gd name="connsiteY28" fmla="*/ 1983321 h 2761159"/>
                <a:gd name="connsiteX29" fmla="*/ 3273849 w 4045340"/>
                <a:gd name="connsiteY29" fmla="*/ 2754812 h 2761159"/>
                <a:gd name="connsiteX30" fmla="*/ 771491 w 4045340"/>
                <a:gd name="connsiteY30" fmla="*/ 2754812 h 2761159"/>
                <a:gd name="connsiteX31" fmla="*/ 0 w 4045340"/>
                <a:gd name="connsiteY31" fmla="*/ 1983321 h 2761159"/>
                <a:gd name="connsiteX32" fmla="*/ 471192 w 4045340"/>
                <a:gd name="connsiteY32" fmla="*/ 1272458 h 2761159"/>
                <a:gd name="connsiteX33" fmla="*/ 540229 w 4045340"/>
                <a:gd name="connsiteY33" fmla="*/ 1251028 h 2761159"/>
                <a:gd name="connsiteX34" fmla="*/ 518947 w 4045340"/>
                <a:gd name="connsiteY34" fmla="*/ 1182467 h 2761159"/>
                <a:gd name="connsiteX35" fmla="*/ 505086 w 4045340"/>
                <a:gd name="connsiteY35" fmla="*/ 1044973 h 2761159"/>
                <a:gd name="connsiteX36" fmla="*/ 1187319 w 4045340"/>
                <a:gd name="connsiteY36" fmla="*/ 362740 h 2761159"/>
                <a:gd name="connsiteX37" fmla="*/ 1568762 w 4045340"/>
                <a:gd name="connsiteY37" fmla="*/ 479255 h 2761159"/>
                <a:gd name="connsiteX38" fmla="*/ 1668902 w 4045340"/>
                <a:gd name="connsiteY38" fmla="*/ 561878 h 2761159"/>
                <a:gd name="connsiteX39" fmla="*/ 1739441 w 4045340"/>
                <a:gd name="connsiteY39" fmla="*/ 431920 h 2761159"/>
                <a:gd name="connsiteX40" fmla="*/ 2551785 w 4045340"/>
                <a:gd name="connsiteY40" fmla="*/ 0 h 276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45340" h="2761159">
                  <a:moveTo>
                    <a:pt x="2332249" y="997217"/>
                  </a:moveTo>
                  <a:cubicBezTo>
                    <a:pt x="2440258" y="997217"/>
                    <a:pt x="2548268" y="1038421"/>
                    <a:pt x="2630676" y="1120830"/>
                  </a:cubicBezTo>
                  <a:cubicBezTo>
                    <a:pt x="2795492" y="1285647"/>
                    <a:pt x="2795492" y="1552869"/>
                    <a:pt x="2630676" y="1717686"/>
                  </a:cubicBezTo>
                  <a:cubicBezTo>
                    <a:pt x="2465859" y="1882504"/>
                    <a:pt x="2198639" y="1882504"/>
                    <a:pt x="2033822" y="1717686"/>
                  </a:cubicBezTo>
                  <a:cubicBezTo>
                    <a:pt x="1869005" y="1552869"/>
                    <a:pt x="1869005" y="1285647"/>
                    <a:pt x="2033822" y="1120830"/>
                  </a:cubicBezTo>
                  <a:cubicBezTo>
                    <a:pt x="2116230" y="1038421"/>
                    <a:pt x="2224239" y="997217"/>
                    <a:pt x="2332249" y="997217"/>
                  </a:cubicBezTo>
                  <a:close/>
                  <a:moveTo>
                    <a:pt x="2332249" y="792731"/>
                  </a:moveTo>
                  <a:cubicBezTo>
                    <a:pt x="2171907" y="792731"/>
                    <a:pt x="2011565" y="853900"/>
                    <a:pt x="1889229" y="976236"/>
                  </a:cubicBezTo>
                  <a:cubicBezTo>
                    <a:pt x="1690432" y="1175034"/>
                    <a:pt x="1653158" y="1474190"/>
                    <a:pt x="1777405" y="1710621"/>
                  </a:cubicBezTo>
                  <a:lnTo>
                    <a:pt x="1789003" y="1730248"/>
                  </a:lnTo>
                  <a:cubicBezTo>
                    <a:pt x="1712616" y="1811381"/>
                    <a:pt x="1429582" y="2087621"/>
                    <a:pt x="1319082" y="2197420"/>
                  </a:cubicBezTo>
                  <a:cubicBezTo>
                    <a:pt x="1263241" y="2253261"/>
                    <a:pt x="1256261" y="2339461"/>
                    <a:pt x="1298142" y="2402892"/>
                  </a:cubicBezTo>
                  <a:lnTo>
                    <a:pt x="1319083" y="2428528"/>
                  </a:lnTo>
                  <a:lnTo>
                    <a:pt x="1319082" y="2428528"/>
                  </a:lnTo>
                  <a:lnTo>
                    <a:pt x="1319083" y="2428528"/>
                  </a:lnTo>
                  <a:lnTo>
                    <a:pt x="1319083" y="2428528"/>
                  </a:lnTo>
                  <a:lnTo>
                    <a:pt x="1344718" y="2449468"/>
                  </a:lnTo>
                  <a:cubicBezTo>
                    <a:pt x="1408148" y="2491349"/>
                    <a:pt x="1494348" y="2484369"/>
                    <a:pt x="1550190" y="2428528"/>
                  </a:cubicBezTo>
                  <a:cubicBezTo>
                    <a:pt x="1705620" y="2272246"/>
                    <a:pt x="1861051" y="2115964"/>
                    <a:pt x="2016481" y="1959681"/>
                  </a:cubicBezTo>
                  <a:lnTo>
                    <a:pt x="2040887" y="1974103"/>
                  </a:lnTo>
                  <a:cubicBezTo>
                    <a:pt x="2277318" y="2098352"/>
                    <a:pt x="2576472" y="2061077"/>
                    <a:pt x="2775268" y="1862280"/>
                  </a:cubicBezTo>
                  <a:cubicBezTo>
                    <a:pt x="3019941" y="1617605"/>
                    <a:pt x="3019941" y="1220911"/>
                    <a:pt x="2775268" y="976237"/>
                  </a:cubicBezTo>
                  <a:cubicBezTo>
                    <a:pt x="2652932" y="853900"/>
                    <a:pt x="2492590" y="792731"/>
                    <a:pt x="2332249" y="792731"/>
                  </a:cubicBezTo>
                  <a:close/>
                  <a:moveTo>
                    <a:pt x="2551785" y="0"/>
                  </a:moveTo>
                  <a:cubicBezTo>
                    <a:pt x="3092833" y="0"/>
                    <a:pt x="3531439" y="438606"/>
                    <a:pt x="3531439" y="979654"/>
                  </a:cubicBezTo>
                  <a:cubicBezTo>
                    <a:pt x="3531439" y="1047285"/>
                    <a:pt x="3524586" y="1113316"/>
                    <a:pt x="3511536" y="1177089"/>
                  </a:cubicBezTo>
                  <a:lnTo>
                    <a:pt x="3490037" y="1246348"/>
                  </a:lnTo>
                  <a:lnTo>
                    <a:pt x="3574149" y="1272458"/>
                  </a:lnTo>
                  <a:cubicBezTo>
                    <a:pt x="3851048" y="1389576"/>
                    <a:pt x="4045340" y="1663759"/>
                    <a:pt x="4045340" y="1983321"/>
                  </a:cubicBezTo>
                  <a:cubicBezTo>
                    <a:pt x="4045340" y="2409404"/>
                    <a:pt x="3819491" y="2740531"/>
                    <a:pt x="3273849" y="2754812"/>
                  </a:cubicBezTo>
                  <a:cubicBezTo>
                    <a:pt x="2728207" y="2769093"/>
                    <a:pt x="1197574" y="2754812"/>
                    <a:pt x="771491" y="2754812"/>
                  </a:cubicBezTo>
                  <a:cubicBezTo>
                    <a:pt x="345408" y="2754812"/>
                    <a:pt x="0" y="2409404"/>
                    <a:pt x="0" y="1983321"/>
                  </a:cubicBezTo>
                  <a:cubicBezTo>
                    <a:pt x="0" y="1663759"/>
                    <a:pt x="194292" y="1389576"/>
                    <a:pt x="471192" y="1272458"/>
                  </a:cubicBezTo>
                  <a:lnTo>
                    <a:pt x="540229" y="1251028"/>
                  </a:lnTo>
                  <a:lnTo>
                    <a:pt x="518947" y="1182467"/>
                  </a:lnTo>
                  <a:cubicBezTo>
                    <a:pt x="509859" y="1138055"/>
                    <a:pt x="505086" y="1092072"/>
                    <a:pt x="505086" y="1044973"/>
                  </a:cubicBezTo>
                  <a:cubicBezTo>
                    <a:pt x="505086" y="668186"/>
                    <a:pt x="810532" y="362740"/>
                    <a:pt x="1187319" y="362740"/>
                  </a:cubicBezTo>
                  <a:cubicBezTo>
                    <a:pt x="1328614" y="362740"/>
                    <a:pt x="1459877" y="405694"/>
                    <a:pt x="1568762" y="479255"/>
                  </a:cubicBezTo>
                  <a:lnTo>
                    <a:pt x="1668902" y="561878"/>
                  </a:lnTo>
                  <a:lnTo>
                    <a:pt x="1739441" y="431920"/>
                  </a:lnTo>
                  <a:cubicBezTo>
                    <a:pt x="1915492" y="171330"/>
                    <a:pt x="2213630" y="0"/>
                    <a:pt x="2551785"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18" name="Right Bracket 17">
              <a:extLst>
                <a:ext uri="{FF2B5EF4-FFF2-40B4-BE49-F238E27FC236}">
                  <a16:creationId xmlns:a16="http://schemas.microsoft.com/office/drawing/2014/main" id="{7998B009-B2E4-6A7F-E7B7-821C614649CC}"/>
                </a:ext>
              </a:extLst>
            </p:cNvPr>
            <p:cNvSpPr/>
            <p:nvPr/>
          </p:nvSpPr>
          <p:spPr>
            <a:xfrm rot="16200000">
              <a:off x="5961601" y="-3587215"/>
              <a:ext cx="268797" cy="10711188"/>
            </a:xfrm>
            <a:prstGeom prst="rightBracket">
              <a:avLst>
                <a:gd name="adj" fmla="val 0"/>
              </a:avLst>
            </a:prstGeom>
            <a:noFill/>
            <a:ln w="12700" cap="flat" cmpd="sng" algn="ctr">
              <a:solidFill>
                <a:srgbClr val="0078D4"/>
              </a:solidFill>
              <a:prstDash val="solid"/>
              <a:headEnd type="none" w="lg" len="med"/>
              <a:tailEnd type="none"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58DAB8A0-585A-342F-E0F7-3D80A73F2A66}"/>
                </a:ext>
              </a:extLst>
            </p:cNvPr>
            <p:cNvGrpSpPr/>
            <p:nvPr/>
          </p:nvGrpSpPr>
          <p:grpSpPr>
            <a:xfrm>
              <a:off x="563897" y="4675796"/>
              <a:ext cx="510894" cy="298522"/>
              <a:chOff x="2165557" y="3264119"/>
              <a:chExt cx="4217100" cy="2464113"/>
            </a:xfrm>
          </p:grpSpPr>
          <p:sp>
            <p:nvSpPr>
              <p:cNvPr id="56" name="Freeform 251">
                <a:extLst>
                  <a:ext uri="{FF2B5EF4-FFF2-40B4-BE49-F238E27FC236}">
                    <a16:creationId xmlns:a16="http://schemas.microsoft.com/office/drawing/2014/main" id="{1F28FFE2-569B-947B-E9BD-88478FAF5C2F}"/>
                  </a:ext>
                </a:extLst>
              </p:cNvPr>
              <p:cNvSpPr>
                <a:spLocks noEditPoints="1"/>
              </p:cNvSpPr>
              <p:nvPr/>
            </p:nvSpPr>
            <p:spPr bwMode="auto">
              <a:xfrm>
                <a:off x="2165557" y="3264120"/>
                <a:ext cx="4217100" cy="2464112"/>
              </a:xfrm>
              <a:custGeom>
                <a:avLst/>
                <a:gdLst>
                  <a:gd name="T0" fmla="*/ 0 w 411"/>
                  <a:gd name="T1" fmla="*/ 0 h 239"/>
                  <a:gd name="T2" fmla="*/ 411 w 411"/>
                  <a:gd name="T3" fmla="*/ 239 h 239"/>
                  <a:gd name="T4" fmla="*/ 53 w 411"/>
                  <a:gd name="T5" fmla="*/ 52 h 239"/>
                  <a:gd name="T6" fmla="*/ 25 w 411"/>
                  <a:gd name="T7" fmla="*/ 211 h 239"/>
                  <a:gd name="T8" fmla="*/ 262 w 411"/>
                  <a:gd name="T9" fmla="*/ 25 h 239"/>
                  <a:gd name="T10" fmla="*/ 0 w 411"/>
                  <a:gd name="T11" fmla="*/ 0 h 239"/>
                  <a:gd name="T12" fmla="*/ 346 w 411"/>
                  <a:gd name="T13" fmla="*/ 78 h 239"/>
                  <a:gd name="T14" fmla="*/ 386 w 411"/>
                  <a:gd name="T15" fmla="*/ 105 h 239"/>
                  <a:gd name="T16" fmla="*/ 346 w 411"/>
                  <a:gd name="T17" fmla="*/ 78 h 239"/>
                  <a:gd name="T18" fmla="*/ 280 w 411"/>
                  <a:gd name="T19" fmla="*/ 78 h 239"/>
                  <a:gd name="T20" fmla="*/ 320 w 411"/>
                  <a:gd name="T21" fmla="*/ 105 h 239"/>
                  <a:gd name="T22" fmla="*/ 280 w 411"/>
                  <a:gd name="T23" fmla="*/ 78 h 239"/>
                  <a:gd name="T24" fmla="*/ 213 w 411"/>
                  <a:gd name="T25" fmla="*/ 78 h 239"/>
                  <a:gd name="T26" fmla="*/ 254 w 411"/>
                  <a:gd name="T27" fmla="*/ 105 h 239"/>
                  <a:gd name="T28" fmla="*/ 213 w 411"/>
                  <a:gd name="T29" fmla="*/ 78 h 239"/>
                  <a:gd name="T30" fmla="*/ 147 w 411"/>
                  <a:gd name="T31" fmla="*/ 78 h 239"/>
                  <a:gd name="T32" fmla="*/ 187 w 411"/>
                  <a:gd name="T33" fmla="*/ 105 h 239"/>
                  <a:gd name="T34" fmla="*/ 147 w 411"/>
                  <a:gd name="T35" fmla="*/ 78 h 239"/>
                  <a:gd name="T36" fmla="*/ 80 w 411"/>
                  <a:gd name="T37" fmla="*/ 78 h 239"/>
                  <a:gd name="T38" fmla="*/ 121 w 411"/>
                  <a:gd name="T39" fmla="*/ 105 h 239"/>
                  <a:gd name="T40" fmla="*/ 80 w 411"/>
                  <a:gd name="T41" fmla="*/ 78 h 239"/>
                  <a:gd name="T42" fmla="*/ 346 w 411"/>
                  <a:gd name="T43" fmla="*/ 131 h 239"/>
                  <a:gd name="T44" fmla="*/ 386 w 411"/>
                  <a:gd name="T45" fmla="*/ 158 h 239"/>
                  <a:gd name="T46" fmla="*/ 346 w 411"/>
                  <a:gd name="T47" fmla="*/ 131 h 239"/>
                  <a:gd name="T48" fmla="*/ 280 w 411"/>
                  <a:gd name="T49" fmla="*/ 131 h 239"/>
                  <a:gd name="T50" fmla="*/ 320 w 411"/>
                  <a:gd name="T51" fmla="*/ 158 h 239"/>
                  <a:gd name="T52" fmla="*/ 280 w 411"/>
                  <a:gd name="T53" fmla="*/ 131 h 239"/>
                  <a:gd name="T54" fmla="*/ 213 w 411"/>
                  <a:gd name="T55" fmla="*/ 131 h 239"/>
                  <a:gd name="T56" fmla="*/ 254 w 411"/>
                  <a:gd name="T57" fmla="*/ 158 h 239"/>
                  <a:gd name="T58" fmla="*/ 213 w 411"/>
                  <a:gd name="T59" fmla="*/ 131 h 239"/>
                  <a:gd name="T60" fmla="*/ 147 w 411"/>
                  <a:gd name="T61" fmla="*/ 131 h 239"/>
                  <a:gd name="T62" fmla="*/ 187 w 411"/>
                  <a:gd name="T63" fmla="*/ 158 h 239"/>
                  <a:gd name="T64" fmla="*/ 147 w 411"/>
                  <a:gd name="T65" fmla="*/ 131 h 239"/>
                  <a:gd name="T66" fmla="*/ 80 w 411"/>
                  <a:gd name="T67" fmla="*/ 131 h 239"/>
                  <a:gd name="T68" fmla="*/ 121 w 411"/>
                  <a:gd name="T69" fmla="*/ 158 h 239"/>
                  <a:gd name="T70" fmla="*/ 80 w 411"/>
                  <a:gd name="T71" fmla="*/ 131 h 239"/>
                  <a:gd name="T72" fmla="*/ 346 w 411"/>
                  <a:gd name="T73" fmla="*/ 185 h 239"/>
                  <a:gd name="T74" fmla="*/ 386 w 411"/>
                  <a:gd name="T75" fmla="*/ 211 h 239"/>
                  <a:gd name="T76" fmla="*/ 346 w 411"/>
                  <a:gd name="T77" fmla="*/ 185 h 239"/>
                  <a:gd name="T78" fmla="*/ 280 w 411"/>
                  <a:gd name="T79" fmla="*/ 185 h 239"/>
                  <a:gd name="T80" fmla="*/ 320 w 411"/>
                  <a:gd name="T81" fmla="*/ 211 h 239"/>
                  <a:gd name="T82" fmla="*/ 280 w 411"/>
                  <a:gd name="T83" fmla="*/ 185 h 239"/>
                  <a:gd name="T84" fmla="*/ 213 w 411"/>
                  <a:gd name="T85" fmla="*/ 185 h 239"/>
                  <a:gd name="T86" fmla="*/ 254 w 411"/>
                  <a:gd name="T87" fmla="*/ 211 h 239"/>
                  <a:gd name="T88" fmla="*/ 213 w 411"/>
                  <a:gd name="T89" fmla="*/ 185 h 239"/>
                  <a:gd name="T90" fmla="*/ 147 w 411"/>
                  <a:gd name="T91" fmla="*/ 185 h 239"/>
                  <a:gd name="T92" fmla="*/ 187 w 411"/>
                  <a:gd name="T93" fmla="*/ 211 h 239"/>
                  <a:gd name="T94" fmla="*/ 147 w 411"/>
                  <a:gd name="T95" fmla="*/ 185 h 239"/>
                  <a:gd name="T96" fmla="*/ 80 w 411"/>
                  <a:gd name="T97" fmla="*/ 185 h 239"/>
                  <a:gd name="T98" fmla="*/ 121 w 411"/>
                  <a:gd name="T99" fmla="*/ 211 h 239"/>
                  <a:gd name="T100" fmla="*/ 80 w 411"/>
                  <a:gd name="T101"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239">
                    <a:moveTo>
                      <a:pt x="0" y="0"/>
                    </a:moveTo>
                    <a:lnTo>
                      <a:pt x="0" y="0"/>
                    </a:lnTo>
                    <a:lnTo>
                      <a:pt x="0" y="239"/>
                    </a:lnTo>
                    <a:lnTo>
                      <a:pt x="411" y="239"/>
                    </a:lnTo>
                    <a:lnTo>
                      <a:pt x="411" y="52"/>
                    </a:lnTo>
                    <a:lnTo>
                      <a:pt x="53" y="52"/>
                    </a:lnTo>
                    <a:lnTo>
                      <a:pt x="53" y="211"/>
                    </a:lnTo>
                    <a:lnTo>
                      <a:pt x="25" y="211"/>
                    </a:lnTo>
                    <a:lnTo>
                      <a:pt x="26" y="25"/>
                    </a:lnTo>
                    <a:lnTo>
                      <a:pt x="262" y="25"/>
                    </a:lnTo>
                    <a:lnTo>
                      <a:pt x="262" y="0"/>
                    </a:lnTo>
                    <a:lnTo>
                      <a:pt x="0" y="0"/>
                    </a:lnTo>
                    <a:close/>
                    <a:moveTo>
                      <a:pt x="346" y="78"/>
                    </a:moveTo>
                    <a:lnTo>
                      <a:pt x="346" y="78"/>
                    </a:lnTo>
                    <a:lnTo>
                      <a:pt x="386" y="78"/>
                    </a:lnTo>
                    <a:lnTo>
                      <a:pt x="386" y="105"/>
                    </a:lnTo>
                    <a:lnTo>
                      <a:pt x="346" y="105"/>
                    </a:lnTo>
                    <a:lnTo>
                      <a:pt x="346" y="78"/>
                    </a:lnTo>
                    <a:close/>
                    <a:moveTo>
                      <a:pt x="280" y="78"/>
                    </a:moveTo>
                    <a:lnTo>
                      <a:pt x="280" y="78"/>
                    </a:lnTo>
                    <a:lnTo>
                      <a:pt x="320" y="78"/>
                    </a:lnTo>
                    <a:lnTo>
                      <a:pt x="320" y="105"/>
                    </a:lnTo>
                    <a:lnTo>
                      <a:pt x="280" y="105"/>
                    </a:lnTo>
                    <a:lnTo>
                      <a:pt x="280" y="78"/>
                    </a:lnTo>
                    <a:close/>
                    <a:moveTo>
                      <a:pt x="213" y="78"/>
                    </a:moveTo>
                    <a:lnTo>
                      <a:pt x="213" y="78"/>
                    </a:lnTo>
                    <a:lnTo>
                      <a:pt x="254" y="78"/>
                    </a:lnTo>
                    <a:lnTo>
                      <a:pt x="254" y="105"/>
                    </a:lnTo>
                    <a:lnTo>
                      <a:pt x="213" y="105"/>
                    </a:lnTo>
                    <a:lnTo>
                      <a:pt x="213" y="78"/>
                    </a:lnTo>
                    <a:close/>
                    <a:moveTo>
                      <a:pt x="147" y="78"/>
                    </a:moveTo>
                    <a:lnTo>
                      <a:pt x="147" y="78"/>
                    </a:lnTo>
                    <a:lnTo>
                      <a:pt x="187" y="78"/>
                    </a:lnTo>
                    <a:lnTo>
                      <a:pt x="187" y="105"/>
                    </a:lnTo>
                    <a:lnTo>
                      <a:pt x="147" y="105"/>
                    </a:lnTo>
                    <a:lnTo>
                      <a:pt x="147" y="78"/>
                    </a:lnTo>
                    <a:close/>
                    <a:moveTo>
                      <a:pt x="80" y="78"/>
                    </a:moveTo>
                    <a:lnTo>
                      <a:pt x="80" y="78"/>
                    </a:lnTo>
                    <a:lnTo>
                      <a:pt x="121" y="78"/>
                    </a:lnTo>
                    <a:lnTo>
                      <a:pt x="121" y="105"/>
                    </a:lnTo>
                    <a:lnTo>
                      <a:pt x="80" y="105"/>
                    </a:lnTo>
                    <a:lnTo>
                      <a:pt x="80" y="78"/>
                    </a:lnTo>
                    <a:close/>
                    <a:moveTo>
                      <a:pt x="346" y="131"/>
                    </a:moveTo>
                    <a:lnTo>
                      <a:pt x="346" y="131"/>
                    </a:lnTo>
                    <a:lnTo>
                      <a:pt x="386" y="131"/>
                    </a:lnTo>
                    <a:lnTo>
                      <a:pt x="386" y="158"/>
                    </a:lnTo>
                    <a:lnTo>
                      <a:pt x="346" y="158"/>
                    </a:lnTo>
                    <a:lnTo>
                      <a:pt x="346" y="131"/>
                    </a:lnTo>
                    <a:close/>
                    <a:moveTo>
                      <a:pt x="280" y="131"/>
                    </a:moveTo>
                    <a:lnTo>
                      <a:pt x="280" y="131"/>
                    </a:lnTo>
                    <a:lnTo>
                      <a:pt x="320" y="131"/>
                    </a:lnTo>
                    <a:lnTo>
                      <a:pt x="320" y="158"/>
                    </a:lnTo>
                    <a:lnTo>
                      <a:pt x="280" y="158"/>
                    </a:lnTo>
                    <a:lnTo>
                      <a:pt x="280" y="131"/>
                    </a:lnTo>
                    <a:close/>
                    <a:moveTo>
                      <a:pt x="213" y="131"/>
                    </a:moveTo>
                    <a:lnTo>
                      <a:pt x="213" y="131"/>
                    </a:lnTo>
                    <a:lnTo>
                      <a:pt x="254" y="131"/>
                    </a:lnTo>
                    <a:lnTo>
                      <a:pt x="254" y="158"/>
                    </a:lnTo>
                    <a:lnTo>
                      <a:pt x="213" y="158"/>
                    </a:lnTo>
                    <a:lnTo>
                      <a:pt x="213" y="131"/>
                    </a:lnTo>
                    <a:close/>
                    <a:moveTo>
                      <a:pt x="147" y="131"/>
                    </a:moveTo>
                    <a:lnTo>
                      <a:pt x="147" y="131"/>
                    </a:lnTo>
                    <a:lnTo>
                      <a:pt x="187" y="131"/>
                    </a:lnTo>
                    <a:lnTo>
                      <a:pt x="187" y="158"/>
                    </a:lnTo>
                    <a:lnTo>
                      <a:pt x="147" y="158"/>
                    </a:lnTo>
                    <a:lnTo>
                      <a:pt x="147" y="131"/>
                    </a:lnTo>
                    <a:close/>
                    <a:moveTo>
                      <a:pt x="80" y="131"/>
                    </a:moveTo>
                    <a:lnTo>
                      <a:pt x="80" y="131"/>
                    </a:lnTo>
                    <a:lnTo>
                      <a:pt x="121" y="131"/>
                    </a:lnTo>
                    <a:lnTo>
                      <a:pt x="121" y="158"/>
                    </a:lnTo>
                    <a:lnTo>
                      <a:pt x="80" y="158"/>
                    </a:lnTo>
                    <a:lnTo>
                      <a:pt x="80" y="131"/>
                    </a:lnTo>
                    <a:close/>
                    <a:moveTo>
                      <a:pt x="346" y="185"/>
                    </a:moveTo>
                    <a:lnTo>
                      <a:pt x="346" y="185"/>
                    </a:lnTo>
                    <a:lnTo>
                      <a:pt x="386" y="185"/>
                    </a:lnTo>
                    <a:lnTo>
                      <a:pt x="386" y="211"/>
                    </a:lnTo>
                    <a:lnTo>
                      <a:pt x="346" y="211"/>
                    </a:lnTo>
                    <a:lnTo>
                      <a:pt x="346" y="185"/>
                    </a:lnTo>
                    <a:close/>
                    <a:moveTo>
                      <a:pt x="280" y="185"/>
                    </a:moveTo>
                    <a:lnTo>
                      <a:pt x="280" y="185"/>
                    </a:lnTo>
                    <a:lnTo>
                      <a:pt x="320" y="185"/>
                    </a:lnTo>
                    <a:lnTo>
                      <a:pt x="320" y="211"/>
                    </a:lnTo>
                    <a:lnTo>
                      <a:pt x="280" y="211"/>
                    </a:lnTo>
                    <a:lnTo>
                      <a:pt x="280" y="185"/>
                    </a:lnTo>
                    <a:close/>
                    <a:moveTo>
                      <a:pt x="213" y="185"/>
                    </a:moveTo>
                    <a:lnTo>
                      <a:pt x="213" y="185"/>
                    </a:lnTo>
                    <a:lnTo>
                      <a:pt x="254" y="185"/>
                    </a:lnTo>
                    <a:lnTo>
                      <a:pt x="254" y="211"/>
                    </a:lnTo>
                    <a:lnTo>
                      <a:pt x="213" y="211"/>
                    </a:lnTo>
                    <a:lnTo>
                      <a:pt x="213" y="185"/>
                    </a:lnTo>
                    <a:close/>
                    <a:moveTo>
                      <a:pt x="147" y="185"/>
                    </a:moveTo>
                    <a:lnTo>
                      <a:pt x="147" y="185"/>
                    </a:lnTo>
                    <a:lnTo>
                      <a:pt x="187" y="185"/>
                    </a:lnTo>
                    <a:lnTo>
                      <a:pt x="187" y="211"/>
                    </a:lnTo>
                    <a:lnTo>
                      <a:pt x="147" y="211"/>
                    </a:lnTo>
                    <a:lnTo>
                      <a:pt x="147" y="185"/>
                    </a:lnTo>
                    <a:close/>
                    <a:moveTo>
                      <a:pt x="80" y="185"/>
                    </a:moveTo>
                    <a:lnTo>
                      <a:pt x="80" y="185"/>
                    </a:lnTo>
                    <a:lnTo>
                      <a:pt x="121" y="185"/>
                    </a:lnTo>
                    <a:lnTo>
                      <a:pt x="121" y="211"/>
                    </a:lnTo>
                    <a:lnTo>
                      <a:pt x="80" y="211"/>
                    </a:lnTo>
                    <a:lnTo>
                      <a:pt x="80" y="185"/>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57" name="Freeform: Shape 56">
                <a:extLst>
                  <a:ext uri="{FF2B5EF4-FFF2-40B4-BE49-F238E27FC236}">
                    <a16:creationId xmlns:a16="http://schemas.microsoft.com/office/drawing/2014/main" id="{541AA73B-4C6C-4851-4847-B5EF604A5268}"/>
                  </a:ext>
                </a:extLst>
              </p:cNvPr>
              <p:cNvSpPr>
                <a:spLocks/>
              </p:cNvSpPr>
              <p:nvPr/>
            </p:nvSpPr>
            <p:spPr bwMode="auto">
              <a:xfrm>
                <a:off x="2165557" y="3264119"/>
                <a:ext cx="4217100" cy="2464111"/>
              </a:xfrm>
              <a:custGeom>
                <a:avLst/>
                <a:gdLst>
                  <a:gd name="connsiteX0" fmla="*/ 0 w 4217100"/>
                  <a:gd name="connsiteY0" fmla="*/ 0 h 2464111"/>
                  <a:gd name="connsiteX1" fmla="*/ 265176 w 4217100"/>
                  <a:gd name="connsiteY1" fmla="*/ 0 h 2464111"/>
                  <a:gd name="connsiteX2" fmla="*/ 265176 w 4217100"/>
                  <a:gd name="connsiteY2" fmla="*/ 1 h 2464111"/>
                  <a:gd name="connsiteX3" fmla="*/ 4217100 w 4217100"/>
                  <a:gd name="connsiteY3" fmla="*/ 1 h 2464111"/>
                  <a:gd name="connsiteX4" fmla="*/ 4217100 w 4217100"/>
                  <a:gd name="connsiteY4" fmla="*/ 264603 h 2464111"/>
                  <a:gd name="connsiteX5" fmla="*/ 265176 w 4217100"/>
                  <a:gd name="connsiteY5" fmla="*/ 264603 h 2464111"/>
                  <a:gd name="connsiteX6" fmla="*/ 265176 w 4217100"/>
                  <a:gd name="connsiteY6" fmla="*/ 2464111 h 2464111"/>
                  <a:gd name="connsiteX7" fmla="*/ 0 w 4217100"/>
                  <a:gd name="connsiteY7" fmla="*/ 2464111 h 2464111"/>
                  <a:gd name="connsiteX8" fmla="*/ 0 w 4217100"/>
                  <a:gd name="connsiteY8" fmla="*/ 264603 h 2464111"/>
                  <a:gd name="connsiteX9" fmla="*/ 0 w 4217100"/>
                  <a:gd name="connsiteY9" fmla="*/ 1 h 2464111"/>
                  <a:gd name="connsiteX0" fmla="*/ 0 w 4217100"/>
                  <a:gd name="connsiteY0" fmla="*/ 0 h 2464111"/>
                  <a:gd name="connsiteX1" fmla="*/ 265176 w 4217100"/>
                  <a:gd name="connsiteY1" fmla="*/ 0 h 2464111"/>
                  <a:gd name="connsiteX2" fmla="*/ 4217100 w 4217100"/>
                  <a:gd name="connsiteY2" fmla="*/ 1 h 2464111"/>
                  <a:gd name="connsiteX3" fmla="*/ 4217100 w 4217100"/>
                  <a:gd name="connsiteY3" fmla="*/ 264603 h 2464111"/>
                  <a:gd name="connsiteX4" fmla="*/ 265176 w 4217100"/>
                  <a:gd name="connsiteY4" fmla="*/ 264603 h 2464111"/>
                  <a:gd name="connsiteX5" fmla="*/ 265176 w 4217100"/>
                  <a:gd name="connsiteY5" fmla="*/ 2464111 h 2464111"/>
                  <a:gd name="connsiteX6" fmla="*/ 0 w 4217100"/>
                  <a:gd name="connsiteY6" fmla="*/ 2464111 h 2464111"/>
                  <a:gd name="connsiteX7" fmla="*/ 0 w 4217100"/>
                  <a:gd name="connsiteY7" fmla="*/ 264603 h 2464111"/>
                  <a:gd name="connsiteX8" fmla="*/ 0 w 4217100"/>
                  <a:gd name="connsiteY8" fmla="*/ 1 h 2464111"/>
                  <a:gd name="connsiteX9" fmla="*/ 0 w 4217100"/>
                  <a:gd name="connsiteY9"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264603 h 2464111"/>
                  <a:gd name="connsiteX7" fmla="*/ 0 w 4217100"/>
                  <a:gd name="connsiteY7" fmla="*/ 1 h 2464111"/>
                  <a:gd name="connsiteX8" fmla="*/ 0 w 4217100"/>
                  <a:gd name="connsiteY8"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1 h 2464111"/>
                  <a:gd name="connsiteX7" fmla="*/ 0 w 4217100"/>
                  <a:gd name="connsiteY7" fmla="*/ 0 h 246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100" h="2464111">
                    <a:moveTo>
                      <a:pt x="0" y="0"/>
                    </a:moveTo>
                    <a:lnTo>
                      <a:pt x="4217100" y="1"/>
                    </a:lnTo>
                    <a:lnTo>
                      <a:pt x="4217100" y="264603"/>
                    </a:lnTo>
                    <a:lnTo>
                      <a:pt x="265176" y="264603"/>
                    </a:lnTo>
                    <a:lnTo>
                      <a:pt x="265176" y="2464111"/>
                    </a:lnTo>
                    <a:lnTo>
                      <a:pt x="0" y="2464111"/>
                    </a:lnTo>
                    <a:lnTo>
                      <a:pt x="0" y="1"/>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grpSp>
        <p:grpSp>
          <p:nvGrpSpPr>
            <p:cNvPr id="20" name="Group 19">
              <a:extLst>
                <a:ext uri="{FF2B5EF4-FFF2-40B4-BE49-F238E27FC236}">
                  <a16:creationId xmlns:a16="http://schemas.microsoft.com/office/drawing/2014/main" id="{F81C6DC9-FB15-EC47-8D7A-CC6E9248F725}"/>
                </a:ext>
              </a:extLst>
            </p:cNvPr>
            <p:cNvGrpSpPr/>
            <p:nvPr/>
          </p:nvGrpSpPr>
          <p:grpSpPr>
            <a:xfrm>
              <a:off x="535502" y="3869694"/>
              <a:ext cx="510894" cy="298522"/>
              <a:chOff x="2165557" y="3264119"/>
              <a:chExt cx="4217100" cy="2464113"/>
            </a:xfrm>
          </p:grpSpPr>
          <p:sp>
            <p:nvSpPr>
              <p:cNvPr id="54" name="Freeform 251">
                <a:extLst>
                  <a:ext uri="{FF2B5EF4-FFF2-40B4-BE49-F238E27FC236}">
                    <a16:creationId xmlns:a16="http://schemas.microsoft.com/office/drawing/2014/main" id="{CDDC79DB-2F27-7250-BD77-887CE1169934}"/>
                  </a:ext>
                </a:extLst>
              </p:cNvPr>
              <p:cNvSpPr>
                <a:spLocks noEditPoints="1"/>
              </p:cNvSpPr>
              <p:nvPr/>
            </p:nvSpPr>
            <p:spPr bwMode="auto">
              <a:xfrm>
                <a:off x="2165557" y="3264120"/>
                <a:ext cx="4217100" cy="2464112"/>
              </a:xfrm>
              <a:custGeom>
                <a:avLst/>
                <a:gdLst>
                  <a:gd name="T0" fmla="*/ 0 w 411"/>
                  <a:gd name="T1" fmla="*/ 0 h 239"/>
                  <a:gd name="T2" fmla="*/ 411 w 411"/>
                  <a:gd name="T3" fmla="*/ 239 h 239"/>
                  <a:gd name="T4" fmla="*/ 53 w 411"/>
                  <a:gd name="T5" fmla="*/ 52 h 239"/>
                  <a:gd name="T6" fmla="*/ 25 w 411"/>
                  <a:gd name="T7" fmla="*/ 211 h 239"/>
                  <a:gd name="T8" fmla="*/ 262 w 411"/>
                  <a:gd name="T9" fmla="*/ 25 h 239"/>
                  <a:gd name="T10" fmla="*/ 0 w 411"/>
                  <a:gd name="T11" fmla="*/ 0 h 239"/>
                  <a:gd name="T12" fmla="*/ 346 w 411"/>
                  <a:gd name="T13" fmla="*/ 78 h 239"/>
                  <a:gd name="T14" fmla="*/ 386 w 411"/>
                  <a:gd name="T15" fmla="*/ 105 h 239"/>
                  <a:gd name="T16" fmla="*/ 346 w 411"/>
                  <a:gd name="T17" fmla="*/ 78 h 239"/>
                  <a:gd name="T18" fmla="*/ 280 w 411"/>
                  <a:gd name="T19" fmla="*/ 78 h 239"/>
                  <a:gd name="T20" fmla="*/ 320 w 411"/>
                  <a:gd name="T21" fmla="*/ 105 h 239"/>
                  <a:gd name="T22" fmla="*/ 280 w 411"/>
                  <a:gd name="T23" fmla="*/ 78 h 239"/>
                  <a:gd name="T24" fmla="*/ 213 w 411"/>
                  <a:gd name="T25" fmla="*/ 78 h 239"/>
                  <a:gd name="T26" fmla="*/ 254 w 411"/>
                  <a:gd name="T27" fmla="*/ 105 h 239"/>
                  <a:gd name="T28" fmla="*/ 213 w 411"/>
                  <a:gd name="T29" fmla="*/ 78 h 239"/>
                  <a:gd name="T30" fmla="*/ 147 w 411"/>
                  <a:gd name="T31" fmla="*/ 78 h 239"/>
                  <a:gd name="T32" fmla="*/ 187 w 411"/>
                  <a:gd name="T33" fmla="*/ 105 h 239"/>
                  <a:gd name="T34" fmla="*/ 147 w 411"/>
                  <a:gd name="T35" fmla="*/ 78 h 239"/>
                  <a:gd name="T36" fmla="*/ 80 w 411"/>
                  <a:gd name="T37" fmla="*/ 78 h 239"/>
                  <a:gd name="T38" fmla="*/ 121 w 411"/>
                  <a:gd name="T39" fmla="*/ 105 h 239"/>
                  <a:gd name="T40" fmla="*/ 80 w 411"/>
                  <a:gd name="T41" fmla="*/ 78 h 239"/>
                  <a:gd name="T42" fmla="*/ 346 w 411"/>
                  <a:gd name="T43" fmla="*/ 131 h 239"/>
                  <a:gd name="T44" fmla="*/ 386 w 411"/>
                  <a:gd name="T45" fmla="*/ 158 h 239"/>
                  <a:gd name="T46" fmla="*/ 346 w 411"/>
                  <a:gd name="T47" fmla="*/ 131 h 239"/>
                  <a:gd name="T48" fmla="*/ 280 w 411"/>
                  <a:gd name="T49" fmla="*/ 131 h 239"/>
                  <a:gd name="T50" fmla="*/ 320 w 411"/>
                  <a:gd name="T51" fmla="*/ 158 h 239"/>
                  <a:gd name="T52" fmla="*/ 280 w 411"/>
                  <a:gd name="T53" fmla="*/ 131 h 239"/>
                  <a:gd name="T54" fmla="*/ 213 w 411"/>
                  <a:gd name="T55" fmla="*/ 131 h 239"/>
                  <a:gd name="T56" fmla="*/ 254 w 411"/>
                  <a:gd name="T57" fmla="*/ 158 h 239"/>
                  <a:gd name="T58" fmla="*/ 213 w 411"/>
                  <a:gd name="T59" fmla="*/ 131 h 239"/>
                  <a:gd name="T60" fmla="*/ 147 w 411"/>
                  <a:gd name="T61" fmla="*/ 131 h 239"/>
                  <a:gd name="T62" fmla="*/ 187 w 411"/>
                  <a:gd name="T63" fmla="*/ 158 h 239"/>
                  <a:gd name="T64" fmla="*/ 147 w 411"/>
                  <a:gd name="T65" fmla="*/ 131 h 239"/>
                  <a:gd name="T66" fmla="*/ 80 w 411"/>
                  <a:gd name="T67" fmla="*/ 131 h 239"/>
                  <a:gd name="T68" fmla="*/ 121 w 411"/>
                  <a:gd name="T69" fmla="*/ 158 h 239"/>
                  <a:gd name="T70" fmla="*/ 80 w 411"/>
                  <a:gd name="T71" fmla="*/ 131 h 239"/>
                  <a:gd name="T72" fmla="*/ 346 w 411"/>
                  <a:gd name="T73" fmla="*/ 185 h 239"/>
                  <a:gd name="T74" fmla="*/ 386 w 411"/>
                  <a:gd name="T75" fmla="*/ 211 h 239"/>
                  <a:gd name="T76" fmla="*/ 346 w 411"/>
                  <a:gd name="T77" fmla="*/ 185 h 239"/>
                  <a:gd name="T78" fmla="*/ 280 w 411"/>
                  <a:gd name="T79" fmla="*/ 185 h 239"/>
                  <a:gd name="T80" fmla="*/ 320 w 411"/>
                  <a:gd name="T81" fmla="*/ 211 h 239"/>
                  <a:gd name="T82" fmla="*/ 280 w 411"/>
                  <a:gd name="T83" fmla="*/ 185 h 239"/>
                  <a:gd name="T84" fmla="*/ 213 w 411"/>
                  <a:gd name="T85" fmla="*/ 185 h 239"/>
                  <a:gd name="T86" fmla="*/ 254 w 411"/>
                  <a:gd name="T87" fmla="*/ 211 h 239"/>
                  <a:gd name="T88" fmla="*/ 213 w 411"/>
                  <a:gd name="T89" fmla="*/ 185 h 239"/>
                  <a:gd name="T90" fmla="*/ 147 w 411"/>
                  <a:gd name="T91" fmla="*/ 185 h 239"/>
                  <a:gd name="T92" fmla="*/ 187 w 411"/>
                  <a:gd name="T93" fmla="*/ 211 h 239"/>
                  <a:gd name="T94" fmla="*/ 147 w 411"/>
                  <a:gd name="T95" fmla="*/ 185 h 239"/>
                  <a:gd name="T96" fmla="*/ 80 w 411"/>
                  <a:gd name="T97" fmla="*/ 185 h 239"/>
                  <a:gd name="T98" fmla="*/ 121 w 411"/>
                  <a:gd name="T99" fmla="*/ 211 h 239"/>
                  <a:gd name="T100" fmla="*/ 80 w 411"/>
                  <a:gd name="T101"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 h="239">
                    <a:moveTo>
                      <a:pt x="0" y="0"/>
                    </a:moveTo>
                    <a:lnTo>
                      <a:pt x="0" y="0"/>
                    </a:lnTo>
                    <a:lnTo>
                      <a:pt x="0" y="239"/>
                    </a:lnTo>
                    <a:lnTo>
                      <a:pt x="411" y="239"/>
                    </a:lnTo>
                    <a:lnTo>
                      <a:pt x="411" y="52"/>
                    </a:lnTo>
                    <a:lnTo>
                      <a:pt x="53" y="52"/>
                    </a:lnTo>
                    <a:lnTo>
                      <a:pt x="53" y="211"/>
                    </a:lnTo>
                    <a:lnTo>
                      <a:pt x="25" y="211"/>
                    </a:lnTo>
                    <a:lnTo>
                      <a:pt x="26" y="25"/>
                    </a:lnTo>
                    <a:lnTo>
                      <a:pt x="262" y="25"/>
                    </a:lnTo>
                    <a:lnTo>
                      <a:pt x="262" y="0"/>
                    </a:lnTo>
                    <a:lnTo>
                      <a:pt x="0" y="0"/>
                    </a:lnTo>
                    <a:close/>
                    <a:moveTo>
                      <a:pt x="346" y="78"/>
                    </a:moveTo>
                    <a:lnTo>
                      <a:pt x="346" y="78"/>
                    </a:lnTo>
                    <a:lnTo>
                      <a:pt x="386" y="78"/>
                    </a:lnTo>
                    <a:lnTo>
                      <a:pt x="386" y="105"/>
                    </a:lnTo>
                    <a:lnTo>
                      <a:pt x="346" y="105"/>
                    </a:lnTo>
                    <a:lnTo>
                      <a:pt x="346" y="78"/>
                    </a:lnTo>
                    <a:close/>
                    <a:moveTo>
                      <a:pt x="280" y="78"/>
                    </a:moveTo>
                    <a:lnTo>
                      <a:pt x="280" y="78"/>
                    </a:lnTo>
                    <a:lnTo>
                      <a:pt x="320" y="78"/>
                    </a:lnTo>
                    <a:lnTo>
                      <a:pt x="320" y="105"/>
                    </a:lnTo>
                    <a:lnTo>
                      <a:pt x="280" y="105"/>
                    </a:lnTo>
                    <a:lnTo>
                      <a:pt x="280" y="78"/>
                    </a:lnTo>
                    <a:close/>
                    <a:moveTo>
                      <a:pt x="213" y="78"/>
                    </a:moveTo>
                    <a:lnTo>
                      <a:pt x="213" y="78"/>
                    </a:lnTo>
                    <a:lnTo>
                      <a:pt x="254" y="78"/>
                    </a:lnTo>
                    <a:lnTo>
                      <a:pt x="254" y="105"/>
                    </a:lnTo>
                    <a:lnTo>
                      <a:pt x="213" y="105"/>
                    </a:lnTo>
                    <a:lnTo>
                      <a:pt x="213" y="78"/>
                    </a:lnTo>
                    <a:close/>
                    <a:moveTo>
                      <a:pt x="147" y="78"/>
                    </a:moveTo>
                    <a:lnTo>
                      <a:pt x="147" y="78"/>
                    </a:lnTo>
                    <a:lnTo>
                      <a:pt x="187" y="78"/>
                    </a:lnTo>
                    <a:lnTo>
                      <a:pt x="187" y="105"/>
                    </a:lnTo>
                    <a:lnTo>
                      <a:pt x="147" y="105"/>
                    </a:lnTo>
                    <a:lnTo>
                      <a:pt x="147" y="78"/>
                    </a:lnTo>
                    <a:close/>
                    <a:moveTo>
                      <a:pt x="80" y="78"/>
                    </a:moveTo>
                    <a:lnTo>
                      <a:pt x="80" y="78"/>
                    </a:lnTo>
                    <a:lnTo>
                      <a:pt x="121" y="78"/>
                    </a:lnTo>
                    <a:lnTo>
                      <a:pt x="121" y="105"/>
                    </a:lnTo>
                    <a:lnTo>
                      <a:pt x="80" y="105"/>
                    </a:lnTo>
                    <a:lnTo>
                      <a:pt x="80" y="78"/>
                    </a:lnTo>
                    <a:close/>
                    <a:moveTo>
                      <a:pt x="346" y="131"/>
                    </a:moveTo>
                    <a:lnTo>
                      <a:pt x="346" y="131"/>
                    </a:lnTo>
                    <a:lnTo>
                      <a:pt x="386" y="131"/>
                    </a:lnTo>
                    <a:lnTo>
                      <a:pt x="386" y="158"/>
                    </a:lnTo>
                    <a:lnTo>
                      <a:pt x="346" y="158"/>
                    </a:lnTo>
                    <a:lnTo>
                      <a:pt x="346" y="131"/>
                    </a:lnTo>
                    <a:close/>
                    <a:moveTo>
                      <a:pt x="280" y="131"/>
                    </a:moveTo>
                    <a:lnTo>
                      <a:pt x="280" y="131"/>
                    </a:lnTo>
                    <a:lnTo>
                      <a:pt x="320" y="131"/>
                    </a:lnTo>
                    <a:lnTo>
                      <a:pt x="320" y="158"/>
                    </a:lnTo>
                    <a:lnTo>
                      <a:pt x="280" y="158"/>
                    </a:lnTo>
                    <a:lnTo>
                      <a:pt x="280" y="131"/>
                    </a:lnTo>
                    <a:close/>
                    <a:moveTo>
                      <a:pt x="213" y="131"/>
                    </a:moveTo>
                    <a:lnTo>
                      <a:pt x="213" y="131"/>
                    </a:lnTo>
                    <a:lnTo>
                      <a:pt x="254" y="131"/>
                    </a:lnTo>
                    <a:lnTo>
                      <a:pt x="254" y="158"/>
                    </a:lnTo>
                    <a:lnTo>
                      <a:pt x="213" y="158"/>
                    </a:lnTo>
                    <a:lnTo>
                      <a:pt x="213" y="131"/>
                    </a:lnTo>
                    <a:close/>
                    <a:moveTo>
                      <a:pt x="147" y="131"/>
                    </a:moveTo>
                    <a:lnTo>
                      <a:pt x="147" y="131"/>
                    </a:lnTo>
                    <a:lnTo>
                      <a:pt x="187" y="131"/>
                    </a:lnTo>
                    <a:lnTo>
                      <a:pt x="187" y="158"/>
                    </a:lnTo>
                    <a:lnTo>
                      <a:pt x="147" y="158"/>
                    </a:lnTo>
                    <a:lnTo>
                      <a:pt x="147" y="131"/>
                    </a:lnTo>
                    <a:close/>
                    <a:moveTo>
                      <a:pt x="80" y="131"/>
                    </a:moveTo>
                    <a:lnTo>
                      <a:pt x="80" y="131"/>
                    </a:lnTo>
                    <a:lnTo>
                      <a:pt x="121" y="131"/>
                    </a:lnTo>
                    <a:lnTo>
                      <a:pt x="121" y="158"/>
                    </a:lnTo>
                    <a:lnTo>
                      <a:pt x="80" y="158"/>
                    </a:lnTo>
                    <a:lnTo>
                      <a:pt x="80" y="131"/>
                    </a:lnTo>
                    <a:close/>
                    <a:moveTo>
                      <a:pt x="346" y="185"/>
                    </a:moveTo>
                    <a:lnTo>
                      <a:pt x="346" y="185"/>
                    </a:lnTo>
                    <a:lnTo>
                      <a:pt x="386" y="185"/>
                    </a:lnTo>
                    <a:lnTo>
                      <a:pt x="386" y="211"/>
                    </a:lnTo>
                    <a:lnTo>
                      <a:pt x="346" y="211"/>
                    </a:lnTo>
                    <a:lnTo>
                      <a:pt x="346" y="185"/>
                    </a:lnTo>
                    <a:close/>
                    <a:moveTo>
                      <a:pt x="280" y="185"/>
                    </a:moveTo>
                    <a:lnTo>
                      <a:pt x="280" y="185"/>
                    </a:lnTo>
                    <a:lnTo>
                      <a:pt x="320" y="185"/>
                    </a:lnTo>
                    <a:lnTo>
                      <a:pt x="320" y="211"/>
                    </a:lnTo>
                    <a:lnTo>
                      <a:pt x="280" y="211"/>
                    </a:lnTo>
                    <a:lnTo>
                      <a:pt x="280" y="185"/>
                    </a:lnTo>
                    <a:close/>
                    <a:moveTo>
                      <a:pt x="213" y="185"/>
                    </a:moveTo>
                    <a:lnTo>
                      <a:pt x="213" y="185"/>
                    </a:lnTo>
                    <a:lnTo>
                      <a:pt x="254" y="185"/>
                    </a:lnTo>
                    <a:lnTo>
                      <a:pt x="254" y="211"/>
                    </a:lnTo>
                    <a:lnTo>
                      <a:pt x="213" y="211"/>
                    </a:lnTo>
                    <a:lnTo>
                      <a:pt x="213" y="185"/>
                    </a:lnTo>
                    <a:close/>
                    <a:moveTo>
                      <a:pt x="147" y="185"/>
                    </a:moveTo>
                    <a:lnTo>
                      <a:pt x="147" y="185"/>
                    </a:lnTo>
                    <a:lnTo>
                      <a:pt x="187" y="185"/>
                    </a:lnTo>
                    <a:lnTo>
                      <a:pt x="187" y="211"/>
                    </a:lnTo>
                    <a:lnTo>
                      <a:pt x="147" y="211"/>
                    </a:lnTo>
                    <a:lnTo>
                      <a:pt x="147" y="185"/>
                    </a:lnTo>
                    <a:close/>
                    <a:moveTo>
                      <a:pt x="80" y="185"/>
                    </a:moveTo>
                    <a:lnTo>
                      <a:pt x="80" y="185"/>
                    </a:lnTo>
                    <a:lnTo>
                      <a:pt x="121" y="185"/>
                    </a:lnTo>
                    <a:lnTo>
                      <a:pt x="121" y="211"/>
                    </a:lnTo>
                    <a:lnTo>
                      <a:pt x="80" y="211"/>
                    </a:lnTo>
                    <a:lnTo>
                      <a:pt x="80" y="185"/>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55" name="Freeform: Shape 54">
                <a:extLst>
                  <a:ext uri="{FF2B5EF4-FFF2-40B4-BE49-F238E27FC236}">
                    <a16:creationId xmlns:a16="http://schemas.microsoft.com/office/drawing/2014/main" id="{003C49E2-9F71-7F20-0899-D497EE144A48}"/>
                  </a:ext>
                </a:extLst>
              </p:cNvPr>
              <p:cNvSpPr>
                <a:spLocks/>
              </p:cNvSpPr>
              <p:nvPr/>
            </p:nvSpPr>
            <p:spPr bwMode="auto">
              <a:xfrm>
                <a:off x="2165557" y="3264119"/>
                <a:ext cx="4217100" cy="2464111"/>
              </a:xfrm>
              <a:custGeom>
                <a:avLst/>
                <a:gdLst>
                  <a:gd name="connsiteX0" fmla="*/ 0 w 4217100"/>
                  <a:gd name="connsiteY0" fmla="*/ 0 h 2464111"/>
                  <a:gd name="connsiteX1" fmla="*/ 265176 w 4217100"/>
                  <a:gd name="connsiteY1" fmla="*/ 0 h 2464111"/>
                  <a:gd name="connsiteX2" fmla="*/ 265176 w 4217100"/>
                  <a:gd name="connsiteY2" fmla="*/ 1 h 2464111"/>
                  <a:gd name="connsiteX3" fmla="*/ 4217100 w 4217100"/>
                  <a:gd name="connsiteY3" fmla="*/ 1 h 2464111"/>
                  <a:gd name="connsiteX4" fmla="*/ 4217100 w 4217100"/>
                  <a:gd name="connsiteY4" fmla="*/ 264603 h 2464111"/>
                  <a:gd name="connsiteX5" fmla="*/ 265176 w 4217100"/>
                  <a:gd name="connsiteY5" fmla="*/ 264603 h 2464111"/>
                  <a:gd name="connsiteX6" fmla="*/ 265176 w 4217100"/>
                  <a:gd name="connsiteY6" fmla="*/ 2464111 h 2464111"/>
                  <a:gd name="connsiteX7" fmla="*/ 0 w 4217100"/>
                  <a:gd name="connsiteY7" fmla="*/ 2464111 h 2464111"/>
                  <a:gd name="connsiteX8" fmla="*/ 0 w 4217100"/>
                  <a:gd name="connsiteY8" fmla="*/ 264603 h 2464111"/>
                  <a:gd name="connsiteX9" fmla="*/ 0 w 4217100"/>
                  <a:gd name="connsiteY9" fmla="*/ 1 h 2464111"/>
                  <a:gd name="connsiteX0" fmla="*/ 0 w 4217100"/>
                  <a:gd name="connsiteY0" fmla="*/ 0 h 2464111"/>
                  <a:gd name="connsiteX1" fmla="*/ 265176 w 4217100"/>
                  <a:gd name="connsiteY1" fmla="*/ 0 h 2464111"/>
                  <a:gd name="connsiteX2" fmla="*/ 4217100 w 4217100"/>
                  <a:gd name="connsiteY2" fmla="*/ 1 h 2464111"/>
                  <a:gd name="connsiteX3" fmla="*/ 4217100 w 4217100"/>
                  <a:gd name="connsiteY3" fmla="*/ 264603 h 2464111"/>
                  <a:gd name="connsiteX4" fmla="*/ 265176 w 4217100"/>
                  <a:gd name="connsiteY4" fmla="*/ 264603 h 2464111"/>
                  <a:gd name="connsiteX5" fmla="*/ 265176 w 4217100"/>
                  <a:gd name="connsiteY5" fmla="*/ 2464111 h 2464111"/>
                  <a:gd name="connsiteX6" fmla="*/ 0 w 4217100"/>
                  <a:gd name="connsiteY6" fmla="*/ 2464111 h 2464111"/>
                  <a:gd name="connsiteX7" fmla="*/ 0 w 4217100"/>
                  <a:gd name="connsiteY7" fmla="*/ 264603 h 2464111"/>
                  <a:gd name="connsiteX8" fmla="*/ 0 w 4217100"/>
                  <a:gd name="connsiteY8" fmla="*/ 1 h 2464111"/>
                  <a:gd name="connsiteX9" fmla="*/ 0 w 4217100"/>
                  <a:gd name="connsiteY9"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264603 h 2464111"/>
                  <a:gd name="connsiteX7" fmla="*/ 0 w 4217100"/>
                  <a:gd name="connsiteY7" fmla="*/ 1 h 2464111"/>
                  <a:gd name="connsiteX8" fmla="*/ 0 w 4217100"/>
                  <a:gd name="connsiteY8" fmla="*/ 0 h 2464111"/>
                  <a:gd name="connsiteX0" fmla="*/ 0 w 4217100"/>
                  <a:gd name="connsiteY0" fmla="*/ 0 h 2464111"/>
                  <a:gd name="connsiteX1" fmla="*/ 4217100 w 4217100"/>
                  <a:gd name="connsiteY1" fmla="*/ 1 h 2464111"/>
                  <a:gd name="connsiteX2" fmla="*/ 4217100 w 4217100"/>
                  <a:gd name="connsiteY2" fmla="*/ 264603 h 2464111"/>
                  <a:gd name="connsiteX3" fmla="*/ 265176 w 4217100"/>
                  <a:gd name="connsiteY3" fmla="*/ 264603 h 2464111"/>
                  <a:gd name="connsiteX4" fmla="*/ 265176 w 4217100"/>
                  <a:gd name="connsiteY4" fmla="*/ 2464111 h 2464111"/>
                  <a:gd name="connsiteX5" fmla="*/ 0 w 4217100"/>
                  <a:gd name="connsiteY5" fmla="*/ 2464111 h 2464111"/>
                  <a:gd name="connsiteX6" fmla="*/ 0 w 4217100"/>
                  <a:gd name="connsiteY6" fmla="*/ 1 h 2464111"/>
                  <a:gd name="connsiteX7" fmla="*/ 0 w 4217100"/>
                  <a:gd name="connsiteY7" fmla="*/ 0 h 246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100" h="2464111">
                    <a:moveTo>
                      <a:pt x="0" y="0"/>
                    </a:moveTo>
                    <a:lnTo>
                      <a:pt x="4217100" y="1"/>
                    </a:lnTo>
                    <a:lnTo>
                      <a:pt x="4217100" y="264603"/>
                    </a:lnTo>
                    <a:lnTo>
                      <a:pt x="265176" y="264603"/>
                    </a:lnTo>
                    <a:lnTo>
                      <a:pt x="265176" y="2464111"/>
                    </a:lnTo>
                    <a:lnTo>
                      <a:pt x="0" y="2464111"/>
                    </a:lnTo>
                    <a:lnTo>
                      <a:pt x="0" y="1"/>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grpSp>
        <p:sp>
          <p:nvSpPr>
            <p:cNvPr id="21" name="TextBox 20">
              <a:extLst>
                <a:ext uri="{FF2B5EF4-FFF2-40B4-BE49-F238E27FC236}">
                  <a16:creationId xmlns:a16="http://schemas.microsoft.com/office/drawing/2014/main" id="{C928BE64-EC73-5884-C426-C603EB6F8205}"/>
                </a:ext>
              </a:extLst>
            </p:cNvPr>
            <p:cNvSpPr txBox="1"/>
            <p:nvPr/>
          </p:nvSpPr>
          <p:spPr>
            <a:xfrm>
              <a:off x="253272" y="2399957"/>
              <a:ext cx="1004422" cy="246221"/>
            </a:xfrm>
            <a:prstGeom prst="rect">
              <a:avLst/>
            </a:prstGeom>
            <a:noFill/>
          </p:spPr>
          <p:txBody>
            <a:bodyPr wrap="square" lIns="91440" tIns="45720" rIns="91440" bIns="45720" rtlCol="0">
              <a:spAutoFit/>
            </a:bodyPr>
            <a:lstStyle>
              <a:defPPr>
                <a:defRPr lang="en-US"/>
              </a:defPPr>
              <a:lvl1pPr marR="0" lvl="0" indent="0" algn="ctr" defTabSz="932597" fontAlgn="auto">
                <a:lnSpc>
                  <a:spcPct val="100000"/>
                </a:lnSpc>
                <a:spcBef>
                  <a:spcPts val="0"/>
                </a:spcBef>
                <a:spcAft>
                  <a:spcPts val="0"/>
                </a:spcAft>
                <a:buClrTx/>
                <a:buSzTx/>
                <a:buFontTx/>
                <a:buNone/>
                <a:tabLst/>
                <a:defRPr kumimoji="0" sz="1050" b="0" i="0" u="none" strike="noStrike" kern="0" cap="none" spc="0" normalizeH="0" baseline="0">
                  <a:ln>
                    <a:noFill/>
                  </a:ln>
                  <a:effectLst/>
                  <a:uLnTx/>
                  <a:uFillTx/>
                  <a:latin typeface="Segoe UI Semibold" panose="020B0702040204020203" pitchFamily="34"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4"/>
                  </a:solidFill>
                  <a:effectLst/>
                  <a:uLnTx/>
                  <a:uFillTx/>
                  <a:latin typeface="Segoe UI Semibold"/>
                  <a:cs typeface="Segoe UI" panose="020B0502040204020203" pitchFamily="34" charset="0"/>
                </a:rPr>
                <a:t>Azure Storage</a:t>
              </a:r>
            </a:p>
          </p:txBody>
        </p:sp>
        <p:sp>
          <p:nvSpPr>
            <p:cNvPr id="22" name="Freeform 163">
              <a:extLst>
                <a:ext uri="{FF2B5EF4-FFF2-40B4-BE49-F238E27FC236}">
                  <a16:creationId xmlns:a16="http://schemas.microsoft.com/office/drawing/2014/main" id="{ED1EA08F-88B5-AAB5-B0DD-570CEA035AB6}"/>
                </a:ext>
              </a:extLst>
            </p:cNvPr>
            <p:cNvSpPr/>
            <p:nvPr/>
          </p:nvSpPr>
          <p:spPr bwMode="auto">
            <a:xfrm>
              <a:off x="518254" y="2035579"/>
              <a:ext cx="444302" cy="384096"/>
            </a:xfrm>
            <a:custGeom>
              <a:avLst/>
              <a:gdLst>
                <a:gd name="connsiteX0" fmla="*/ 2045820 w 4638512"/>
                <a:gd name="connsiteY0" fmla="*/ 2246179 h 4009962"/>
                <a:gd name="connsiteX1" fmla="*/ 2135116 w 4638512"/>
                <a:gd name="connsiteY1" fmla="*/ 2478723 h 4009962"/>
                <a:gd name="connsiteX2" fmla="*/ 2043959 w 4638512"/>
                <a:gd name="connsiteY2" fmla="*/ 2711267 h 4009962"/>
                <a:gd name="connsiteX3" fmla="*/ 1950477 w 4638512"/>
                <a:gd name="connsiteY3" fmla="*/ 2485699 h 4009962"/>
                <a:gd name="connsiteX4" fmla="*/ 2045820 w 4638512"/>
                <a:gd name="connsiteY4" fmla="*/ 2246179 h 4009962"/>
                <a:gd name="connsiteX5" fmla="*/ 2052331 w 4638512"/>
                <a:gd name="connsiteY5" fmla="*/ 2134093 h 4009962"/>
                <a:gd name="connsiteX6" fmla="*/ 1865598 w 4638512"/>
                <a:gd name="connsiteY6" fmla="*/ 2225018 h 4009962"/>
                <a:gd name="connsiteX7" fmla="*/ 1801183 w 4638512"/>
                <a:gd name="connsiteY7" fmla="*/ 2489420 h 4009962"/>
                <a:gd name="connsiteX8" fmla="*/ 2039308 w 4638512"/>
                <a:gd name="connsiteY8" fmla="*/ 2823818 h 4009962"/>
                <a:gd name="connsiteX9" fmla="*/ 2221390 w 4638512"/>
                <a:gd name="connsiteY9" fmla="*/ 2733591 h 4009962"/>
                <a:gd name="connsiteX10" fmla="*/ 2284875 w 4638512"/>
                <a:gd name="connsiteY10" fmla="*/ 2474072 h 4009962"/>
                <a:gd name="connsiteX11" fmla="*/ 2052331 w 4638512"/>
                <a:gd name="connsiteY11" fmla="*/ 2134093 h 4009962"/>
                <a:gd name="connsiteX12" fmla="*/ 2619664 w 4638512"/>
                <a:gd name="connsiteY12" fmla="*/ 2130372 h 4009962"/>
                <a:gd name="connsiteX13" fmla="*/ 2528041 w 4638512"/>
                <a:gd name="connsiteY13" fmla="*/ 2187578 h 4009962"/>
                <a:gd name="connsiteX14" fmla="*/ 2420141 w 4638512"/>
                <a:gd name="connsiteY14" fmla="*/ 2230366 h 4009962"/>
                <a:gd name="connsiteX15" fmla="*/ 2420141 w 4638512"/>
                <a:gd name="connsiteY15" fmla="*/ 2354080 h 4009962"/>
                <a:gd name="connsiteX16" fmla="*/ 2459673 w 4638512"/>
                <a:gd name="connsiteY16" fmla="*/ 2346406 h 4009962"/>
                <a:gd name="connsiteX17" fmla="*/ 2498276 w 4638512"/>
                <a:gd name="connsiteY17" fmla="*/ 2333383 h 4009962"/>
                <a:gd name="connsiteX18" fmla="*/ 2533390 w 4638512"/>
                <a:gd name="connsiteY18" fmla="*/ 2316175 h 4009962"/>
                <a:gd name="connsiteX19" fmla="*/ 2561993 w 4638512"/>
                <a:gd name="connsiteY19" fmla="*/ 2295944 h 4009962"/>
                <a:gd name="connsiteX20" fmla="*/ 2561993 w 4638512"/>
                <a:gd name="connsiteY20" fmla="*/ 2812191 h 4009962"/>
                <a:gd name="connsiteX21" fmla="*/ 2708495 w 4638512"/>
                <a:gd name="connsiteY21" fmla="*/ 2812191 h 4009962"/>
                <a:gd name="connsiteX22" fmla="*/ 2708495 w 4638512"/>
                <a:gd name="connsiteY22" fmla="*/ 2130372 h 4009962"/>
                <a:gd name="connsiteX23" fmla="*/ 2598269 w 4638512"/>
                <a:gd name="connsiteY23" fmla="*/ 1315451 h 4009962"/>
                <a:gd name="connsiteX24" fmla="*/ 2687566 w 4638512"/>
                <a:gd name="connsiteY24" fmla="*/ 1547995 h 4009962"/>
                <a:gd name="connsiteX25" fmla="*/ 2596409 w 4638512"/>
                <a:gd name="connsiteY25" fmla="*/ 1780539 h 4009962"/>
                <a:gd name="connsiteX26" fmla="*/ 2502926 w 4638512"/>
                <a:gd name="connsiteY26" fmla="*/ 1554971 h 4009962"/>
                <a:gd name="connsiteX27" fmla="*/ 2598269 w 4638512"/>
                <a:gd name="connsiteY27" fmla="*/ 1315451 h 4009962"/>
                <a:gd name="connsiteX28" fmla="*/ 2604781 w 4638512"/>
                <a:gd name="connsiteY28" fmla="*/ 1203365 h 4009962"/>
                <a:gd name="connsiteX29" fmla="*/ 2418048 w 4638512"/>
                <a:gd name="connsiteY29" fmla="*/ 1294290 h 4009962"/>
                <a:gd name="connsiteX30" fmla="*/ 2353633 w 4638512"/>
                <a:gd name="connsiteY30" fmla="*/ 1558692 h 4009962"/>
                <a:gd name="connsiteX31" fmla="*/ 2591758 w 4638512"/>
                <a:gd name="connsiteY31" fmla="*/ 1893090 h 4009962"/>
                <a:gd name="connsiteX32" fmla="*/ 2773840 w 4638512"/>
                <a:gd name="connsiteY32" fmla="*/ 1802863 h 4009962"/>
                <a:gd name="connsiteX33" fmla="*/ 2837325 w 4638512"/>
                <a:gd name="connsiteY33" fmla="*/ 1543344 h 4009962"/>
                <a:gd name="connsiteX34" fmla="*/ 2604781 w 4638512"/>
                <a:gd name="connsiteY34" fmla="*/ 1203365 h 4009962"/>
                <a:gd name="connsiteX35" fmla="*/ 2067214 w 4638512"/>
                <a:gd name="connsiteY35" fmla="*/ 1199644 h 4009962"/>
                <a:gd name="connsiteX36" fmla="*/ 1975591 w 4638512"/>
                <a:gd name="connsiteY36" fmla="*/ 1256850 h 4009962"/>
                <a:gd name="connsiteX37" fmla="*/ 1867691 w 4638512"/>
                <a:gd name="connsiteY37" fmla="*/ 1299638 h 4009962"/>
                <a:gd name="connsiteX38" fmla="*/ 1867691 w 4638512"/>
                <a:gd name="connsiteY38" fmla="*/ 1423352 h 4009962"/>
                <a:gd name="connsiteX39" fmla="*/ 1907223 w 4638512"/>
                <a:gd name="connsiteY39" fmla="*/ 1415678 h 4009962"/>
                <a:gd name="connsiteX40" fmla="*/ 1945826 w 4638512"/>
                <a:gd name="connsiteY40" fmla="*/ 1402655 h 4009962"/>
                <a:gd name="connsiteX41" fmla="*/ 1980940 w 4638512"/>
                <a:gd name="connsiteY41" fmla="*/ 1385447 h 4009962"/>
                <a:gd name="connsiteX42" fmla="*/ 2009543 w 4638512"/>
                <a:gd name="connsiteY42" fmla="*/ 1365216 h 4009962"/>
                <a:gd name="connsiteX43" fmla="*/ 2009543 w 4638512"/>
                <a:gd name="connsiteY43" fmla="*/ 1881463 h 4009962"/>
                <a:gd name="connsiteX44" fmla="*/ 2156045 w 4638512"/>
                <a:gd name="connsiteY44" fmla="*/ 1881463 h 4009962"/>
                <a:gd name="connsiteX45" fmla="*/ 2156045 w 4638512"/>
                <a:gd name="connsiteY45" fmla="*/ 1199644 h 4009962"/>
                <a:gd name="connsiteX46" fmla="*/ 1451717 w 4638512"/>
                <a:gd name="connsiteY46" fmla="*/ 975276 h 4009962"/>
                <a:gd name="connsiteX47" fmla="*/ 2932580 w 4638512"/>
                <a:gd name="connsiteY47" fmla="*/ 975277 h 4009962"/>
                <a:gd name="connsiteX48" fmla="*/ 2932580 w 4638512"/>
                <a:gd name="connsiteY48" fmla="*/ 1360287 h 4009962"/>
                <a:gd name="connsiteX49" fmla="*/ 3300325 w 4638512"/>
                <a:gd name="connsiteY49" fmla="*/ 1360287 h 4009962"/>
                <a:gd name="connsiteX50" fmla="*/ 3300325 w 4638512"/>
                <a:gd name="connsiteY50" fmla="*/ 2920137 h 4009962"/>
                <a:gd name="connsiteX51" fmla="*/ 3185379 w 4638512"/>
                <a:gd name="connsiteY51" fmla="*/ 3035083 h 4009962"/>
                <a:gd name="connsiteX52" fmla="*/ 1451717 w 4638512"/>
                <a:gd name="connsiteY52" fmla="*/ 3035083 h 4009962"/>
                <a:gd name="connsiteX53" fmla="*/ 1336771 w 4638512"/>
                <a:gd name="connsiteY53" fmla="*/ 2920137 h 4009962"/>
                <a:gd name="connsiteX54" fmla="*/ 1336771 w 4638512"/>
                <a:gd name="connsiteY54" fmla="*/ 1090222 h 4009962"/>
                <a:gd name="connsiteX55" fmla="*/ 1451717 w 4638512"/>
                <a:gd name="connsiteY55" fmla="*/ 975276 h 4009962"/>
                <a:gd name="connsiteX56" fmla="*/ 1471468 w 4638512"/>
                <a:gd name="connsiteY56" fmla="*/ 797915 h 4009962"/>
                <a:gd name="connsiteX57" fmla="*/ 1156956 w 4638512"/>
                <a:gd name="connsiteY57" fmla="*/ 1112426 h 4009962"/>
                <a:gd name="connsiteX58" fmla="*/ 1156956 w 4638512"/>
                <a:gd name="connsiteY58" fmla="*/ 2900449 h 4009962"/>
                <a:gd name="connsiteX59" fmla="*/ 1471468 w 4638512"/>
                <a:gd name="connsiteY59" fmla="*/ 3214961 h 4009962"/>
                <a:gd name="connsiteX60" fmla="*/ 3166302 w 4638512"/>
                <a:gd name="connsiteY60" fmla="*/ 3214961 h 4009962"/>
                <a:gd name="connsiteX61" fmla="*/ 3480814 w 4638512"/>
                <a:gd name="connsiteY61" fmla="*/ 2900449 h 4009962"/>
                <a:gd name="connsiteX62" fmla="*/ 3480814 w 4638512"/>
                <a:gd name="connsiteY62" fmla="*/ 1279104 h 4009962"/>
                <a:gd name="connsiteX63" fmla="*/ 2999625 w 4638512"/>
                <a:gd name="connsiteY63" fmla="*/ 797915 h 4009962"/>
                <a:gd name="connsiteX64" fmla="*/ 1168463 w 4638512"/>
                <a:gd name="connsiteY64" fmla="*/ 0 h 4009962"/>
                <a:gd name="connsiteX65" fmla="*/ 3470048 w 4638512"/>
                <a:gd name="connsiteY65" fmla="*/ 0 h 4009962"/>
                <a:gd name="connsiteX66" fmla="*/ 4638512 w 4638512"/>
                <a:gd name="connsiteY66" fmla="*/ 2004981 h 4009962"/>
                <a:gd name="connsiteX67" fmla="*/ 3470048 w 4638512"/>
                <a:gd name="connsiteY67" fmla="*/ 4009962 h 4009962"/>
                <a:gd name="connsiteX68" fmla="*/ 1168463 w 4638512"/>
                <a:gd name="connsiteY68" fmla="*/ 4009962 h 4009962"/>
                <a:gd name="connsiteX69" fmla="*/ 0 w 4638512"/>
                <a:gd name="connsiteY69" fmla="*/ 2004981 h 400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638512" h="4009962">
                  <a:moveTo>
                    <a:pt x="2045820" y="2246179"/>
                  </a:moveTo>
                  <a:cubicBezTo>
                    <a:pt x="2105351" y="2246179"/>
                    <a:pt x="2135116" y="2323694"/>
                    <a:pt x="2135116" y="2478723"/>
                  </a:cubicBezTo>
                  <a:cubicBezTo>
                    <a:pt x="2135116" y="2633753"/>
                    <a:pt x="2104731" y="2711267"/>
                    <a:pt x="2043959" y="2711267"/>
                  </a:cubicBezTo>
                  <a:cubicBezTo>
                    <a:pt x="1981637" y="2711267"/>
                    <a:pt x="1950477" y="2636078"/>
                    <a:pt x="1950477" y="2485699"/>
                  </a:cubicBezTo>
                  <a:cubicBezTo>
                    <a:pt x="1950477" y="2326019"/>
                    <a:pt x="1982258" y="2246179"/>
                    <a:pt x="2045820" y="2246179"/>
                  </a:cubicBezTo>
                  <a:close/>
                  <a:moveTo>
                    <a:pt x="2052331" y="2134093"/>
                  </a:moveTo>
                  <a:cubicBezTo>
                    <a:pt x="1970785" y="2134093"/>
                    <a:pt x="1908541" y="2164401"/>
                    <a:pt x="1865598" y="2225018"/>
                  </a:cubicBezTo>
                  <a:cubicBezTo>
                    <a:pt x="1822655" y="2285634"/>
                    <a:pt x="1801183" y="2373768"/>
                    <a:pt x="1801183" y="2489420"/>
                  </a:cubicBezTo>
                  <a:cubicBezTo>
                    <a:pt x="1801183" y="2712352"/>
                    <a:pt x="1880558" y="2823818"/>
                    <a:pt x="2039308" y="2823818"/>
                  </a:cubicBezTo>
                  <a:cubicBezTo>
                    <a:pt x="2118373" y="2823818"/>
                    <a:pt x="2179067" y="2793743"/>
                    <a:pt x="2221390" y="2733591"/>
                  </a:cubicBezTo>
                  <a:cubicBezTo>
                    <a:pt x="2263713" y="2673440"/>
                    <a:pt x="2284875" y="2586934"/>
                    <a:pt x="2284875" y="2474072"/>
                  </a:cubicBezTo>
                  <a:cubicBezTo>
                    <a:pt x="2284875" y="2247419"/>
                    <a:pt x="2207360" y="2134093"/>
                    <a:pt x="2052331" y="2134093"/>
                  </a:cubicBezTo>
                  <a:close/>
                  <a:moveTo>
                    <a:pt x="2619664" y="2130372"/>
                  </a:moveTo>
                  <a:cubicBezTo>
                    <a:pt x="2592378" y="2151146"/>
                    <a:pt x="2561838" y="2170215"/>
                    <a:pt x="2528041" y="2187578"/>
                  </a:cubicBezTo>
                  <a:cubicBezTo>
                    <a:pt x="2494245" y="2204941"/>
                    <a:pt x="2458278" y="2219204"/>
                    <a:pt x="2420141" y="2230366"/>
                  </a:cubicBezTo>
                  <a:lnTo>
                    <a:pt x="2420141" y="2354080"/>
                  </a:lnTo>
                  <a:cubicBezTo>
                    <a:pt x="2433163" y="2352529"/>
                    <a:pt x="2446341" y="2349971"/>
                    <a:pt x="2459673" y="2346406"/>
                  </a:cubicBezTo>
                  <a:cubicBezTo>
                    <a:pt x="2473006" y="2342840"/>
                    <a:pt x="2485873" y="2338499"/>
                    <a:pt x="2498276" y="2333383"/>
                  </a:cubicBezTo>
                  <a:cubicBezTo>
                    <a:pt x="2510678" y="2328267"/>
                    <a:pt x="2522383" y="2322531"/>
                    <a:pt x="2533390" y="2316175"/>
                  </a:cubicBezTo>
                  <a:cubicBezTo>
                    <a:pt x="2544397" y="2309819"/>
                    <a:pt x="2553931" y="2303075"/>
                    <a:pt x="2561993" y="2295944"/>
                  </a:cubicBezTo>
                  <a:lnTo>
                    <a:pt x="2561993" y="2812191"/>
                  </a:lnTo>
                  <a:lnTo>
                    <a:pt x="2708495" y="2812191"/>
                  </a:lnTo>
                  <a:lnTo>
                    <a:pt x="2708495" y="2130372"/>
                  </a:lnTo>
                  <a:close/>
                  <a:moveTo>
                    <a:pt x="2598269" y="1315451"/>
                  </a:moveTo>
                  <a:cubicBezTo>
                    <a:pt x="2657801" y="1315451"/>
                    <a:pt x="2687566" y="1392966"/>
                    <a:pt x="2687566" y="1547995"/>
                  </a:cubicBezTo>
                  <a:cubicBezTo>
                    <a:pt x="2687566" y="1703024"/>
                    <a:pt x="2657181" y="1780539"/>
                    <a:pt x="2596409" y="1780539"/>
                  </a:cubicBezTo>
                  <a:cubicBezTo>
                    <a:pt x="2534087" y="1780539"/>
                    <a:pt x="2502926" y="1705350"/>
                    <a:pt x="2502926" y="1554971"/>
                  </a:cubicBezTo>
                  <a:cubicBezTo>
                    <a:pt x="2502926" y="1395291"/>
                    <a:pt x="2534707" y="1315451"/>
                    <a:pt x="2598269" y="1315451"/>
                  </a:cubicBezTo>
                  <a:close/>
                  <a:moveTo>
                    <a:pt x="2604781" y="1203365"/>
                  </a:moveTo>
                  <a:cubicBezTo>
                    <a:pt x="2523235" y="1203365"/>
                    <a:pt x="2460991" y="1233673"/>
                    <a:pt x="2418048" y="1294290"/>
                  </a:cubicBezTo>
                  <a:cubicBezTo>
                    <a:pt x="2375105" y="1354906"/>
                    <a:pt x="2353633" y="1443040"/>
                    <a:pt x="2353633" y="1558692"/>
                  </a:cubicBezTo>
                  <a:cubicBezTo>
                    <a:pt x="2353633" y="1781624"/>
                    <a:pt x="2433008" y="1893090"/>
                    <a:pt x="2591758" y="1893090"/>
                  </a:cubicBezTo>
                  <a:cubicBezTo>
                    <a:pt x="2670823" y="1893090"/>
                    <a:pt x="2731517" y="1863015"/>
                    <a:pt x="2773840" y="1802863"/>
                  </a:cubicBezTo>
                  <a:cubicBezTo>
                    <a:pt x="2816163" y="1742712"/>
                    <a:pt x="2837325" y="1656206"/>
                    <a:pt x="2837325" y="1543344"/>
                  </a:cubicBezTo>
                  <a:cubicBezTo>
                    <a:pt x="2837325" y="1316691"/>
                    <a:pt x="2759810" y="1203365"/>
                    <a:pt x="2604781" y="1203365"/>
                  </a:cubicBezTo>
                  <a:close/>
                  <a:moveTo>
                    <a:pt x="2067214" y="1199644"/>
                  </a:moveTo>
                  <a:cubicBezTo>
                    <a:pt x="2039928" y="1220418"/>
                    <a:pt x="2009388" y="1239487"/>
                    <a:pt x="1975591" y="1256850"/>
                  </a:cubicBezTo>
                  <a:cubicBezTo>
                    <a:pt x="1941795" y="1274213"/>
                    <a:pt x="1905828" y="1288476"/>
                    <a:pt x="1867691" y="1299638"/>
                  </a:cubicBezTo>
                  <a:lnTo>
                    <a:pt x="1867691" y="1423352"/>
                  </a:lnTo>
                  <a:cubicBezTo>
                    <a:pt x="1880713" y="1421801"/>
                    <a:pt x="1893891" y="1419243"/>
                    <a:pt x="1907223" y="1415678"/>
                  </a:cubicBezTo>
                  <a:cubicBezTo>
                    <a:pt x="1920556" y="1412112"/>
                    <a:pt x="1933423" y="1407771"/>
                    <a:pt x="1945826" y="1402655"/>
                  </a:cubicBezTo>
                  <a:cubicBezTo>
                    <a:pt x="1958228" y="1397539"/>
                    <a:pt x="1969933" y="1391803"/>
                    <a:pt x="1980940" y="1385447"/>
                  </a:cubicBezTo>
                  <a:cubicBezTo>
                    <a:pt x="1991947" y="1379091"/>
                    <a:pt x="2001481" y="1372347"/>
                    <a:pt x="2009543" y="1365216"/>
                  </a:cubicBezTo>
                  <a:lnTo>
                    <a:pt x="2009543" y="1881463"/>
                  </a:lnTo>
                  <a:lnTo>
                    <a:pt x="2156045" y="1881463"/>
                  </a:lnTo>
                  <a:lnTo>
                    <a:pt x="2156045" y="1199644"/>
                  </a:lnTo>
                  <a:close/>
                  <a:moveTo>
                    <a:pt x="1451717" y="975276"/>
                  </a:moveTo>
                  <a:lnTo>
                    <a:pt x="2932580" y="975277"/>
                  </a:lnTo>
                  <a:lnTo>
                    <a:pt x="2932580" y="1360287"/>
                  </a:lnTo>
                  <a:lnTo>
                    <a:pt x="3300325" y="1360287"/>
                  </a:lnTo>
                  <a:lnTo>
                    <a:pt x="3300325" y="2920137"/>
                  </a:lnTo>
                  <a:cubicBezTo>
                    <a:pt x="3300325" y="2983620"/>
                    <a:pt x="3248862" y="3035083"/>
                    <a:pt x="3185379" y="3035083"/>
                  </a:cubicBezTo>
                  <a:lnTo>
                    <a:pt x="1451717" y="3035083"/>
                  </a:lnTo>
                  <a:cubicBezTo>
                    <a:pt x="1388234" y="3035083"/>
                    <a:pt x="1336771" y="2983619"/>
                    <a:pt x="1336771" y="2920137"/>
                  </a:cubicBezTo>
                  <a:lnTo>
                    <a:pt x="1336771" y="1090222"/>
                  </a:lnTo>
                  <a:cubicBezTo>
                    <a:pt x="1336771" y="1026739"/>
                    <a:pt x="1388234" y="975276"/>
                    <a:pt x="1451717" y="975276"/>
                  </a:cubicBezTo>
                  <a:close/>
                  <a:moveTo>
                    <a:pt x="1471468" y="797915"/>
                  </a:moveTo>
                  <a:cubicBezTo>
                    <a:pt x="1297768" y="797915"/>
                    <a:pt x="1156956" y="938726"/>
                    <a:pt x="1156956" y="1112426"/>
                  </a:cubicBezTo>
                  <a:lnTo>
                    <a:pt x="1156956" y="2900449"/>
                  </a:lnTo>
                  <a:cubicBezTo>
                    <a:pt x="1156956" y="3074149"/>
                    <a:pt x="1297768" y="3214960"/>
                    <a:pt x="1471468" y="3214961"/>
                  </a:cubicBezTo>
                  <a:lnTo>
                    <a:pt x="3166302" y="3214961"/>
                  </a:lnTo>
                  <a:cubicBezTo>
                    <a:pt x="3340003" y="3214960"/>
                    <a:pt x="3480814" y="3074149"/>
                    <a:pt x="3480814" y="2900449"/>
                  </a:cubicBezTo>
                  <a:lnTo>
                    <a:pt x="3480814" y="1279104"/>
                  </a:lnTo>
                  <a:lnTo>
                    <a:pt x="2999625" y="797915"/>
                  </a:lnTo>
                  <a:close/>
                  <a:moveTo>
                    <a:pt x="1168463" y="0"/>
                  </a:moveTo>
                  <a:lnTo>
                    <a:pt x="3470048" y="0"/>
                  </a:lnTo>
                  <a:lnTo>
                    <a:pt x="4638512" y="2004981"/>
                  </a:lnTo>
                  <a:lnTo>
                    <a:pt x="3470048" y="4009962"/>
                  </a:lnTo>
                  <a:lnTo>
                    <a:pt x="1168463" y="4009962"/>
                  </a:lnTo>
                  <a:lnTo>
                    <a:pt x="0" y="2004981"/>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220">
              <a:extLst>
                <a:ext uri="{FF2B5EF4-FFF2-40B4-BE49-F238E27FC236}">
                  <a16:creationId xmlns:a16="http://schemas.microsoft.com/office/drawing/2014/main" id="{E4126AC8-02EE-B880-EAA4-301E8B4677AB}"/>
                </a:ext>
              </a:extLst>
            </p:cNvPr>
            <p:cNvSpPr/>
            <p:nvPr/>
          </p:nvSpPr>
          <p:spPr bwMode="auto">
            <a:xfrm>
              <a:off x="10180745" y="2933087"/>
              <a:ext cx="298162" cy="298162"/>
            </a:xfrm>
            <a:custGeom>
              <a:avLst/>
              <a:gdLst>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3414840 w 6689158"/>
                <a:gd name="connsiteY20" fmla="*/ 2285703 h 6689159"/>
                <a:gd name="connsiteX21" fmla="*/ 3364850 w 6689158"/>
                <a:gd name="connsiteY21" fmla="*/ 2318041 h 6689159"/>
                <a:gd name="connsiteX22" fmla="*/ 2848518 w 6689158"/>
                <a:gd name="connsiteY22" fmla="*/ 2733562 h 6689159"/>
                <a:gd name="connsiteX23" fmla="*/ 2690374 w 6689158"/>
                <a:gd name="connsiteY23" fmla="*/ 2890404 h 6689159"/>
                <a:gd name="connsiteX24" fmla="*/ 2571277 w 6689158"/>
                <a:gd name="connsiteY24" fmla="*/ 3021477 h 6689159"/>
                <a:gd name="connsiteX25" fmla="*/ 2590552 w 6689158"/>
                <a:gd name="connsiteY25" fmla="*/ 3056989 h 6689159"/>
                <a:gd name="connsiteX26" fmla="*/ 2660349 w 6689158"/>
                <a:gd name="connsiteY26" fmla="*/ 3402707 h 6689159"/>
                <a:gd name="connsiteX27" fmla="*/ 2590552 w 6689158"/>
                <a:gd name="connsiteY27" fmla="*/ 3748426 h 6689159"/>
                <a:gd name="connsiteX28" fmla="*/ 2530886 w 6689158"/>
                <a:gd name="connsiteY28" fmla="*/ 3858356 h 6689159"/>
                <a:gd name="connsiteX29" fmla="*/ 2709229 w 6689158"/>
                <a:gd name="connsiteY29" fmla="*/ 4015297 h 6689159"/>
                <a:gd name="connsiteX30" fmla="*/ 3266837 w 6689158"/>
                <a:gd name="connsiteY30" fmla="*/ 4389432 h 6689159"/>
                <a:gd name="connsiteX31" fmla="*/ 3452642 w 6689158"/>
                <a:gd name="connsiteY31" fmla="*/ 4482945 h 6689159"/>
                <a:gd name="connsiteX32" fmla="*/ 3528532 w 6689158"/>
                <a:gd name="connsiteY32" fmla="*/ 4441753 h 6689159"/>
                <a:gd name="connsiteX33" fmla="*/ 3760569 w 6689158"/>
                <a:gd name="connsiteY33" fmla="*/ 4394906 h 6689159"/>
                <a:gd name="connsiteX34" fmla="*/ 4309843 w 6689158"/>
                <a:gd name="connsiteY34" fmla="*/ 4758990 h 6689159"/>
                <a:gd name="connsiteX35" fmla="*/ 4320607 w 6689158"/>
                <a:gd name="connsiteY35" fmla="*/ 4793664 h 6689159"/>
                <a:gd name="connsiteX36" fmla="*/ 4559688 w 6689158"/>
                <a:gd name="connsiteY36" fmla="*/ 4845550 h 6689159"/>
                <a:gd name="connsiteX37" fmla="*/ 5273213 w 6689158"/>
                <a:gd name="connsiteY37" fmla="*/ 4906508 h 6689159"/>
                <a:gd name="connsiteX38" fmla="*/ 5685342 w 6689158"/>
                <a:gd name="connsiteY38" fmla="*/ 4886359 h 6689159"/>
                <a:gd name="connsiteX39" fmla="*/ 5794448 w 6689158"/>
                <a:gd name="connsiteY39" fmla="*/ 4872934 h 6689159"/>
                <a:gd name="connsiteX40" fmla="*/ 5885995 w 6689158"/>
                <a:gd name="connsiteY40" fmla="*/ 4722245 h 6689159"/>
                <a:gd name="connsiteX41" fmla="*/ 6007702 w 6689158"/>
                <a:gd name="connsiteY41" fmla="*/ 4469596 h 6689159"/>
                <a:gd name="connsiteX42" fmla="*/ 6025566 w 6689158"/>
                <a:gd name="connsiteY42" fmla="*/ 4420788 h 6689159"/>
                <a:gd name="connsiteX43" fmla="*/ 5774209 w 6689158"/>
                <a:gd name="connsiteY43" fmla="*/ 4251797 h 6689159"/>
                <a:gd name="connsiteX44" fmla="*/ 5530775 w 6689158"/>
                <a:gd name="connsiteY44" fmla="*/ 4077911 h 6689159"/>
                <a:gd name="connsiteX45" fmla="*/ 5435413 w 6689158"/>
                <a:gd name="connsiteY45" fmla="*/ 4006461 h 6689159"/>
                <a:gd name="connsiteX46" fmla="*/ 5428090 w 6689158"/>
                <a:gd name="connsiteY46" fmla="*/ 4012503 h 6689159"/>
                <a:gd name="connsiteX47" fmla="*/ 5066831 w 6689158"/>
                <a:gd name="connsiteY47" fmla="*/ 4122852 h 6689159"/>
                <a:gd name="connsiteX48" fmla="*/ 4420700 w 6689158"/>
                <a:gd name="connsiteY48" fmla="*/ 3476722 h 6689159"/>
                <a:gd name="connsiteX49" fmla="*/ 4433828 w 6689158"/>
                <a:gd name="connsiteY49" fmla="*/ 3346504 h 6689159"/>
                <a:gd name="connsiteX50" fmla="*/ 4468981 w 6689158"/>
                <a:gd name="connsiteY50" fmla="*/ 3233259 h 6689159"/>
                <a:gd name="connsiteX51" fmla="*/ 4439706 w 6689158"/>
                <a:gd name="connsiteY51" fmla="*/ 3208684 h 6689159"/>
                <a:gd name="connsiteX52" fmla="*/ 3535763 w 6689158"/>
                <a:gd name="connsiteY52" fmla="*/ 2400517 h 6689159"/>
                <a:gd name="connsiteX53" fmla="*/ 851869 w 6689158"/>
                <a:gd name="connsiteY53" fmla="*/ 1886744 h 6689159"/>
                <a:gd name="connsiteX54" fmla="*/ 803165 w 6689158"/>
                <a:gd name="connsiteY54" fmla="*/ 1966913 h 6689159"/>
                <a:gd name="connsiteX55" fmla="*/ 454328 w 6689158"/>
                <a:gd name="connsiteY55" fmla="*/ 3344581 h 6689159"/>
                <a:gd name="connsiteX56" fmla="*/ 947938 w 6689158"/>
                <a:gd name="connsiteY56" fmla="*/ 4960549 h 6689159"/>
                <a:gd name="connsiteX57" fmla="*/ 959588 w 6689158"/>
                <a:gd name="connsiteY57" fmla="*/ 4976126 h 6689159"/>
                <a:gd name="connsiteX58" fmla="*/ 959588 w 6689158"/>
                <a:gd name="connsiteY58" fmla="*/ 4976125 h 6689159"/>
                <a:gd name="connsiteX59" fmla="*/ 964880 w 6689158"/>
                <a:gd name="connsiteY59" fmla="*/ 4912286 h 6689159"/>
                <a:gd name="connsiteX60" fmla="*/ 1095934 w 6689158"/>
                <a:gd name="connsiteY60" fmla="*/ 4201672 h 6689159"/>
                <a:gd name="connsiteX61" fmla="*/ 1147594 w 6689158"/>
                <a:gd name="connsiteY61" fmla="*/ 4033598 h 6689159"/>
                <a:gd name="connsiteX62" fmla="*/ 1144134 w 6689158"/>
                <a:gd name="connsiteY62" fmla="*/ 4030744 h 6689159"/>
                <a:gd name="connsiteX63" fmla="*/ 883992 w 6689158"/>
                <a:gd name="connsiteY63" fmla="*/ 3402708 h 6689159"/>
                <a:gd name="connsiteX64" fmla="*/ 1144135 w 6689158"/>
                <a:gd name="connsiteY64" fmla="*/ 2774670 h 6689159"/>
                <a:gd name="connsiteX65" fmla="*/ 1146941 w 6689158"/>
                <a:gd name="connsiteY65" fmla="*/ 2772355 h 6689159"/>
                <a:gd name="connsiteX66" fmla="*/ 1073336 w 6689158"/>
                <a:gd name="connsiteY66" fmla="*/ 2611529 h 6689159"/>
                <a:gd name="connsiteX67" fmla="*/ 851993 w 6689158"/>
                <a:gd name="connsiteY67" fmla="*/ 1887409 h 6689159"/>
                <a:gd name="connsiteX68" fmla="*/ 5524628 w 6689158"/>
                <a:gd name="connsiteY68" fmla="*/ 1450865 h 6689159"/>
                <a:gd name="connsiteX69" fmla="*/ 5524628 w 6689158"/>
                <a:gd name="connsiteY69" fmla="*/ 1450866 h 6689159"/>
                <a:gd name="connsiteX70" fmla="*/ 5574839 w 6689158"/>
                <a:gd name="connsiteY70" fmla="*/ 1506112 h 6689159"/>
                <a:gd name="connsiteX71" fmla="*/ 5611312 w 6689158"/>
                <a:gd name="connsiteY71" fmla="*/ 1554887 h 6689159"/>
                <a:gd name="connsiteX72" fmla="*/ 5610671 w 6689158"/>
                <a:gd name="connsiteY72" fmla="*/ 1554917 h 6689159"/>
                <a:gd name="connsiteX73" fmla="*/ 3930424 w 6689158"/>
                <a:gd name="connsiteY73" fmla="*/ 1991564 h 6689159"/>
                <a:gd name="connsiteX74" fmla="*/ 3863712 w 6689158"/>
                <a:gd name="connsiteY74" fmla="*/ 2025688 h 6689159"/>
                <a:gd name="connsiteX75" fmla="*/ 3998266 w 6689158"/>
                <a:gd name="connsiteY75" fmla="*/ 2153752 h 6689159"/>
                <a:gd name="connsiteX76" fmla="*/ 4470031 w 6689158"/>
                <a:gd name="connsiteY76" fmla="*/ 2590407 h 6689159"/>
                <a:gd name="connsiteX77" fmla="*/ 4801691 w 6689158"/>
                <a:gd name="connsiteY77" fmla="*/ 2888769 h 6689159"/>
                <a:gd name="connsiteX78" fmla="*/ 4815328 w 6689158"/>
                <a:gd name="connsiteY78" fmla="*/ 2881367 h 6689159"/>
                <a:gd name="connsiteX79" fmla="*/ 5066831 w 6689158"/>
                <a:gd name="connsiteY79" fmla="*/ 2830591 h 6689159"/>
                <a:gd name="connsiteX80" fmla="*/ 5712962 w 6689158"/>
                <a:gd name="connsiteY80" fmla="*/ 3476722 h 6689159"/>
                <a:gd name="connsiteX81" fmla="*/ 5699834 w 6689158"/>
                <a:gd name="connsiteY81" fmla="*/ 3606939 h 6689159"/>
                <a:gd name="connsiteX82" fmla="*/ 5684600 w 6689158"/>
                <a:gd name="connsiteY82" fmla="*/ 3656022 h 6689159"/>
                <a:gd name="connsiteX83" fmla="*/ 5861148 w 6689158"/>
                <a:gd name="connsiteY83" fmla="*/ 3805497 h 6689159"/>
                <a:gd name="connsiteX84" fmla="*/ 6147161 w 6689158"/>
                <a:gd name="connsiteY84" fmla="*/ 4039666 h 6689159"/>
                <a:gd name="connsiteX85" fmla="*/ 6147160 w 6689158"/>
                <a:gd name="connsiteY85" fmla="*/ 4039665 h 6689159"/>
                <a:gd name="connsiteX86" fmla="*/ 6176112 w 6689158"/>
                <a:gd name="connsiteY86" fmla="*/ 3927066 h 6689159"/>
                <a:gd name="connsiteX87" fmla="*/ 6234832 w 6689158"/>
                <a:gd name="connsiteY87" fmla="*/ 3344579 h 6689159"/>
                <a:gd name="connsiteX88" fmla="*/ 5741222 w 6689158"/>
                <a:gd name="connsiteY88" fmla="*/ 1728614 h 6689159"/>
                <a:gd name="connsiteX89" fmla="*/ 5611312 w 6689158"/>
                <a:gd name="connsiteY89" fmla="*/ 1554887 h 6689159"/>
                <a:gd name="connsiteX90" fmla="*/ 5574839 w 6689158"/>
                <a:gd name="connsiteY90" fmla="*/ 1506111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5140393 w 6689158"/>
                <a:gd name="connsiteY121" fmla="*/ 1082424 h 6689159"/>
                <a:gd name="connsiteX122" fmla="*/ 5140394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24628 w 6689158"/>
                <a:gd name="connsiteY72" fmla="*/ 1450866 h 6689159"/>
                <a:gd name="connsiteX73" fmla="*/ 5574839 w 6689158"/>
                <a:gd name="connsiteY73" fmla="*/ 1506112 h 6689159"/>
                <a:gd name="connsiteX74" fmla="*/ 5611312 w 6689158"/>
                <a:gd name="connsiteY74" fmla="*/ 1554887 h 6689159"/>
                <a:gd name="connsiteX75" fmla="*/ 5610671 w 6689158"/>
                <a:gd name="connsiteY75" fmla="*/ 1554917 h 6689159"/>
                <a:gd name="connsiteX76" fmla="*/ 3930424 w 6689158"/>
                <a:gd name="connsiteY76" fmla="*/ 1991564 h 6689159"/>
                <a:gd name="connsiteX77" fmla="*/ 3863712 w 6689158"/>
                <a:gd name="connsiteY77" fmla="*/ 2025688 h 6689159"/>
                <a:gd name="connsiteX78" fmla="*/ 3998266 w 6689158"/>
                <a:gd name="connsiteY78" fmla="*/ 2153752 h 6689159"/>
                <a:gd name="connsiteX79" fmla="*/ 4470031 w 6689158"/>
                <a:gd name="connsiteY79" fmla="*/ 2590407 h 6689159"/>
                <a:gd name="connsiteX80" fmla="*/ 4801691 w 6689158"/>
                <a:gd name="connsiteY80" fmla="*/ 2888769 h 6689159"/>
                <a:gd name="connsiteX81" fmla="*/ 4815328 w 6689158"/>
                <a:gd name="connsiteY81" fmla="*/ 2881367 h 6689159"/>
                <a:gd name="connsiteX82" fmla="*/ 5066831 w 6689158"/>
                <a:gd name="connsiteY82" fmla="*/ 2830591 h 6689159"/>
                <a:gd name="connsiteX83" fmla="*/ 5712962 w 6689158"/>
                <a:gd name="connsiteY83" fmla="*/ 3476722 h 6689159"/>
                <a:gd name="connsiteX84" fmla="*/ 5699834 w 6689158"/>
                <a:gd name="connsiteY84" fmla="*/ 3606939 h 6689159"/>
                <a:gd name="connsiteX85" fmla="*/ 5684600 w 6689158"/>
                <a:gd name="connsiteY85" fmla="*/ 3656022 h 6689159"/>
                <a:gd name="connsiteX86" fmla="*/ 5861148 w 6689158"/>
                <a:gd name="connsiteY86" fmla="*/ 3805497 h 6689159"/>
                <a:gd name="connsiteX87" fmla="*/ 6147161 w 6689158"/>
                <a:gd name="connsiteY87" fmla="*/ 4039666 h 6689159"/>
                <a:gd name="connsiteX88" fmla="*/ 6147160 w 6689158"/>
                <a:gd name="connsiteY88" fmla="*/ 4039665 h 6689159"/>
                <a:gd name="connsiteX89" fmla="*/ 6176112 w 6689158"/>
                <a:gd name="connsiteY89" fmla="*/ 3927066 h 6689159"/>
                <a:gd name="connsiteX90" fmla="*/ 6234832 w 6689158"/>
                <a:gd name="connsiteY90" fmla="*/ 3344579 h 6689159"/>
                <a:gd name="connsiteX91" fmla="*/ 5741222 w 6689158"/>
                <a:gd name="connsiteY91" fmla="*/ 1728614 h 6689159"/>
                <a:gd name="connsiteX92" fmla="*/ 5611312 w 6689158"/>
                <a:gd name="connsiteY92" fmla="*/ 1554887 h 6689159"/>
                <a:gd name="connsiteX93" fmla="*/ 5574839 w 6689158"/>
                <a:gd name="connsiteY93" fmla="*/ 1506111 h 6689159"/>
                <a:gd name="connsiteX94" fmla="*/ 1958215 w 6689158"/>
                <a:gd name="connsiteY94" fmla="*/ 808450 h 6689159"/>
                <a:gd name="connsiteX95" fmla="*/ 1728612 w 6689158"/>
                <a:gd name="connsiteY95" fmla="*/ 947938 h 6689159"/>
                <a:gd name="connsiteX96" fmla="*/ 1300863 w 6689158"/>
                <a:gd name="connsiteY96" fmla="*/ 1300863 h 6689159"/>
                <a:gd name="connsiteX97" fmla="*/ 1258822 w 6689158"/>
                <a:gd name="connsiteY97" fmla="*/ 1347119 h 6689159"/>
                <a:gd name="connsiteX98" fmla="*/ 1258823 w 6689158"/>
                <a:gd name="connsiteY98" fmla="*/ 1347121 h 6689159"/>
                <a:gd name="connsiteX99" fmla="*/ 1263190 w 6689158"/>
                <a:gd name="connsiteY99" fmla="*/ 1402742 h 6689159"/>
                <a:gd name="connsiteX100" fmla="*/ 1504198 w 6689158"/>
                <a:gd name="connsiteY100" fmla="*/ 2390321 h 6689159"/>
                <a:gd name="connsiteX101" fmla="*/ 1570031 w 6689158"/>
                <a:gd name="connsiteY101" fmla="*/ 2538525 h 6689159"/>
                <a:gd name="connsiteX102" fmla="*/ 1593172 w 6689158"/>
                <a:gd name="connsiteY102" fmla="*/ 2532572 h 6689159"/>
                <a:gd name="connsiteX103" fmla="*/ 1772170 w 6689158"/>
                <a:gd name="connsiteY103" fmla="*/ 2514528 h 6689159"/>
                <a:gd name="connsiteX104" fmla="*/ 1951170 w 6689158"/>
                <a:gd name="connsiteY104" fmla="*/ 2532573 h 6689159"/>
                <a:gd name="connsiteX105" fmla="*/ 1953707 w 6689158"/>
                <a:gd name="connsiteY105" fmla="*/ 2533225 h 6689159"/>
                <a:gd name="connsiteX106" fmla="*/ 2046764 w 6689158"/>
                <a:gd name="connsiteY106" fmla="*/ 2419427 h 6689159"/>
                <a:gd name="connsiteX107" fmla="*/ 2304042 w 6689158"/>
                <a:gd name="connsiteY107" fmla="*/ 2155240 h 6689159"/>
                <a:gd name="connsiteX108" fmla="*/ 2679904 w 6689158"/>
                <a:gd name="connsiteY108" fmla="*/ 1840257 h 6689159"/>
                <a:gd name="connsiteX109" fmla="*/ 2839402 w 6689158"/>
                <a:gd name="connsiteY109" fmla="*/ 1728600 h 6689159"/>
                <a:gd name="connsiteX110" fmla="*/ 2839403 w 6689158"/>
                <a:gd name="connsiteY110" fmla="*/ 1728599 h 6689159"/>
                <a:gd name="connsiteX111" fmla="*/ 2180258 w 6689158"/>
                <a:gd name="connsiteY111" fmla="*/ 1049601 h 6689159"/>
                <a:gd name="connsiteX112" fmla="*/ 1958217 w 6689158"/>
                <a:gd name="connsiteY112" fmla="*/ 808450 h 6689159"/>
                <a:gd name="connsiteX113" fmla="*/ 1958215 w 6689158"/>
                <a:gd name="connsiteY113" fmla="*/ 808451 h 6689159"/>
                <a:gd name="connsiteX114" fmla="*/ 1958215 w 6689158"/>
                <a:gd name="connsiteY114" fmla="*/ 808450 h 6689159"/>
                <a:gd name="connsiteX115" fmla="*/ 3344580 w 6689158"/>
                <a:gd name="connsiteY115" fmla="*/ 454327 h 6689159"/>
                <a:gd name="connsiteX116" fmla="*/ 2485108 w 6689158"/>
                <a:gd name="connsiteY116" fmla="*/ 584267 h 6689159"/>
                <a:gd name="connsiteX117" fmla="*/ 2426658 w 6689158"/>
                <a:gd name="connsiteY117" fmla="*/ 605660 h 6689159"/>
                <a:gd name="connsiteX118" fmla="*/ 2608239 w 6689158"/>
                <a:gd name="connsiteY118" fmla="*/ 793623 h 6689159"/>
                <a:gd name="connsiteX119" fmla="*/ 3061380 w 6689158"/>
                <a:gd name="connsiteY119" fmla="*/ 1249579 h 6689159"/>
                <a:gd name="connsiteX120" fmla="*/ 3282982 w 6689158"/>
                <a:gd name="connsiteY120" fmla="*/ 1466429 h 6689159"/>
                <a:gd name="connsiteX121" fmla="*/ 3282982 w 6689158"/>
                <a:gd name="connsiteY121" fmla="*/ 1466430 h 6689159"/>
                <a:gd name="connsiteX122" fmla="*/ 3293669 w 6689158"/>
                <a:gd name="connsiteY122" fmla="*/ 1460635 h 6689159"/>
                <a:gd name="connsiteX123" fmla="*/ 4895242 w 6689158"/>
                <a:gd name="connsiteY123" fmla="*/ 1001928 h 6689159"/>
                <a:gd name="connsiteX124" fmla="*/ 5020677 w 6689158"/>
                <a:gd name="connsiteY124" fmla="*/ 992902 h 6689159"/>
                <a:gd name="connsiteX125" fmla="*/ 5140393 w 6689158"/>
                <a:gd name="connsiteY125" fmla="*/ 1082424 h 6689159"/>
                <a:gd name="connsiteX126" fmla="*/ 5140394 w 6689158"/>
                <a:gd name="connsiteY126" fmla="*/ 1082424 h 6689159"/>
                <a:gd name="connsiteX127" fmla="*/ 5020677 w 6689158"/>
                <a:gd name="connsiteY127" fmla="*/ 992901 h 6689159"/>
                <a:gd name="connsiteX128" fmla="*/ 4960548 w 6689158"/>
                <a:gd name="connsiteY128" fmla="*/ 947937 h 6689159"/>
                <a:gd name="connsiteX129" fmla="*/ 3344580 w 6689158"/>
                <a:gd name="connsiteY129" fmla="*/ 454327 h 6689159"/>
                <a:gd name="connsiteX130" fmla="*/ 3344579 w 6689158"/>
                <a:gd name="connsiteY130" fmla="*/ 0 h 6689159"/>
                <a:gd name="connsiteX131" fmla="*/ 5709555 w 6689158"/>
                <a:gd name="connsiteY131" fmla="*/ 979605 h 6689159"/>
                <a:gd name="connsiteX132" fmla="*/ 5721404 w 6689158"/>
                <a:gd name="connsiteY132" fmla="*/ 992643 h 6689159"/>
                <a:gd name="connsiteX133" fmla="*/ 5925421 w 6689158"/>
                <a:gd name="connsiteY133" fmla="*/ 1217117 h 6689159"/>
                <a:gd name="connsiteX134" fmla="*/ 6117959 w 6689158"/>
                <a:gd name="connsiteY134" fmla="*/ 1474595 h 6689159"/>
                <a:gd name="connsiteX135" fmla="*/ 6162894 w 6689158"/>
                <a:gd name="connsiteY135" fmla="*/ 1548561 h 6689159"/>
                <a:gd name="connsiteX136" fmla="*/ 6162893 w 6689158"/>
                <a:gd name="connsiteY136" fmla="*/ 1548563 h 6689159"/>
                <a:gd name="connsiteX137" fmla="*/ 6285487 w 6689158"/>
                <a:gd name="connsiteY137" fmla="*/ 1750355 h 6689159"/>
                <a:gd name="connsiteX138" fmla="*/ 6689158 w 6689158"/>
                <a:gd name="connsiteY138" fmla="*/ 3344580 h 6689159"/>
                <a:gd name="connsiteX139" fmla="*/ 6538793 w 6689158"/>
                <a:gd name="connsiteY139" fmla="*/ 4339156 h 6689159"/>
                <a:gd name="connsiteX140" fmla="*/ 6534721 w 6689158"/>
                <a:gd name="connsiteY140" fmla="*/ 4350281 h 6689159"/>
                <a:gd name="connsiteX141" fmla="*/ 6426326 w 6689158"/>
                <a:gd name="connsiteY141" fmla="*/ 4646440 h 6689159"/>
                <a:gd name="connsiteX142" fmla="*/ 6421122 w 6689158"/>
                <a:gd name="connsiteY142" fmla="*/ 4657245 h 6689159"/>
                <a:gd name="connsiteX143" fmla="*/ 6372396 w 6689158"/>
                <a:gd name="connsiteY143" fmla="*/ 4758392 h 6689159"/>
                <a:gd name="connsiteX144" fmla="*/ 6285487 w 6689158"/>
                <a:gd name="connsiteY144" fmla="*/ 4938805 h 6689159"/>
                <a:gd name="connsiteX145" fmla="*/ 6117958 w 6689158"/>
                <a:gd name="connsiteY145" fmla="*/ 5214566 h 6689159"/>
                <a:gd name="connsiteX146" fmla="*/ 6035322 w 6689158"/>
                <a:gd name="connsiteY146" fmla="*/ 5325072 h 6689159"/>
                <a:gd name="connsiteX147" fmla="*/ 5925420 w 6689158"/>
                <a:gd name="connsiteY147" fmla="*/ 5472042 h 6689159"/>
                <a:gd name="connsiteX148" fmla="*/ 3344580 w 6689158"/>
                <a:gd name="connsiteY148" fmla="*/ 6689159 h 6689159"/>
                <a:gd name="connsiteX149" fmla="*/ 1474594 w 6689158"/>
                <a:gd name="connsiteY149" fmla="*/ 6117958 h 6689159"/>
                <a:gd name="connsiteX150" fmla="*/ 1464440 w 6689158"/>
                <a:gd name="connsiteY150" fmla="*/ 6110366 h 6689159"/>
                <a:gd name="connsiteX151" fmla="*/ 1217117 w 6689158"/>
                <a:gd name="connsiteY151" fmla="*/ 5925420 h 6689159"/>
                <a:gd name="connsiteX152" fmla="*/ 979606 w 6689158"/>
                <a:gd name="connsiteY152" fmla="*/ 5709555 h 6689159"/>
                <a:gd name="connsiteX153" fmla="*/ 941121 w 6689158"/>
                <a:gd name="connsiteY153" fmla="*/ 5667211 h 6689159"/>
                <a:gd name="connsiteX154" fmla="*/ 763739 w 6689158"/>
                <a:gd name="connsiteY154" fmla="*/ 5472043 h 6689159"/>
                <a:gd name="connsiteX155" fmla="*/ 0 w 6689158"/>
                <a:gd name="connsiteY155" fmla="*/ 3344580 h 6689159"/>
                <a:gd name="connsiteX156" fmla="*/ 763739 w 6689158"/>
                <a:gd name="connsiteY156" fmla="*/ 1217118 h 6689159"/>
                <a:gd name="connsiteX157" fmla="*/ 979605 w 6689158"/>
                <a:gd name="connsiteY157" fmla="*/ 979604 h 6689159"/>
                <a:gd name="connsiteX158" fmla="*/ 1217117 w 6689158"/>
                <a:gd name="connsiteY158" fmla="*/ 763739 h 6689159"/>
                <a:gd name="connsiteX159" fmla="*/ 1252792 w 6689158"/>
                <a:gd name="connsiteY159" fmla="*/ 737062 h 6689159"/>
                <a:gd name="connsiteX160" fmla="*/ 1474594 w 6689158"/>
                <a:gd name="connsiteY160" fmla="*/ 571201 h 6689159"/>
                <a:gd name="connsiteX161" fmla="*/ 1650297 w 6689158"/>
                <a:gd name="connsiteY161" fmla="*/ 464459 h 6689159"/>
                <a:gd name="connsiteX162" fmla="*/ 1750354 w 6689158"/>
                <a:gd name="connsiteY162" fmla="*/ 403673 h 6689159"/>
                <a:gd name="connsiteX163" fmla="*/ 2042719 w 6689158"/>
                <a:gd name="connsiteY163" fmla="*/ 262835 h 6689159"/>
                <a:gd name="connsiteX164" fmla="*/ 2083584 w 6689158"/>
                <a:gd name="connsiteY164" fmla="*/ 247876 h 6689159"/>
                <a:gd name="connsiteX165" fmla="*/ 2350003 w 6689158"/>
                <a:gd name="connsiteY165" fmla="*/ 150366 h 6689159"/>
                <a:gd name="connsiteX166" fmla="*/ 3344579 w 6689158"/>
                <a:gd name="connsiteY166"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574839 w 6689158"/>
                <a:gd name="connsiteY71" fmla="*/ 1506111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5574839 w 6689158"/>
                <a:gd name="connsiteY92" fmla="*/ 1506111 h 6689159"/>
                <a:gd name="connsiteX93" fmla="*/ 1958215 w 6689158"/>
                <a:gd name="connsiteY93" fmla="*/ 808450 h 6689159"/>
                <a:gd name="connsiteX94" fmla="*/ 1728612 w 6689158"/>
                <a:gd name="connsiteY94" fmla="*/ 947938 h 6689159"/>
                <a:gd name="connsiteX95" fmla="*/ 1300863 w 6689158"/>
                <a:gd name="connsiteY95" fmla="*/ 1300863 h 6689159"/>
                <a:gd name="connsiteX96" fmla="*/ 1258822 w 6689158"/>
                <a:gd name="connsiteY96" fmla="*/ 1347119 h 6689159"/>
                <a:gd name="connsiteX97" fmla="*/ 1258823 w 6689158"/>
                <a:gd name="connsiteY97" fmla="*/ 1347121 h 6689159"/>
                <a:gd name="connsiteX98" fmla="*/ 1263190 w 6689158"/>
                <a:gd name="connsiteY98" fmla="*/ 1402742 h 6689159"/>
                <a:gd name="connsiteX99" fmla="*/ 1504198 w 6689158"/>
                <a:gd name="connsiteY99" fmla="*/ 2390321 h 6689159"/>
                <a:gd name="connsiteX100" fmla="*/ 1570031 w 6689158"/>
                <a:gd name="connsiteY100" fmla="*/ 2538525 h 6689159"/>
                <a:gd name="connsiteX101" fmla="*/ 1593172 w 6689158"/>
                <a:gd name="connsiteY101" fmla="*/ 2532572 h 6689159"/>
                <a:gd name="connsiteX102" fmla="*/ 1772170 w 6689158"/>
                <a:gd name="connsiteY102" fmla="*/ 2514528 h 6689159"/>
                <a:gd name="connsiteX103" fmla="*/ 1951170 w 6689158"/>
                <a:gd name="connsiteY103" fmla="*/ 2532573 h 6689159"/>
                <a:gd name="connsiteX104" fmla="*/ 1953707 w 6689158"/>
                <a:gd name="connsiteY104" fmla="*/ 2533225 h 6689159"/>
                <a:gd name="connsiteX105" fmla="*/ 2046764 w 6689158"/>
                <a:gd name="connsiteY105" fmla="*/ 2419427 h 6689159"/>
                <a:gd name="connsiteX106" fmla="*/ 2304042 w 6689158"/>
                <a:gd name="connsiteY106" fmla="*/ 2155240 h 6689159"/>
                <a:gd name="connsiteX107" fmla="*/ 2679904 w 6689158"/>
                <a:gd name="connsiteY107" fmla="*/ 1840257 h 6689159"/>
                <a:gd name="connsiteX108" fmla="*/ 2839402 w 6689158"/>
                <a:gd name="connsiteY108" fmla="*/ 1728600 h 6689159"/>
                <a:gd name="connsiteX109" fmla="*/ 2839403 w 6689158"/>
                <a:gd name="connsiteY109" fmla="*/ 1728599 h 6689159"/>
                <a:gd name="connsiteX110" fmla="*/ 2180258 w 6689158"/>
                <a:gd name="connsiteY110" fmla="*/ 1049601 h 6689159"/>
                <a:gd name="connsiteX111" fmla="*/ 1958217 w 6689158"/>
                <a:gd name="connsiteY111" fmla="*/ 808450 h 6689159"/>
                <a:gd name="connsiteX112" fmla="*/ 1958215 w 6689158"/>
                <a:gd name="connsiteY112" fmla="*/ 808451 h 6689159"/>
                <a:gd name="connsiteX113" fmla="*/ 1958215 w 6689158"/>
                <a:gd name="connsiteY113" fmla="*/ 808450 h 6689159"/>
                <a:gd name="connsiteX114" fmla="*/ 3344580 w 6689158"/>
                <a:gd name="connsiteY114" fmla="*/ 454327 h 6689159"/>
                <a:gd name="connsiteX115" fmla="*/ 2485108 w 6689158"/>
                <a:gd name="connsiteY115" fmla="*/ 584267 h 6689159"/>
                <a:gd name="connsiteX116" fmla="*/ 2426658 w 6689158"/>
                <a:gd name="connsiteY116" fmla="*/ 605660 h 6689159"/>
                <a:gd name="connsiteX117" fmla="*/ 2608239 w 6689158"/>
                <a:gd name="connsiteY117" fmla="*/ 793623 h 6689159"/>
                <a:gd name="connsiteX118" fmla="*/ 3061380 w 6689158"/>
                <a:gd name="connsiteY118" fmla="*/ 1249579 h 6689159"/>
                <a:gd name="connsiteX119" fmla="*/ 3282982 w 6689158"/>
                <a:gd name="connsiteY119" fmla="*/ 1466429 h 6689159"/>
                <a:gd name="connsiteX120" fmla="*/ 3282982 w 6689158"/>
                <a:gd name="connsiteY120" fmla="*/ 1466430 h 6689159"/>
                <a:gd name="connsiteX121" fmla="*/ 3293669 w 6689158"/>
                <a:gd name="connsiteY121" fmla="*/ 1460635 h 6689159"/>
                <a:gd name="connsiteX122" fmla="*/ 4895242 w 6689158"/>
                <a:gd name="connsiteY122" fmla="*/ 1001928 h 6689159"/>
                <a:gd name="connsiteX123" fmla="*/ 5020677 w 6689158"/>
                <a:gd name="connsiteY123" fmla="*/ 992902 h 6689159"/>
                <a:gd name="connsiteX124" fmla="*/ 5140393 w 6689158"/>
                <a:gd name="connsiteY124" fmla="*/ 1082424 h 6689159"/>
                <a:gd name="connsiteX125" fmla="*/ 5140394 w 6689158"/>
                <a:gd name="connsiteY125" fmla="*/ 1082424 h 6689159"/>
                <a:gd name="connsiteX126" fmla="*/ 5020677 w 6689158"/>
                <a:gd name="connsiteY126" fmla="*/ 992901 h 6689159"/>
                <a:gd name="connsiteX127" fmla="*/ 4960548 w 6689158"/>
                <a:gd name="connsiteY127" fmla="*/ 947937 h 6689159"/>
                <a:gd name="connsiteX128" fmla="*/ 3344580 w 6689158"/>
                <a:gd name="connsiteY128" fmla="*/ 454327 h 6689159"/>
                <a:gd name="connsiteX129" fmla="*/ 3344579 w 6689158"/>
                <a:gd name="connsiteY129" fmla="*/ 0 h 6689159"/>
                <a:gd name="connsiteX130" fmla="*/ 5709555 w 6689158"/>
                <a:gd name="connsiteY130" fmla="*/ 979605 h 6689159"/>
                <a:gd name="connsiteX131" fmla="*/ 5721404 w 6689158"/>
                <a:gd name="connsiteY131" fmla="*/ 992643 h 6689159"/>
                <a:gd name="connsiteX132" fmla="*/ 5925421 w 6689158"/>
                <a:gd name="connsiteY132" fmla="*/ 1217117 h 6689159"/>
                <a:gd name="connsiteX133" fmla="*/ 6117959 w 6689158"/>
                <a:gd name="connsiteY133" fmla="*/ 1474595 h 6689159"/>
                <a:gd name="connsiteX134" fmla="*/ 6162894 w 6689158"/>
                <a:gd name="connsiteY134" fmla="*/ 1548561 h 6689159"/>
                <a:gd name="connsiteX135" fmla="*/ 6162893 w 6689158"/>
                <a:gd name="connsiteY135" fmla="*/ 1548563 h 6689159"/>
                <a:gd name="connsiteX136" fmla="*/ 6285487 w 6689158"/>
                <a:gd name="connsiteY136" fmla="*/ 1750355 h 6689159"/>
                <a:gd name="connsiteX137" fmla="*/ 6689158 w 6689158"/>
                <a:gd name="connsiteY137" fmla="*/ 3344580 h 6689159"/>
                <a:gd name="connsiteX138" fmla="*/ 6538793 w 6689158"/>
                <a:gd name="connsiteY138" fmla="*/ 4339156 h 6689159"/>
                <a:gd name="connsiteX139" fmla="*/ 6534721 w 6689158"/>
                <a:gd name="connsiteY139" fmla="*/ 4350281 h 6689159"/>
                <a:gd name="connsiteX140" fmla="*/ 6426326 w 6689158"/>
                <a:gd name="connsiteY140" fmla="*/ 4646440 h 6689159"/>
                <a:gd name="connsiteX141" fmla="*/ 6421122 w 6689158"/>
                <a:gd name="connsiteY141" fmla="*/ 4657245 h 6689159"/>
                <a:gd name="connsiteX142" fmla="*/ 6372396 w 6689158"/>
                <a:gd name="connsiteY142" fmla="*/ 4758392 h 6689159"/>
                <a:gd name="connsiteX143" fmla="*/ 6285487 w 6689158"/>
                <a:gd name="connsiteY143" fmla="*/ 4938805 h 6689159"/>
                <a:gd name="connsiteX144" fmla="*/ 6117958 w 6689158"/>
                <a:gd name="connsiteY144" fmla="*/ 5214566 h 6689159"/>
                <a:gd name="connsiteX145" fmla="*/ 6035322 w 6689158"/>
                <a:gd name="connsiteY145" fmla="*/ 5325072 h 6689159"/>
                <a:gd name="connsiteX146" fmla="*/ 5925420 w 6689158"/>
                <a:gd name="connsiteY146" fmla="*/ 5472042 h 6689159"/>
                <a:gd name="connsiteX147" fmla="*/ 3344580 w 6689158"/>
                <a:gd name="connsiteY147" fmla="*/ 6689159 h 6689159"/>
                <a:gd name="connsiteX148" fmla="*/ 1474594 w 6689158"/>
                <a:gd name="connsiteY148" fmla="*/ 6117958 h 6689159"/>
                <a:gd name="connsiteX149" fmla="*/ 1464440 w 6689158"/>
                <a:gd name="connsiteY149" fmla="*/ 6110366 h 6689159"/>
                <a:gd name="connsiteX150" fmla="*/ 1217117 w 6689158"/>
                <a:gd name="connsiteY150" fmla="*/ 5925420 h 6689159"/>
                <a:gd name="connsiteX151" fmla="*/ 979606 w 6689158"/>
                <a:gd name="connsiteY151" fmla="*/ 5709555 h 6689159"/>
                <a:gd name="connsiteX152" fmla="*/ 941121 w 6689158"/>
                <a:gd name="connsiteY152" fmla="*/ 5667211 h 6689159"/>
                <a:gd name="connsiteX153" fmla="*/ 763739 w 6689158"/>
                <a:gd name="connsiteY153" fmla="*/ 5472043 h 6689159"/>
                <a:gd name="connsiteX154" fmla="*/ 0 w 6689158"/>
                <a:gd name="connsiteY154" fmla="*/ 3344580 h 6689159"/>
                <a:gd name="connsiteX155" fmla="*/ 763739 w 6689158"/>
                <a:gd name="connsiteY155" fmla="*/ 1217118 h 6689159"/>
                <a:gd name="connsiteX156" fmla="*/ 979605 w 6689158"/>
                <a:gd name="connsiteY156" fmla="*/ 979604 h 6689159"/>
                <a:gd name="connsiteX157" fmla="*/ 1217117 w 6689158"/>
                <a:gd name="connsiteY157" fmla="*/ 763739 h 6689159"/>
                <a:gd name="connsiteX158" fmla="*/ 1252792 w 6689158"/>
                <a:gd name="connsiteY158" fmla="*/ 737062 h 6689159"/>
                <a:gd name="connsiteX159" fmla="*/ 1474594 w 6689158"/>
                <a:gd name="connsiteY159" fmla="*/ 571201 h 6689159"/>
                <a:gd name="connsiteX160" fmla="*/ 1650297 w 6689158"/>
                <a:gd name="connsiteY160" fmla="*/ 464459 h 6689159"/>
                <a:gd name="connsiteX161" fmla="*/ 1750354 w 6689158"/>
                <a:gd name="connsiteY161" fmla="*/ 403673 h 6689159"/>
                <a:gd name="connsiteX162" fmla="*/ 2042719 w 6689158"/>
                <a:gd name="connsiteY162" fmla="*/ 262835 h 6689159"/>
                <a:gd name="connsiteX163" fmla="*/ 2083584 w 6689158"/>
                <a:gd name="connsiteY163" fmla="*/ 247876 h 6689159"/>
                <a:gd name="connsiteX164" fmla="*/ 2350003 w 6689158"/>
                <a:gd name="connsiteY164" fmla="*/ 150366 h 6689159"/>
                <a:gd name="connsiteX165" fmla="*/ 3344579 w 6689158"/>
                <a:gd name="connsiteY165"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574839 w 6689158"/>
                <a:gd name="connsiteY72" fmla="*/ 1506112 h 6689159"/>
                <a:gd name="connsiteX73" fmla="*/ 5611312 w 6689158"/>
                <a:gd name="connsiteY73" fmla="*/ 1554887 h 6689159"/>
                <a:gd name="connsiteX74" fmla="*/ 5610671 w 6689158"/>
                <a:gd name="connsiteY74" fmla="*/ 1554917 h 6689159"/>
                <a:gd name="connsiteX75" fmla="*/ 3930424 w 6689158"/>
                <a:gd name="connsiteY75" fmla="*/ 1991564 h 6689159"/>
                <a:gd name="connsiteX76" fmla="*/ 3863712 w 6689158"/>
                <a:gd name="connsiteY76" fmla="*/ 2025688 h 6689159"/>
                <a:gd name="connsiteX77" fmla="*/ 3998266 w 6689158"/>
                <a:gd name="connsiteY77" fmla="*/ 2153752 h 6689159"/>
                <a:gd name="connsiteX78" fmla="*/ 4470031 w 6689158"/>
                <a:gd name="connsiteY78" fmla="*/ 2590407 h 6689159"/>
                <a:gd name="connsiteX79" fmla="*/ 4801691 w 6689158"/>
                <a:gd name="connsiteY79" fmla="*/ 2888769 h 6689159"/>
                <a:gd name="connsiteX80" fmla="*/ 4815328 w 6689158"/>
                <a:gd name="connsiteY80" fmla="*/ 2881367 h 6689159"/>
                <a:gd name="connsiteX81" fmla="*/ 5066831 w 6689158"/>
                <a:gd name="connsiteY81" fmla="*/ 2830591 h 6689159"/>
                <a:gd name="connsiteX82" fmla="*/ 5712962 w 6689158"/>
                <a:gd name="connsiteY82" fmla="*/ 3476722 h 6689159"/>
                <a:gd name="connsiteX83" fmla="*/ 5699834 w 6689158"/>
                <a:gd name="connsiteY83" fmla="*/ 3606939 h 6689159"/>
                <a:gd name="connsiteX84" fmla="*/ 5684600 w 6689158"/>
                <a:gd name="connsiteY84" fmla="*/ 3656022 h 6689159"/>
                <a:gd name="connsiteX85" fmla="*/ 5861148 w 6689158"/>
                <a:gd name="connsiteY85" fmla="*/ 3805497 h 6689159"/>
                <a:gd name="connsiteX86" fmla="*/ 6147161 w 6689158"/>
                <a:gd name="connsiteY86" fmla="*/ 4039666 h 6689159"/>
                <a:gd name="connsiteX87" fmla="*/ 6147160 w 6689158"/>
                <a:gd name="connsiteY87" fmla="*/ 4039665 h 6689159"/>
                <a:gd name="connsiteX88" fmla="*/ 6176112 w 6689158"/>
                <a:gd name="connsiteY88" fmla="*/ 3927066 h 6689159"/>
                <a:gd name="connsiteX89" fmla="*/ 6234832 w 6689158"/>
                <a:gd name="connsiteY89" fmla="*/ 3344579 h 6689159"/>
                <a:gd name="connsiteX90" fmla="*/ 5741222 w 6689158"/>
                <a:gd name="connsiteY90" fmla="*/ 1728614 h 6689159"/>
                <a:gd name="connsiteX91" fmla="*/ 5611312 w 6689158"/>
                <a:gd name="connsiteY91" fmla="*/ 1554887 h 6689159"/>
                <a:gd name="connsiteX92" fmla="*/ 1958215 w 6689158"/>
                <a:gd name="connsiteY92" fmla="*/ 808450 h 6689159"/>
                <a:gd name="connsiteX93" fmla="*/ 1728612 w 6689158"/>
                <a:gd name="connsiteY93" fmla="*/ 947938 h 6689159"/>
                <a:gd name="connsiteX94" fmla="*/ 1300863 w 6689158"/>
                <a:gd name="connsiteY94" fmla="*/ 1300863 h 6689159"/>
                <a:gd name="connsiteX95" fmla="*/ 1258822 w 6689158"/>
                <a:gd name="connsiteY95" fmla="*/ 1347119 h 6689159"/>
                <a:gd name="connsiteX96" fmla="*/ 1258823 w 6689158"/>
                <a:gd name="connsiteY96" fmla="*/ 1347121 h 6689159"/>
                <a:gd name="connsiteX97" fmla="*/ 1263190 w 6689158"/>
                <a:gd name="connsiteY97" fmla="*/ 1402742 h 6689159"/>
                <a:gd name="connsiteX98" fmla="*/ 1504198 w 6689158"/>
                <a:gd name="connsiteY98" fmla="*/ 2390321 h 6689159"/>
                <a:gd name="connsiteX99" fmla="*/ 1570031 w 6689158"/>
                <a:gd name="connsiteY99" fmla="*/ 2538525 h 6689159"/>
                <a:gd name="connsiteX100" fmla="*/ 1593172 w 6689158"/>
                <a:gd name="connsiteY100" fmla="*/ 2532572 h 6689159"/>
                <a:gd name="connsiteX101" fmla="*/ 1772170 w 6689158"/>
                <a:gd name="connsiteY101" fmla="*/ 2514528 h 6689159"/>
                <a:gd name="connsiteX102" fmla="*/ 1951170 w 6689158"/>
                <a:gd name="connsiteY102" fmla="*/ 2532573 h 6689159"/>
                <a:gd name="connsiteX103" fmla="*/ 1953707 w 6689158"/>
                <a:gd name="connsiteY103" fmla="*/ 2533225 h 6689159"/>
                <a:gd name="connsiteX104" fmla="*/ 2046764 w 6689158"/>
                <a:gd name="connsiteY104" fmla="*/ 2419427 h 6689159"/>
                <a:gd name="connsiteX105" fmla="*/ 2304042 w 6689158"/>
                <a:gd name="connsiteY105" fmla="*/ 2155240 h 6689159"/>
                <a:gd name="connsiteX106" fmla="*/ 2679904 w 6689158"/>
                <a:gd name="connsiteY106" fmla="*/ 1840257 h 6689159"/>
                <a:gd name="connsiteX107" fmla="*/ 2839402 w 6689158"/>
                <a:gd name="connsiteY107" fmla="*/ 1728600 h 6689159"/>
                <a:gd name="connsiteX108" fmla="*/ 2839403 w 6689158"/>
                <a:gd name="connsiteY108" fmla="*/ 1728599 h 6689159"/>
                <a:gd name="connsiteX109" fmla="*/ 2180258 w 6689158"/>
                <a:gd name="connsiteY109" fmla="*/ 1049601 h 6689159"/>
                <a:gd name="connsiteX110" fmla="*/ 1958217 w 6689158"/>
                <a:gd name="connsiteY110" fmla="*/ 808450 h 6689159"/>
                <a:gd name="connsiteX111" fmla="*/ 1958215 w 6689158"/>
                <a:gd name="connsiteY111" fmla="*/ 808451 h 6689159"/>
                <a:gd name="connsiteX112" fmla="*/ 1958215 w 6689158"/>
                <a:gd name="connsiteY112" fmla="*/ 808450 h 6689159"/>
                <a:gd name="connsiteX113" fmla="*/ 3344580 w 6689158"/>
                <a:gd name="connsiteY113" fmla="*/ 454327 h 6689159"/>
                <a:gd name="connsiteX114" fmla="*/ 2485108 w 6689158"/>
                <a:gd name="connsiteY114" fmla="*/ 584267 h 6689159"/>
                <a:gd name="connsiteX115" fmla="*/ 2426658 w 6689158"/>
                <a:gd name="connsiteY115" fmla="*/ 605660 h 6689159"/>
                <a:gd name="connsiteX116" fmla="*/ 2608239 w 6689158"/>
                <a:gd name="connsiteY116" fmla="*/ 793623 h 6689159"/>
                <a:gd name="connsiteX117" fmla="*/ 3061380 w 6689158"/>
                <a:gd name="connsiteY117" fmla="*/ 1249579 h 6689159"/>
                <a:gd name="connsiteX118" fmla="*/ 3282982 w 6689158"/>
                <a:gd name="connsiteY118" fmla="*/ 1466429 h 6689159"/>
                <a:gd name="connsiteX119" fmla="*/ 3282982 w 6689158"/>
                <a:gd name="connsiteY119" fmla="*/ 1466430 h 6689159"/>
                <a:gd name="connsiteX120" fmla="*/ 3293669 w 6689158"/>
                <a:gd name="connsiteY120" fmla="*/ 1460635 h 6689159"/>
                <a:gd name="connsiteX121" fmla="*/ 4895242 w 6689158"/>
                <a:gd name="connsiteY121" fmla="*/ 1001928 h 6689159"/>
                <a:gd name="connsiteX122" fmla="*/ 5020677 w 6689158"/>
                <a:gd name="connsiteY122" fmla="*/ 992902 h 6689159"/>
                <a:gd name="connsiteX123" fmla="*/ 5140393 w 6689158"/>
                <a:gd name="connsiteY123" fmla="*/ 1082424 h 6689159"/>
                <a:gd name="connsiteX124" fmla="*/ 5140394 w 6689158"/>
                <a:gd name="connsiteY124" fmla="*/ 1082424 h 6689159"/>
                <a:gd name="connsiteX125" fmla="*/ 5020677 w 6689158"/>
                <a:gd name="connsiteY125" fmla="*/ 992901 h 6689159"/>
                <a:gd name="connsiteX126" fmla="*/ 4960548 w 6689158"/>
                <a:gd name="connsiteY126" fmla="*/ 947937 h 6689159"/>
                <a:gd name="connsiteX127" fmla="*/ 3344580 w 6689158"/>
                <a:gd name="connsiteY127" fmla="*/ 454327 h 6689159"/>
                <a:gd name="connsiteX128" fmla="*/ 3344579 w 6689158"/>
                <a:gd name="connsiteY128" fmla="*/ 0 h 6689159"/>
                <a:gd name="connsiteX129" fmla="*/ 5709555 w 6689158"/>
                <a:gd name="connsiteY129" fmla="*/ 979605 h 6689159"/>
                <a:gd name="connsiteX130" fmla="*/ 5721404 w 6689158"/>
                <a:gd name="connsiteY130" fmla="*/ 992643 h 6689159"/>
                <a:gd name="connsiteX131" fmla="*/ 5925421 w 6689158"/>
                <a:gd name="connsiteY131" fmla="*/ 1217117 h 6689159"/>
                <a:gd name="connsiteX132" fmla="*/ 6117959 w 6689158"/>
                <a:gd name="connsiteY132" fmla="*/ 1474595 h 6689159"/>
                <a:gd name="connsiteX133" fmla="*/ 6162894 w 6689158"/>
                <a:gd name="connsiteY133" fmla="*/ 1548561 h 6689159"/>
                <a:gd name="connsiteX134" fmla="*/ 6162893 w 6689158"/>
                <a:gd name="connsiteY134" fmla="*/ 1548563 h 6689159"/>
                <a:gd name="connsiteX135" fmla="*/ 6285487 w 6689158"/>
                <a:gd name="connsiteY135" fmla="*/ 1750355 h 6689159"/>
                <a:gd name="connsiteX136" fmla="*/ 6689158 w 6689158"/>
                <a:gd name="connsiteY136" fmla="*/ 3344580 h 6689159"/>
                <a:gd name="connsiteX137" fmla="*/ 6538793 w 6689158"/>
                <a:gd name="connsiteY137" fmla="*/ 4339156 h 6689159"/>
                <a:gd name="connsiteX138" fmla="*/ 6534721 w 6689158"/>
                <a:gd name="connsiteY138" fmla="*/ 4350281 h 6689159"/>
                <a:gd name="connsiteX139" fmla="*/ 6426326 w 6689158"/>
                <a:gd name="connsiteY139" fmla="*/ 4646440 h 6689159"/>
                <a:gd name="connsiteX140" fmla="*/ 6421122 w 6689158"/>
                <a:gd name="connsiteY140" fmla="*/ 4657245 h 6689159"/>
                <a:gd name="connsiteX141" fmla="*/ 6372396 w 6689158"/>
                <a:gd name="connsiteY141" fmla="*/ 4758392 h 6689159"/>
                <a:gd name="connsiteX142" fmla="*/ 6285487 w 6689158"/>
                <a:gd name="connsiteY142" fmla="*/ 4938805 h 6689159"/>
                <a:gd name="connsiteX143" fmla="*/ 6117958 w 6689158"/>
                <a:gd name="connsiteY143" fmla="*/ 5214566 h 6689159"/>
                <a:gd name="connsiteX144" fmla="*/ 6035322 w 6689158"/>
                <a:gd name="connsiteY144" fmla="*/ 5325072 h 6689159"/>
                <a:gd name="connsiteX145" fmla="*/ 5925420 w 6689158"/>
                <a:gd name="connsiteY145" fmla="*/ 5472042 h 6689159"/>
                <a:gd name="connsiteX146" fmla="*/ 3344580 w 6689158"/>
                <a:gd name="connsiteY146" fmla="*/ 6689159 h 6689159"/>
                <a:gd name="connsiteX147" fmla="*/ 1474594 w 6689158"/>
                <a:gd name="connsiteY147" fmla="*/ 6117958 h 6689159"/>
                <a:gd name="connsiteX148" fmla="*/ 1464440 w 6689158"/>
                <a:gd name="connsiteY148" fmla="*/ 6110366 h 6689159"/>
                <a:gd name="connsiteX149" fmla="*/ 1217117 w 6689158"/>
                <a:gd name="connsiteY149" fmla="*/ 5925420 h 6689159"/>
                <a:gd name="connsiteX150" fmla="*/ 979606 w 6689158"/>
                <a:gd name="connsiteY150" fmla="*/ 5709555 h 6689159"/>
                <a:gd name="connsiteX151" fmla="*/ 941121 w 6689158"/>
                <a:gd name="connsiteY151" fmla="*/ 5667211 h 6689159"/>
                <a:gd name="connsiteX152" fmla="*/ 763739 w 6689158"/>
                <a:gd name="connsiteY152" fmla="*/ 5472043 h 6689159"/>
                <a:gd name="connsiteX153" fmla="*/ 0 w 6689158"/>
                <a:gd name="connsiteY153" fmla="*/ 3344580 h 6689159"/>
                <a:gd name="connsiteX154" fmla="*/ 763739 w 6689158"/>
                <a:gd name="connsiteY154" fmla="*/ 1217118 h 6689159"/>
                <a:gd name="connsiteX155" fmla="*/ 979605 w 6689158"/>
                <a:gd name="connsiteY155" fmla="*/ 979604 h 6689159"/>
                <a:gd name="connsiteX156" fmla="*/ 1217117 w 6689158"/>
                <a:gd name="connsiteY156" fmla="*/ 763739 h 6689159"/>
                <a:gd name="connsiteX157" fmla="*/ 1252792 w 6689158"/>
                <a:gd name="connsiteY157" fmla="*/ 737062 h 6689159"/>
                <a:gd name="connsiteX158" fmla="*/ 1474594 w 6689158"/>
                <a:gd name="connsiteY158" fmla="*/ 571201 h 6689159"/>
                <a:gd name="connsiteX159" fmla="*/ 1650297 w 6689158"/>
                <a:gd name="connsiteY159" fmla="*/ 464459 h 6689159"/>
                <a:gd name="connsiteX160" fmla="*/ 1750354 w 6689158"/>
                <a:gd name="connsiteY160" fmla="*/ 403673 h 6689159"/>
                <a:gd name="connsiteX161" fmla="*/ 2042719 w 6689158"/>
                <a:gd name="connsiteY161" fmla="*/ 262835 h 6689159"/>
                <a:gd name="connsiteX162" fmla="*/ 2083584 w 6689158"/>
                <a:gd name="connsiteY162" fmla="*/ 247876 h 6689159"/>
                <a:gd name="connsiteX163" fmla="*/ 2350003 w 6689158"/>
                <a:gd name="connsiteY163" fmla="*/ 150366 h 6689159"/>
                <a:gd name="connsiteX164" fmla="*/ 3344579 w 6689158"/>
                <a:gd name="connsiteY164"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140394 w 6689158"/>
                <a:gd name="connsiteY123" fmla="*/ 1082424 h 6689159"/>
                <a:gd name="connsiteX124" fmla="*/ 5020677 w 6689158"/>
                <a:gd name="connsiteY124" fmla="*/ 992901 h 6689159"/>
                <a:gd name="connsiteX125" fmla="*/ 4960548 w 6689158"/>
                <a:gd name="connsiteY125" fmla="*/ 947937 h 6689159"/>
                <a:gd name="connsiteX126" fmla="*/ 3344580 w 6689158"/>
                <a:gd name="connsiteY126" fmla="*/ 454327 h 6689159"/>
                <a:gd name="connsiteX127" fmla="*/ 3344579 w 6689158"/>
                <a:gd name="connsiteY127" fmla="*/ 0 h 6689159"/>
                <a:gd name="connsiteX128" fmla="*/ 5709555 w 6689158"/>
                <a:gd name="connsiteY128" fmla="*/ 979605 h 6689159"/>
                <a:gd name="connsiteX129" fmla="*/ 5721404 w 6689158"/>
                <a:gd name="connsiteY129" fmla="*/ 992643 h 6689159"/>
                <a:gd name="connsiteX130" fmla="*/ 5925421 w 6689158"/>
                <a:gd name="connsiteY130" fmla="*/ 1217117 h 6689159"/>
                <a:gd name="connsiteX131" fmla="*/ 6117959 w 6689158"/>
                <a:gd name="connsiteY131" fmla="*/ 1474595 h 6689159"/>
                <a:gd name="connsiteX132" fmla="*/ 6162894 w 6689158"/>
                <a:gd name="connsiteY132" fmla="*/ 1548561 h 6689159"/>
                <a:gd name="connsiteX133" fmla="*/ 6162893 w 6689158"/>
                <a:gd name="connsiteY133" fmla="*/ 1548563 h 6689159"/>
                <a:gd name="connsiteX134" fmla="*/ 6285487 w 6689158"/>
                <a:gd name="connsiteY134" fmla="*/ 1750355 h 6689159"/>
                <a:gd name="connsiteX135" fmla="*/ 6689158 w 6689158"/>
                <a:gd name="connsiteY135" fmla="*/ 3344580 h 6689159"/>
                <a:gd name="connsiteX136" fmla="*/ 6538793 w 6689158"/>
                <a:gd name="connsiteY136" fmla="*/ 4339156 h 6689159"/>
                <a:gd name="connsiteX137" fmla="*/ 6534721 w 6689158"/>
                <a:gd name="connsiteY137" fmla="*/ 4350281 h 6689159"/>
                <a:gd name="connsiteX138" fmla="*/ 6426326 w 6689158"/>
                <a:gd name="connsiteY138" fmla="*/ 4646440 h 6689159"/>
                <a:gd name="connsiteX139" fmla="*/ 6421122 w 6689158"/>
                <a:gd name="connsiteY139" fmla="*/ 4657245 h 6689159"/>
                <a:gd name="connsiteX140" fmla="*/ 6372396 w 6689158"/>
                <a:gd name="connsiteY140" fmla="*/ 4758392 h 6689159"/>
                <a:gd name="connsiteX141" fmla="*/ 6285487 w 6689158"/>
                <a:gd name="connsiteY141" fmla="*/ 4938805 h 6689159"/>
                <a:gd name="connsiteX142" fmla="*/ 6117958 w 6689158"/>
                <a:gd name="connsiteY142" fmla="*/ 5214566 h 6689159"/>
                <a:gd name="connsiteX143" fmla="*/ 6035322 w 6689158"/>
                <a:gd name="connsiteY143" fmla="*/ 5325072 h 6689159"/>
                <a:gd name="connsiteX144" fmla="*/ 5925420 w 6689158"/>
                <a:gd name="connsiteY144" fmla="*/ 5472042 h 6689159"/>
                <a:gd name="connsiteX145" fmla="*/ 3344580 w 6689158"/>
                <a:gd name="connsiteY145" fmla="*/ 6689159 h 6689159"/>
                <a:gd name="connsiteX146" fmla="*/ 1474594 w 6689158"/>
                <a:gd name="connsiteY146" fmla="*/ 6117958 h 6689159"/>
                <a:gd name="connsiteX147" fmla="*/ 1464440 w 6689158"/>
                <a:gd name="connsiteY147" fmla="*/ 6110366 h 6689159"/>
                <a:gd name="connsiteX148" fmla="*/ 1217117 w 6689158"/>
                <a:gd name="connsiteY148" fmla="*/ 5925420 h 6689159"/>
                <a:gd name="connsiteX149" fmla="*/ 979606 w 6689158"/>
                <a:gd name="connsiteY149" fmla="*/ 5709555 h 6689159"/>
                <a:gd name="connsiteX150" fmla="*/ 941121 w 6689158"/>
                <a:gd name="connsiteY150" fmla="*/ 5667211 h 6689159"/>
                <a:gd name="connsiteX151" fmla="*/ 763739 w 6689158"/>
                <a:gd name="connsiteY151" fmla="*/ 5472043 h 6689159"/>
                <a:gd name="connsiteX152" fmla="*/ 0 w 6689158"/>
                <a:gd name="connsiteY152" fmla="*/ 3344580 h 6689159"/>
                <a:gd name="connsiteX153" fmla="*/ 763739 w 6689158"/>
                <a:gd name="connsiteY153" fmla="*/ 1217118 h 6689159"/>
                <a:gd name="connsiteX154" fmla="*/ 979605 w 6689158"/>
                <a:gd name="connsiteY154" fmla="*/ 979604 h 6689159"/>
                <a:gd name="connsiteX155" fmla="*/ 1217117 w 6689158"/>
                <a:gd name="connsiteY155" fmla="*/ 763739 h 6689159"/>
                <a:gd name="connsiteX156" fmla="*/ 1252792 w 6689158"/>
                <a:gd name="connsiteY156" fmla="*/ 737062 h 6689159"/>
                <a:gd name="connsiteX157" fmla="*/ 1474594 w 6689158"/>
                <a:gd name="connsiteY157" fmla="*/ 571201 h 6689159"/>
                <a:gd name="connsiteX158" fmla="*/ 1650297 w 6689158"/>
                <a:gd name="connsiteY158" fmla="*/ 464459 h 6689159"/>
                <a:gd name="connsiteX159" fmla="*/ 1750354 w 6689158"/>
                <a:gd name="connsiteY159" fmla="*/ 403673 h 6689159"/>
                <a:gd name="connsiteX160" fmla="*/ 2042719 w 6689158"/>
                <a:gd name="connsiteY160" fmla="*/ 262835 h 6689159"/>
                <a:gd name="connsiteX161" fmla="*/ 2083584 w 6689158"/>
                <a:gd name="connsiteY161" fmla="*/ 247876 h 6689159"/>
                <a:gd name="connsiteX162" fmla="*/ 2350003 w 6689158"/>
                <a:gd name="connsiteY162" fmla="*/ 150366 h 6689159"/>
                <a:gd name="connsiteX163" fmla="*/ 3344579 w 6689158"/>
                <a:gd name="connsiteY163"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140393 w 6689158"/>
                <a:gd name="connsiteY122" fmla="*/ 1082424 h 6689159"/>
                <a:gd name="connsiteX123" fmla="*/ 5020677 w 6689158"/>
                <a:gd name="connsiteY123" fmla="*/ 992901 h 6689159"/>
                <a:gd name="connsiteX124" fmla="*/ 4960548 w 6689158"/>
                <a:gd name="connsiteY124" fmla="*/ 947937 h 6689159"/>
                <a:gd name="connsiteX125" fmla="*/ 3344580 w 6689158"/>
                <a:gd name="connsiteY125" fmla="*/ 454327 h 6689159"/>
                <a:gd name="connsiteX126" fmla="*/ 3344579 w 6689158"/>
                <a:gd name="connsiteY126" fmla="*/ 0 h 6689159"/>
                <a:gd name="connsiteX127" fmla="*/ 5709555 w 6689158"/>
                <a:gd name="connsiteY127" fmla="*/ 979605 h 6689159"/>
                <a:gd name="connsiteX128" fmla="*/ 5721404 w 6689158"/>
                <a:gd name="connsiteY128" fmla="*/ 992643 h 6689159"/>
                <a:gd name="connsiteX129" fmla="*/ 5925421 w 6689158"/>
                <a:gd name="connsiteY129" fmla="*/ 1217117 h 6689159"/>
                <a:gd name="connsiteX130" fmla="*/ 6117959 w 6689158"/>
                <a:gd name="connsiteY130" fmla="*/ 1474595 h 6689159"/>
                <a:gd name="connsiteX131" fmla="*/ 6162894 w 6689158"/>
                <a:gd name="connsiteY131" fmla="*/ 1548561 h 6689159"/>
                <a:gd name="connsiteX132" fmla="*/ 6162893 w 6689158"/>
                <a:gd name="connsiteY132" fmla="*/ 1548563 h 6689159"/>
                <a:gd name="connsiteX133" fmla="*/ 6285487 w 6689158"/>
                <a:gd name="connsiteY133" fmla="*/ 1750355 h 6689159"/>
                <a:gd name="connsiteX134" fmla="*/ 6689158 w 6689158"/>
                <a:gd name="connsiteY134" fmla="*/ 3344580 h 6689159"/>
                <a:gd name="connsiteX135" fmla="*/ 6538793 w 6689158"/>
                <a:gd name="connsiteY135" fmla="*/ 4339156 h 6689159"/>
                <a:gd name="connsiteX136" fmla="*/ 6534721 w 6689158"/>
                <a:gd name="connsiteY136" fmla="*/ 4350281 h 6689159"/>
                <a:gd name="connsiteX137" fmla="*/ 6426326 w 6689158"/>
                <a:gd name="connsiteY137" fmla="*/ 4646440 h 6689159"/>
                <a:gd name="connsiteX138" fmla="*/ 6421122 w 6689158"/>
                <a:gd name="connsiteY138" fmla="*/ 4657245 h 6689159"/>
                <a:gd name="connsiteX139" fmla="*/ 6372396 w 6689158"/>
                <a:gd name="connsiteY139" fmla="*/ 4758392 h 6689159"/>
                <a:gd name="connsiteX140" fmla="*/ 6285487 w 6689158"/>
                <a:gd name="connsiteY140" fmla="*/ 4938805 h 6689159"/>
                <a:gd name="connsiteX141" fmla="*/ 6117958 w 6689158"/>
                <a:gd name="connsiteY141" fmla="*/ 5214566 h 6689159"/>
                <a:gd name="connsiteX142" fmla="*/ 6035322 w 6689158"/>
                <a:gd name="connsiteY142" fmla="*/ 5325072 h 6689159"/>
                <a:gd name="connsiteX143" fmla="*/ 5925420 w 6689158"/>
                <a:gd name="connsiteY143" fmla="*/ 5472042 h 6689159"/>
                <a:gd name="connsiteX144" fmla="*/ 3344580 w 6689158"/>
                <a:gd name="connsiteY144" fmla="*/ 6689159 h 6689159"/>
                <a:gd name="connsiteX145" fmla="*/ 1474594 w 6689158"/>
                <a:gd name="connsiteY145" fmla="*/ 6117958 h 6689159"/>
                <a:gd name="connsiteX146" fmla="*/ 1464440 w 6689158"/>
                <a:gd name="connsiteY146" fmla="*/ 6110366 h 6689159"/>
                <a:gd name="connsiteX147" fmla="*/ 1217117 w 6689158"/>
                <a:gd name="connsiteY147" fmla="*/ 5925420 h 6689159"/>
                <a:gd name="connsiteX148" fmla="*/ 979606 w 6689158"/>
                <a:gd name="connsiteY148" fmla="*/ 5709555 h 6689159"/>
                <a:gd name="connsiteX149" fmla="*/ 941121 w 6689158"/>
                <a:gd name="connsiteY149" fmla="*/ 5667211 h 6689159"/>
                <a:gd name="connsiteX150" fmla="*/ 763739 w 6689158"/>
                <a:gd name="connsiteY150" fmla="*/ 5472043 h 6689159"/>
                <a:gd name="connsiteX151" fmla="*/ 0 w 6689158"/>
                <a:gd name="connsiteY151" fmla="*/ 3344580 h 6689159"/>
                <a:gd name="connsiteX152" fmla="*/ 763739 w 6689158"/>
                <a:gd name="connsiteY152" fmla="*/ 1217118 h 6689159"/>
                <a:gd name="connsiteX153" fmla="*/ 979605 w 6689158"/>
                <a:gd name="connsiteY153" fmla="*/ 979604 h 6689159"/>
                <a:gd name="connsiteX154" fmla="*/ 1217117 w 6689158"/>
                <a:gd name="connsiteY154" fmla="*/ 763739 h 6689159"/>
                <a:gd name="connsiteX155" fmla="*/ 1252792 w 6689158"/>
                <a:gd name="connsiteY155" fmla="*/ 737062 h 6689159"/>
                <a:gd name="connsiteX156" fmla="*/ 1474594 w 6689158"/>
                <a:gd name="connsiteY156" fmla="*/ 571201 h 6689159"/>
                <a:gd name="connsiteX157" fmla="*/ 1650297 w 6689158"/>
                <a:gd name="connsiteY157" fmla="*/ 464459 h 6689159"/>
                <a:gd name="connsiteX158" fmla="*/ 1750354 w 6689158"/>
                <a:gd name="connsiteY158" fmla="*/ 403673 h 6689159"/>
                <a:gd name="connsiteX159" fmla="*/ 2042719 w 6689158"/>
                <a:gd name="connsiteY159" fmla="*/ 262835 h 6689159"/>
                <a:gd name="connsiteX160" fmla="*/ 2083584 w 6689158"/>
                <a:gd name="connsiteY160" fmla="*/ 247876 h 6689159"/>
                <a:gd name="connsiteX161" fmla="*/ 2350003 w 6689158"/>
                <a:gd name="connsiteY161" fmla="*/ 150366 h 6689159"/>
                <a:gd name="connsiteX162" fmla="*/ 3344579 w 6689158"/>
                <a:gd name="connsiteY162"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5020677 w 6689158"/>
                <a:gd name="connsiteY122" fmla="*/ 992901 h 6689159"/>
                <a:gd name="connsiteX123" fmla="*/ 4960548 w 6689158"/>
                <a:gd name="connsiteY123" fmla="*/ 947937 h 6689159"/>
                <a:gd name="connsiteX124" fmla="*/ 3344580 w 6689158"/>
                <a:gd name="connsiteY124" fmla="*/ 454327 h 6689159"/>
                <a:gd name="connsiteX125" fmla="*/ 3344579 w 6689158"/>
                <a:gd name="connsiteY125" fmla="*/ 0 h 6689159"/>
                <a:gd name="connsiteX126" fmla="*/ 5709555 w 6689158"/>
                <a:gd name="connsiteY126" fmla="*/ 979605 h 6689159"/>
                <a:gd name="connsiteX127" fmla="*/ 5721404 w 6689158"/>
                <a:gd name="connsiteY127" fmla="*/ 992643 h 6689159"/>
                <a:gd name="connsiteX128" fmla="*/ 5925421 w 6689158"/>
                <a:gd name="connsiteY128" fmla="*/ 1217117 h 6689159"/>
                <a:gd name="connsiteX129" fmla="*/ 6117959 w 6689158"/>
                <a:gd name="connsiteY129" fmla="*/ 1474595 h 6689159"/>
                <a:gd name="connsiteX130" fmla="*/ 6162894 w 6689158"/>
                <a:gd name="connsiteY130" fmla="*/ 1548561 h 6689159"/>
                <a:gd name="connsiteX131" fmla="*/ 6162893 w 6689158"/>
                <a:gd name="connsiteY131" fmla="*/ 1548563 h 6689159"/>
                <a:gd name="connsiteX132" fmla="*/ 6285487 w 6689158"/>
                <a:gd name="connsiteY132" fmla="*/ 1750355 h 6689159"/>
                <a:gd name="connsiteX133" fmla="*/ 6689158 w 6689158"/>
                <a:gd name="connsiteY133" fmla="*/ 3344580 h 6689159"/>
                <a:gd name="connsiteX134" fmla="*/ 6538793 w 6689158"/>
                <a:gd name="connsiteY134" fmla="*/ 4339156 h 6689159"/>
                <a:gd name="connsiteX135" fmla="*/ 6534721 w 6689158"/>
                <a:gd name="connsiteY135" fmla="*/ 4350281 h 6689159"/>
                <a:gd name="connsiteX136" fmla="*/ 6426326 w 6689158"/>
                <a:gd name="connsiteY136" fmla="*/ 4646440 h 6689159"/>
                <a:gd name="connsiteX137" fmla="*/ 6421122 w 6689158"/>
                <a:gd name="connsiteY137" fmla="*/ 4657245 h 6689159"/>
                <a:gd name="connsiteX138" fmla="*/ 6372396 w 6689158"/>
                <a:gd name="connsiteY138" fmla="*/ 4758392 h 6689159"/>
                <a:gd name="connsiteX139" fmla="*/ 6285487 w 6689158"/>
                <a:gd name="connsiteY139" fmla="*/ 4938805 h 6689159"/>
                <a:gd name="connsiteX140" fmla="*/ 6117958 w 6689158"/>
                <a:gd name="connsiteY140" fmla="*/ 5214566 h 6689159"/>
                <a:gd name="connsiteX141" fmla="*/ 6035322 w 6689158"/>
                <a:gd name="connsiteY141" fmla="*/ 5325072 h 6689159"/>
                <a:gd name="connsiteX142" fmla="*/ 5925420 w 6689158"/>
                <a:gd name="connsiteY142" fmla="*/ 5472042 h 6689159"/>
                <a:gd name="connsiteX143" fmla="*/ 3344580 w 6689158"/>
                <a:gd name="connsiteY143" fmla="*/ 6689159 h 6689159"/>
                <a:gd name="connsiteX144" fmla="*/ 1474594 w 6689158"/>
                <a:gd name="connsiteY144" fmla="*/ 6117958 h 6689159"/>
                <a:gd name="connsiteX145" fmla="*/ 1464440 w 6689158"/>
                <a:gd name="connsiteY145" fmla="*/ 6110366 h 6689159"/>
                <a:gd name="connsiteX146" fmla="*/ 1217117 w 6689158"/>
                <a:gd name="connsiteY146" fmla="*/ 5925420 h 6689159"/>
                <a:gd name="connsiteX147" fmla="*/ 979606 w 6689158"/>
                <a:gd name="connsiteY147" fmla="*/ 5709555 h 6689159"/>
                <a:gd name="connsiteX148" fmla="*/ 941121 w 6689158"/>
                <a:gd name="connsiteY148" fmla="*/ 5667211 h 6689159"/>
                <a:gd name="connsiteX149" fmla="*/ 763739 w 6689158"/>
                <a:gd name="connsiteY149" fmla="*/ 5472043 h 6689159"/>
                <a:gd name="connsiteX150" fmla="*/ 0 w 6689158"/>
                <a:gd name="connsiteY150" fmla="*/ 3344580 h 6689159"/>
                <a:gd name="connsiteX151" fmla="*/ 763739 w 6689158"/>
                <a:gd name="connsiteY151" fmla="*/ 1217118 h 6689159"/>
                <a:gd name="connsiteX152" fmla="*/ 979605 w 6689158"/>
                <a:gd name="connsiteY152" fmla="*/ 979604 h 6689159"/>
                <a:gd name="connsiteX153" fmla="*/ 1217117 w 6689158"/>
                <a:gd name="connsiteY153" fmla="*/ 763739 h 6689159"/>
                <a:gd name="connsiteX154" fmla="*/ 1252792 w 6689158"/>
                <a:gd name="connsiteY154" fmla="*/ 737062 h 6689159"/>
                <a:gd name="connsiteX155" fmla="*/ 1474594 w 6689158"/>
                <a:gd name="connsiteY155" fmla="*/ 571201 h 6689159"/>
                <a:gd name="connsiteX156" fmla="*/ 1650297 w 6689158"/>
                <a:gd name="connsiteY156" fmla="*/ 464459 h 6689159"/>
                <a:gd name="connsiteX157" fmla="*/ 1750354 w 6689158"/>
                <a:gd name="connsiteY157" fmla="*/ 403673 h 6689159"/>
                <a:gd name="connsiteX158" fmla="*/ 2042719 w 6689158"/>
                <a:gd name="connsiteY158" fmla="*/ 262835 h 6689159"/>
                <a:gd name="connsiteX159" fmla="*/ 2083584 w 6689158"/>
                <a:gd name="connsiteY159" fmla="*/ 247876 h 6689159"/>
                <a:gd name="connsiteX160" fmla="*/ 2350003 w 6689158"/>
                <a:gd name="connsiteY160" fmla="*/ 150366 h 6689159"/>
                <a:gd name="connsiteX161" fmla="*/ 3344579 w 6689158"/>
                <a:gd name="connsiteY161"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611312 w 6689158"/>
                <a:gd name="connsiteY71" fmla="*/ 1554887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5611312 w 6689158"/>
                <a:gd name="connsiteY90" fmla="*/ 1554887 h 6689159"/>
                <a:gd name="connsiteX91" fmla="*/ 1958215 w 6689158"/>
                <a:gd name="connsiteY91" fmla="*/ 808450 h 6689159"/>
                <a:gd name="connsiteX92" fmla="*/ 1728612 w 6689158"/>
                <a:gd name="connsiteY92" fmla="*/ 947938 h 6689159"/>
                <a:gd name="connsiteX93" fmla="*/ 1300863 w 6689158"/>
                <a:gd name="connsiteY93" fmla="*/ 1300863 h 6689159"/>
                <a:gd name="connsiteX94" fmla="*/ 1258822 w 6689158"/>
                <a:gd name="connsiteY94" fmla="*/ 1347119 h 6689159"/>
                <a:gd name="connsiteX95" fmla="*/ 1258823 w 6689158"/>
                <a:gd name="connsiteY95" fmla="*/ 1347121 h 6689159"/>
                <a:gd name="connsiteX96" fmla="*/ 1263190 w 6689158"/>
                <a:gd name="connsiteY96" fmla="*/ 1402742 h 6689159"/>
                <a:gd name="connsiteX97" fmla="*/ 1504198 w 6689158"/>
                <a:gd name="connsiteY97" fmla="*/ 2390321 h 6689159"/>
                <a:gd name="connsiteX98" fmla="*/ 1570031 w 6689158"/>
                <a:gd name="connsiteY98" fmla="*/ 2538525 h 6689159"/>
                <a:gd name="connsiteX99" fmla="*/ 1593172 w 6689158"/>
                <a:gd name="connsiteY99" fmla="*/ 2532572 h 6689159"/>
                <a:gd name="connsiteX100" fmla="*/ 1772170 w 6689158"/>
                <a:gd name="connsiteY100" fmla="*/ 2514528 h 6689159"/>
                <a:gd name="connsiteX101" fmla="*/ 1951170 w 6689158"/>
                <a:gd name="connsiteY101" fmla="*/ 2532573 h 6689159"/>
                <a:gd name="connsiteX102" fmla="*/ 1953707 w 6689158"/>
                <a:gd name="connsiteY102" fmla="*/ 2533225 h 6689159"/>
                <a:gd name="connsiteX103" fmla="*/ 2046764 w 6689158"/>
                <a:gd name="connsiteY103" fmla="*/ 2419427 h 6689159"/>
                <a:gd name="connsiteX104" fmla="*/ 2304042 w 6689158"/>
                <a:gd name="connsiteY104" fmla="*/ 2155240 h 6689159"/>
                <a:gd name="connsiteX105" fmla="*/ 2679904 w 6689158"/>
                <a:gd name="connsiteY105" fmla="*/ 1840257 h 6689159"/>
                <a:gd name="connsiteX106" fmla="*/ 2839402 w 6689158"/>
                <a:gd name="connsiteY106" fmla="*/ 1728600 h 6689159"/>
                <a:gd name="connsiteX107" fmla="*/ 2839403 w 6689158"/>
                <a:gd name="connsiteY107" fmla="*/ 1728599 h 6689159"/>
                <a:gd name="connsiteX108" fmla="*/ 2180258 w 6689158"/>
                <a:gd name="connsiteY108" fmla="*/ 1049601 h 6689159"/>
                <a:gd name="connsiteX109" fmla="*/ 1958217 w 6689158"/>
                <a:gd name="connsiteY109" fmla="*/ 808450 h 6689159"/>
                <a:gd name="connsiteX110" fmla="*/ 1958215 w 6689158"/>
                <a:gd name="connsiteY110" fmla="*/ 808451 h 6689159"/>
                <a:gd name="connsiteX111" fmla="*/ 1958215 w 6689158"/>
                <a:gd name="connsiteY111" fmla="*/ 808450 h 6689159"/>
                <a:gd name="connsiteX112" fmla="*/ 3344580 w 6689158"/>
                <a:gd name="connsiteY112" fmla="*/ 454327 h 6689159"/>
                <a:gd name="connsiteX113" fmla="*/ 2485108 w 6689158"/>
                <a:gd name="connsiteY113" fmla="*/ 584267 h 6689159"/>
                <a:gd name="connsiteX114" fmla="*/ 2426658 w 6689158"/>
                <a:gd name="connsiteY114" fmla="*/ 605660 h 6689159"/>
                <a:gd name="connsiteX115" fmla="*/ 2608239 w 6689158"/>
                <a:gd name="connsiteY115" fmla="*/ 793623 h 6689159"/>
                <a:gd name="connsiteX116" fmla="*/ 3061380 w 6689158"/>
                <a:gd name="connsiteY116" fmla="*/ 1249579 h 6689159"/>
                <a:gd name="connsiteX117" fmla="*/ 3282982 w 6689158"/>
                <a:gd name="connsiteY117" fmla="*/ 1466429 h 6689159"/>
                <a:gd name="connsiteX118" fmla="*/ 3282982 w 6689158"/>
                <a:gd name="connsiteY118" fmla="*/ 1466430 h 6689159"/>
                <a:gd name="connsiteX119" fmla="*/ 3293669 w 6689158"/>
                <a:gd name="connsiteY119" fmla="*/ 1460635 h 6689159"/>
                <a:gd name="connsiteX120" fmla="*/ 4895242 w 6689158"/>
                <a:gd name="connsiteY120" fmla="*/ 1001928 h 6689159"/>
                <a:gd name="connsiteX121" fmla="*/ 5020677 w 6689158"/>
                <a:gd name="connsiteY121" fmla="*/ 992902 h 6689159"/>
                <a:gd name="connsiteX122" fmla="*/ 4960548 w 6689158"/>
                <a:gd name="connsiteY122" fmla="*/ 947937 h 6689159"/>
                <a:gd name="connsiteX123" fmla="*/ 3344580 w 6689158"/>
                <a:gd name="connsiteY123" fmla="*/ 454327 h 6689159"/>
                <a:gd name="connsiteX124" fmla="*/ 3344579 w 6689158"/>
                <a:gd name="connsiteY124" fmla="*/ 0 h 6689159"/>
                <a:gd name="connsiteX125" fmla="*/ 5709555 w 6689158"/>
                <a:gd name="connsiteY125" fmla="*/ 979605 h 6689159"/>
                <a:gd name="connsiteX126" fmla="*/ 5721404 w 6689158"/>
                <a:gd name="connsiteY126" fmla="*/ 992643 h 6689159"/>
                <a:gd name="connsiteX127" fmla="*/ 5925421 w 6689158"/>
                <a:gd name="connsiteY127" fmla="*/ 1217117 h 6689159"/>
                <a:gd name="connsiteX128" fmla="*/ 6117959 w 6689158"/>
                <a:gd name="connsiteY128" fmla="*/ 1474595 h 6689159"/>
                <a:gd name="connsiteX129" fmla="*/ 6162894 w 6689158"/>
                <a:gd name="connsiteY129" fmla="*/ 1548561 h 6689159"/>
                <a:gd name="connsiteX130" fmla="*/ 6162893 w 6689158"/>
                <a:gd name="connsiteY130" fmla="*/ 1548563 h 6689159"/>
                <a:gd name="connsiteX131" fmla="*/ 6285487 w 6689158"/>
                <a:gd name="connsiteY131" fmla="*/ 1750355 h 6689159"/>
                <a:gd name="connsiteX132" fmla="*/ 6689158 w 6689158"/>
                <a:gd name="connsiteY132" fmla="*/ 3344580 h 6689159"/>
                <a:gd name="connsiteX133" fmla="*/ 6538793 w 6689158"/>
                <a:gd name="connsiteY133" fmla="*/ 4339156 h 6689159"/>
                <a:gd name="connsiteX134" fmla="*/ 6534721 w 6689158"/>
                <a:gd name="connsiteY134" fmla="*/ 4350281 h 6689159"/>
                <a:gd name="connsiteX135" fmla="*/ 6426326 w 6689158"/>
                <a:gd name="connsiteY135" fmla="*/ 4646440 h 6689159"/>
                <a:gd name="connsiteX136" fmla="*/ 6421122 w 6689158"/>
                <a:gd name="connsiteY136" fmla="*/ 4657245 h 6689159"/>
                <a:gd name="connsiteX137" fmla="*/ 6372396 w 6689158"/>
                <a:gd name="connsiteY137" fmla="*/ 4758392 h 6689159"/>
                <a:gd name="connsiteX138" fmla="*/ 6285487 w 6689158"/>
                <a:gd name="connsiteY138" fmla="*/ 4938805 h 6689159"/>
                <a:gd name="connsiteX139" fmla="*/ 6117958 w 6689158"/>
                <a:gd name="connsiteY139" fmla="*/ 5214566 h 6689159"/>
                <a:gd name="connsiteX140" fmla="*/ 6035322 w 6689158"/>
                <a:gd name="connsiteY140" fmla="*/ 5325072 h 6689159"/>
                <a:gd name="connsiteX141" fmla="*/ 5925420 w 6689158"/>
                <a:gd name="connsiteY141" fmla="*/ 5472042 h 6689159"/>
                <a:gd name="connsiteX142" fmla="*/ 3344580 w 6689158"/>
                <a:gd name="connsiteY142" fmla="*/ 6689159 h 6689159"/>
                <a:gd name="connsiteX143" fmla="*/ 1474594 w 6689158"/>
                <a:gd name="connsiteY143" fmla="*/ 6117958 h 6689159"/>
                <a:gd name="connsiteX144" fmla="*/ 1464440 w 6689158"/>
                <a:gd name="connsiteY144" fmla="*/ 6110366 h 6689159"/>
                <a:gd name="connsiteX145" fmla="*/ 1217117 w 6689158"/>
                <a:gd name="connsiteY145" fmla="*/ 5925420 h 6689159"/>
                <a:gd name="connsiteX146" fmla="*/ 979606 w 6689158"/>
                <a:gd name="connsiteY146" fmla="*/ 5709555 h 6689159"/>
                <a:gd name="connsiteX147" fmla="*/ 941121 w 6689158"/>
                <a:gd name="connsiteY147" fmla="*/ 5667211 h 6689159"/>
                <a:gd name="connsiteX148" fmla="*/ 763739 w 6689158"/>
                <a:gd name="connsiteY148" fmla="*/ 5472043 h 6689159"/>
                <a:gd name="connsiteX149" fmla="*/ 0 w 6689158"/>
                <a:gd name="connsiteY149" fmla="*/ 3344580 h 6689159"/>
                <a:gd name="connsiteX150" fmla="*/ 763739 w 6689158"/>
                <a:gd name="connsiteY150" fmla="*/ 1217118 h 6689159"/>
                <a:gd name="connsiteX151" fmla="*/ 979605 w 6689158"/>
                <a:gd name="connsiteY151" fmla="*/ 979604 h 6689159"/>
                <a:gd name="connsiteX152" fmla="*/ 1217117 w 6689158"/>
                <a:gd name="connsiteY152" fmla="*/ 763739 h 6689159"/>
                <a:gd name="connsiteX153" fmla="*/ 1252792 w 6689158"/>
                <a:gd name="connsiteY153" fmla="*/ 737062 h 6689159"/>
                <a:gd name="connsiteX154" fmla="*/ 1474594 w 6689158"/>
                <a:gd name="connsiteY154" fmla="*/ 571201 h 6689159"/>
                <a:gd name="connsiteX155" fmla="*/ 1650297 w 6689158"/>
                <a:gd name="connsiteY155" fmla="*/ 464459 h 6689159"/>
                <a:gd name="connsiteX156" fmla="*/ 1750354 w 6689158"/>
                <a:gd name="connsiteY156" fmla="*/ 403673 h 6689159"/>
                <a:gd name="connsiteX157" fmla="*/ 2042719 w 6689158"/>
                <a:gd name="connsiteY157" fmla="*/ 262835 h 6689159"/>
                <a:gd name="connsiteX158" fmla="*/ 2083584 w 6689158"/>
                <a:gd name="connsiteY158" fmla="*/ 247876 h 6689159"/>
                <a:gd name="connsiteX159" fmla="*/ 2350003 w 6689158"/>
                <a:gd name="connsiteY159" fmla="*/ 150366 h 6689159"/>
                <a:gd name="connsiteX160" fmla="*/ 3344579 w 6689158"/>
                <a:gd name="connsiteY160"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721404 w 6689158"/>
                <a:gd name="connsiteY125" fmla="*/ 992643 h 6689159"/>
                <a:gd name="connsiteX126" fmla="*/ 5925421 w 6689158"/>
                <a:gd name="connsiteY126" fmla="*/ 1217117 h 6689159"/>
                <a:gd name="connsiteX127" fmla="*/ 6117959 w 6689158"/>
                <a:gd name="connsiteY127" fmla="*/ 1474595 h 6689159"/>
                <a:gd name="connsiteX128" fmla="*/ 6162894 w 6689158"/>
                <a:gd name="connsiteY128" fmla="*/ 1548561 h 6689159"/>
                <a:gd name="connsiteX129" fmla="*/ 6162893 w 6689158"/>
                <a:gd name="connsiteY129" fmla="*/ 1548563 h 6689159"/>
                <a:gd name="connsiteX130" fmla="*/ 6285487 w 6689158"/>
                <a:gd name="connsiteY130" fmla="*/ 1750355 h 6689159"/>
                <a:gd name="connsiteX131" fmla="*/ 6689158 w 6689158"/>
                <a:gd name="connsiteY131" fmla="*/ 3344580 h 6689159"/>
                <a:gd name="connsiteX132" fmla="*/ 6538793 w 6689158"/>
                <a:gd name="connsiteY132" fmla="*/ 4339156 h 6689159"/>
                <a:gd name="connsiteX133" fmla="*/ 6534721 w 6689158"/>
                <a:gd name="connsiteY133" fmla="*/ 4350281 h 6689159"/>
                <a:gd name="connsiteX134" fmla="*/ 6426326 w 6689158"/>
                <a:gd name="connsiteY134" fmla="*/ 4646440 h 6689159"/>
                <a:gd name="connsiteX135" fmla="*/ 6421122 w 6689158"/>
                <a:gd name="connsiteY135" fmla="*/ 4657245 h 6689159"/>
                <a:gd name="connsiteX136" fmla="*/ 6372396 w 6689158"/>
                <a:gd name="connsiteY136" fmla="*/ 4758392 h 6689159"/>
                <a:gd name="connsiteX137" fmla="*/ 6285487 w 6689158"/>
                <a:gd name="connsiteY137" fmla="*/ 4938805 h 6689159"/>
                <a:gd name="connsiteX138" fmla="*/ 6117958 w 6689158"/>
                <a:gd name="connsiteY138" fmla="*/ 5214566 h 6689159"/>
                <a:gd name="connsiteX139" fmla="*/ 6035322 w 6689158"/>
                <a:gd name="connsiteY139" fmla="*/ 5325072 h 6689159"/>
                <a:gd name="connsiteX140" fmla="*/ 5925420 w 6689158"/>
                <a:gd name="connsiteY140" fmla="*/ 5472042 h 6689159"/>
                <a:gd name="connsiteX141" fmla="*/ 3344580 w 6689158"/>
                <a:gd name="connsiteY141" fmla="*/ 6689159 h 6689159"/>
                <a:gd name="connsiteX142" fmla="*/ 1474594 w 6689158"/>
                <a:gd name="connsiteY142" fmla="*/ 6117958 h 6689159"/>
                <a:gd name="connsiteX143" fmla="*/ 1464440 w 6689158"/>
                <a:gd name="connsiteY143" fmla="*/ 6110366 h 6689159"/>
                <a:gd name="connsiteX144" fmla="*/ 1217117 w 6689158"/>
                <a:gd name="connsiteY144" fmla="*/ 5925420 h 6689159"/>
                <a:gd name="connsiteX145" fmla="*/ 979606 w 6689158"/>
                <a:gd name="connsiteY145" fmla="*/ 5709555 h 6689159"/>
                <a:gd name="connsiteX146" fmla="*/ 941121 w 6689158"/>
                <a:gd name="connsiteY146" fmla="*/ 5667211 h 6689159"/>
                <a:gd name="connsiteX147" fmla="*/ 763739 w 6689158"/>
                <a:gd name="connsiteY147" fmla="*/ 5472043 h 6689159"/>
                <a:gd name="connsiteX148" fmla="*/ 0 w 6689158"/>
                <a:gd name="connsiteY148" fmla="*/ 3344580 h 6689159"/>
                <a:gd name="connsiteX149" fmla="*/ 763739 w 6689158"/>
                <a:gd name="connsiteY149" fmla="*/ 1217118 h 6689159"/>
                <a:gd name="connsiteX150" fmla="*/ 979605 w 6689158"/>
                <a:gd name="connsiteY150" fmla="*/ 979604 h 6689159"/>
                <a:gd name="connsiteX151" fmla="*/ 1217117 w 6689158"/>
                <a:gd name="connsiteY151" fmla="*/ 763739 h 6689159"/>
                <a:gd name="connsiteX152" fmla="*/ 1252792 w 6689158"/>
                <a:gd name="connsiteY152" fmla="*/ 737062 h 6689159"/>
                <a:gd name="connsiteX153" fmla="*/ 1474594 w 6689158"/>
                <a:gd name="connsiteY153" fmla="*/ 571201 h 6689159"/>
                <a:gd name="connsiteX154" fmla="*/ 1650297 w 6689158"/>
                <a:gd name="connsiteY154" fmla="*/ 464459 h 6689159"/>
                <a:gd name="connsiteX155" fmla="*/ 1750354 w 6689158"/>
                <a:gd name="connsiteY155" fmla="*/ 403673 h 6689159"/>
                <a:gd name="connsiteX156" fmla="*/ 2042719 w 6689158"/>
                <a:gd name="connsiteY156" fmla="*/ 262835 h 6689159"/>
                <a:gd name="connsiteX157" fmla="*/ 2083584 w 6689158"/>
                <a:gd name="connsiteY157" fmla="*/ 247876 h 6689159"/>
                <a:gd name="connsiteX158" fmla="*/ 2350003 w 6689158"/>
                <a:gd name="connsiteY158" fmla="*/ 150366 h 6689159"/>
                <a:gd name="connsiteX159" fmla="*/ 3344579 w 6689158"/>
                <a:gd name="connsiteY159" fmla="*/ 0 h 6689159"/>
                <a:gd name="connsiteX0" fmla="*/ 2177650 w 6689158"/>
                <a:gd name="connsiteY0" fmla="*/ 4188652 h 6689159"/>
                <a:gd name="connsiteX1" fmla="*/ 2117889 w 6689158"/>
                <a:gd name="connsiteY1" fmla="*/ 4221089 h 6689159"/>
                <a:gd name="connsiteX2" fmla="*/ 1862982 w 6689158"/>
                <a:gd name="connsiteY2" fmla="*/ 4286300 h 6689159"/>
                <a:gd name="connsiteX3" fmla="*/ 1796860 w 6689158"/>
                <a:gd name="connsiteY3" fmla="*/ 4289641 h 6689159"/>
                <a:gd name="connsiteX4" fmla="*/ 1788544 w 6689158"/>
                <a:gd name="connsiteY4" fmla="*/ 4308481 h 6689159"/>
                <a:gd name="connsiteX5" fmla="*/ 1505667 w 6689158"/>
                <a:gd name="connsiteY5" fmla="*/ 5419718 h 6689159"/>
                <a:gd name="connsiteX6" fmla="*/ 1490555 w 6689158"/>
                <a:gd name="connsiteY6" fmla="*/ 5560700 h 6689159"/>
                <a:gd name="connsiteX7" fmla="*/ 1506111 w 6689158"/>
                <a:gd name="connsiteY7" fmla="*/ 5574838 h 6689159"/>
                <a:gd name="connsiteX8" fmla="*/ 3344580 w 6689158"/>
                <a:gd name="connsiteY8" fmla="*/ 6234832 h 6689159"/>
                <a:gd name="connsiteX9" fmla="*/ 5388297 w 6689158"/>
                <a:gd name="connsiteY9" fmla="*/ 5388296 h 6689159"/>
                <a:gd name="connsiteX10" fmla="*/ 5390660 w 6689158"/>
                <a:gd name="connsiteY10" fmla="*/ 5385697 h 6689159"/>
                <a:gd name="connsiteX11" fmla="*/ 5273213 w 6689158"/>
                <a:gd name="connsiteY11" fmla="*/ 5388582 h 6689159"/>
                <a:gd name="connsiteX12" fmla="*/ 4474354 w 6689158"/>
                <a:gd name="connsiteY12" fmla="*/ 5320095 h 6689159"/>
                <a:gd name="connsiteX13" fmla="*/ 4280135 w 6689158"/>
                <a:gd name="connsiteY13" fmla="*/ 5277799 h 6689159"/>
                <a:gd name="connsiteX14" fmla="*/ 4254882 w 6689158"/>
                <a:gd name="connsiteY14" fmla="*/ 5324324 h 6689159"/>
                <a:gd name="connsiteX15" fmla="*/ 3760568 w 6689158"/>
                <a:gd name="connsiteY15" fmla="*/ 5587147 h 6689159"/>
                <a:gd name="connsiteX16" fmla="*/ 3164448 w 6689158"/>
                <a:gd name="connsiteY16" fmla="*/ 4991027 h 6689159"/>
                <a:gd name="connsiteX17" fmla="*/ 3175376 w 6689158"/>
                <a:gd name="connsiteY17" fmla="*/ 4882633 h 6689159"/>
                <a:gd name="connsiteX18" fmla="*/ 3026882 w 6689158"/>
                <a:gd name="connsiteY18" fmla="*/ 4807637 h 6689159"/>
                <a:gd name="connsiteX19" fmla="*/ 2402585 w 6689158"/>
                <a:gd name="connsiteY19" fmla="*/ 4387289 h 6689159"/>
                <a:gd name="connsiteX20" fmla="*/ 2177650 w 6689158"/>
                <a:gd name="connsiteY20" fmla="*/ 4188652 h 6689159"/>
                <a:gd name="connsiteX21" fmla="*/ 3414840 w 6689158"/>
                <a:gd name="connsiteY21" fmla="*/ 2285703 h 6689159"/>
                <a:gd name="connsiteX22" fmla="*/ 3364850 w 6689158"/>
                <a:gd name="connsiteY22" fmla="*/ 2318041 h 6689159"/>
                <a:gd name="connsiteX23" fmla="*/ 2848518 w 6689158"/>
                <a:gd name="connsiteY23" fmla="*/ 2733562 h 6689159"/>
                <a:gd name="connsiteX24" fmla="*/ 2690374 w 6689158"/>
                <a:gd name="connsiteY24" fmla="*/ 2890404 h 6689159"/>
                <a:gd name="connsiteX25" fmla="*/ 2571277 w 6689158"/>
                <a:gd name="connsiteY25" fmla="*/ 3021477 h 6689159"/>
                <a:gd name="connsiteX26" fmla="*/ 2590552 w 6689158"/>
                <a:gd name="connsiteY26" fmla="*/ 3056989 h 6689159"/>
                <a:gd name="connsiteX27" fmla="*/ 2660349 w 6689158"/>
                <a:gd name="connsiteY27" fmla="*/ 3402707 h 6689159"/>
                <a:gd name="connsiteX28" fmla="*/ 2590552 w 6689158"/>
                <a:gd name="connsiteY28" fmla="*/ 3748426 h 6689159"/>
                <a:gd name="connsiteX29" fmla="*/ 2530886 w 6689158"/>
                <a:gd name="connsiteY29" fmla="*/ 3858356 h 6689159"/>
                <a:gd name="connsiteX30" fmla="*/ 2709229 w 6689158"/>
                <a:gd name="connsiteY30" fmla="*/ 4015297 h 6689159"/>
                <a:gd name="connsiteX31" fmla="*/ 3266837 w 6689158"/>
                <a:gd name="connsiteY31" fmla="*/ 4389432 h 6689159"/>
                <a:gd name="connsiteX32" fmla="*/ 3452642 w 6689158"/>
                <a:gd name="connsiteY32" fmla="*/ 4482945 h 6689159"/>
                <a:gd name="connsiteX33" fmla="*/ 3528532 w 6689158"/>
                <a:gd name="connsiteY33" fmla="*/ 4441753 h 6689159"/>
                <a:gd name="connsiteX34" fmla="*/ 3760569 w 6689158"/>
                <a:gd name="connsiteY34" fmla="*/ 4394906 h 6689159"/>
                <a:gd name="connsiteX35" fmla="*/ 4309843 w 6689158"/>
                <a:gd name="connsiteY35" fmla="*/ 4758990 h 6689159"/>
                <a:gd name="connsiteX36" fmla="*/ 4320607 w 6689158"/>
                <a:gd name="connsiteY36" fmla="*/ 4793664 h 6689159"/>
                <a:gd name="connsiteX37" fmla="*/ 4559688 w 6689158"/>
                <a:gd name="connsiteY37" fmla="*/ 4845550 h 6689159"/>
                <a:gd name="connsiteX38" fmla="*/ 5273213 w 6689158"/>
                <a:gd name="connsiteY38" fmla="*/ 4906508 h 6689159"/>
                <a:gd name="connsiteX39" fmla="*/ 5685342 w 6689158"/>
                <a:gd name="connsiteY39" fmla="*/ 4886359 h 6689159"/>
                <a:gd name="connsiteX40" fmla="*/ 5794448 w 6689158"/>
                <a:gd name="connsiteY40" fmla="*/ 4872934 h 6689159"/>
                <a:gd name="connsiteX41" fmla="*/ 5885995 w 6689158"/>
                <a:gd name="connsiteY41" fmla="*/ 4722245 h 6689159"/>
                <a:gd name="connsiteX42" fmla="*/ 6007702 w 6689158"/>
                <a:gd name="connsiteY42" fmla="*/ 4469596 h 6689159"/>
                <a:gd name="connsiteX43" fmla="*/ 6025566 w 6689158"/>
                <a:gd name="connsiteY43" fmla="*/ 4420788 h 6689159"/>
                <a:gd name="connsiteX44" fmla="*/ 5774209 w 6689158"/>
                <a:gd name="connsiteY44" fmla="*/ 4251797 h 6689159"/>
                <a:gd name="connsiteX45" fmla="*/ 5530775 w 6689158"/>
                <a:gd name="connsiteY45" fmla="*/ 4077911 h 6689159"/>
                <a:gd name="connsiteX46" fmla="*/ 5435413 w 6689158"/>
                <a:gd name="connsiteY46" fmla="*/ 4006461 h 6689159"/>
                <a:gd name="connsiteX47" fmla="*/ 5428090 w 6689158"/>
                <a:gd name="connsiteY47" fmla="*/ 4012503 h 6689159"/>
                <a:gd name="connsiteX48" fmla="*/ 5066831 w 6689158"/>
                <a:gd name="connsiteY48" fmla="*/ 4122852 h 6689159"/>
                <a:gd name="connsiteX49" fmla="*/ 4420700 w 6689158"/>
                <a:gd name="connsiteY49" fmla="*/ 3476722 h 6689159"/>
                <a:gd name="connsiteX50" fmla="*/ 4433828 w 6689158"/>
                <a:gd name="connsiteY50" fmla="*/ 3346504 h 6689159"/>
                <a:gd name="connsiteX51" fmla="*/ 4468981 w 6689158"/>
                <a:gd name="connsiteY51" fmla="*/ 3233259 h 6689159"/>
                <a:gd name="connsiteX52" fmla="*/ 4439706 w 6689158"/>
                <a:gd name="connsiteY52" fmla="*/ 3208684 h 6689159"/>
                <a:gd name="connsiteX53" fmla="*/ 3535763 w 6689158"/>
                <a:gd name="connsiteY53" fmla="*/ 2400517 h 6689159"/>
                <a:gd name="connsiteX54" fmla="*/ 3414840 w 6689158"/>
                <a:gd name="connsiteY54" fmla="*/ 2285703 h 6689159"/>
                <a:gd name="connsiteX55" fmla="*/ 851869 w 6689158"/>
                <a:gd name="connsiteY55" fmla="*/ 1886744 h 6689159"/>
                <a:gd name="connsiteX56" fmla="*/ 803165 w 6689158"/>
                <a:gd name="connsiteY56" fmla="*/ 1966913 h 6689159"/>
                <a:gd name="connsiteX57" fmla="*/ 454328 w 6689158"/>
                <a:gd name="connsiteY57" fmla="*/ 3344581 h 6689159"/>
                <a:gd name="connsiteX58" fmla="*/ 947938 w 6689158"/>
                <a:gd name="connsiteY58" fmla="*/ 4960549 h 6689159"/>
                <a:gd name="connsiteX59" fmla="*/ 959588 w 6689158"/>
                <a:gd name="connsiteY59" fmla="*/ 4976126 h 6689159"/>
                <a:gd name="connsiteX60" fmla="*/ 959588 w 6689158"/>
                <a:gd name="connsiteY60" fmla="*/ 4976125 h 6689159"/>
                <a:gd name="connsiteX61" fmla="*/ 964880 w 6689158"/>
                <a:gd name="connsiteY61" fmla="*/ 4912286 h 6689159"/>
                <a:gd name="connsiteX62" fmla="*/ 1095934 w 6689158"/>
                <a:gd name="connsiteY62" fmla="*/ 4201672 h 6689159"/>
                <a:gd name="connsiteX63" fmla="*/ 1147594 w 6689158"/>
                <a:gd name="connsiteY63" fmla="*/ 4033598 h 6689159"/>
                <a:gd name="connsiteX64" fmla="*/ 1144134 w 6689158"/>
                <a:gd name="connsiteY64" fmla="*/ 4030744 h 6689159"/>
                <a:gd name="connsiteX65" fmla="*/ 883992 w 6689158"/>
                <a:gd name="connsiteY65" fmla="*/ 3402708 h 6689159"/>
                <a:gd name="connsiteX66" fmla="*/ 1144135 w 6689158"/>
                <a:gd name="connsiteY66" fmla="*/ 2774670 h 6689159"/>
                <a:gd name="connsiteX67" fmla="*/ 1146941 w 6689158"/>
                <a:gd name="connsiteY67" fmla="*/ 2772355 h 6689159"/>
                <a:gd name="connsiteX68" fmla="*/ 1073336 w 6689158"/>
                <a:gd name="connsiteY68" fmla="*/ 2611529 h 6689159"/>
                <a:gd name="connsiteX69" fmla="*/ 851993 w 6689158"/>
                <a:gd name="connsiteY69" fmla="*/ 1887409 h 6689159"/>
                <a:gd name="connsiteX70" fmla="*/ 851869 w 6689158"/>
                <a:gd name="connsiteY70" fmla="*/ 1886744 h 6689159"/>
                <a:gd name="connsiteX71" fmla="*/ 5741222 w 6689158"/>
                <a:gd name="connsiteY71" fmla="*/ 1728614 h 6689159"/>
                <a:gd name="connsiteX72" fmla="*/ 5611312 w 6689158"/>
                <a:gd name="connsiteY72" fmla="*/ 1554887 h 6689159"/>
                <a:gd name="connsiteX73" fmla="*/ 5610671 w 6689158"/>
                <a:gd name="connsiteY73" fmla="*/ 1554917 h 6689159"/>
                <a:gd name="connsiteX74" fmla="*/ 3930424 w 6689158"/>
                <a:gd name="connsiteY74" fmla="*/ 1991564 h 6689159"/>
                <a:gd name="connsiteX75" fmla="*/ 3863712 w 6689158"/>
                <a:gd name="connsiteY75" fmla="*/ 2025688 h 6689159"/>
                <a:gd name="connsiteX76" fmla="*/ 3998266 w 6689158"/>
                <a:gd name="connsiteY76" fmla="*/ 2153752 h 6689159"/>
                <a:gd name="connsiteX77" fmla="*/ 4470031 w 6689158"/>
                <a:gd name="connsiteY77" fmla="*/ 2590407 h 6689159"/>
                <a:gd name="connsiteX78" fmla="*/ 4801691 w 6689158"/>
                <a:gd name="connsiteY78" fmla="*/ 2888769 h 6689159"/>
                <a:gd name="connsiteX79" fmla="*/ 4815328 w 6689158"/>
                <a:gd name="connsiteY79" fmla="*/ 2881367 h 6689159"/>
                <a:gd name="connsiteX80" fmla="*/ 5066831 w 6689158"/>
                <a:gd name="connsiteY80" fmla="*/ 2830591 h 6689159"/>
                <a:gd name="connsiteX81" fmla="*/ 5712962 w 6689158"/>
                <a:gd name="connsiteY81" fmla="*/ 3476722 h 6689159"/>
                <a:gd name="connsiteX82" fmla="*/ 5699834 w 6689158"/>
                <a:gd name="connsiteY82" fmla="*/ 3606939 h 6689159"/>
                <a:gd name="connsiteX83" fmla="*/ 5684600 w 6689158"/>
                <a:gd name="connsiteY83" fmla="*/ 3656022 h 6689159"/>
                <a:gd name="connsiteX84" fmla="*/ 5861148 w 6689158"/>
                <a:gd name="connsiteY84" fmla="*/ 3805497 h 6689159"/>
                <a:gd name="connsiteX85" fmla="*/ 6147161 w 6689158"/>
                <a:gd name="connsiteY85" fmla="*/ 4039666 h 6689159"/>
                <a:gd name="connsiteX86" fmla="*/ 6147160 w 6689158"/>
                <a:gd name="connsiteY86" fmla="*/ 4039665 h 6689159"/>
                <a:gd name="connsiteX87" fmla="*/ 6176112 w 6689158"/>
                <a:gd name="connsiteY87" fmla="*/ 3927066 h 6689159"/>
                <a:gd name="connsiteX88" fmla="*/ 6234832 w 6689158"/>
                <a:gd name="connsiteY88" fmla="*/ 3344579 h 6689159"/>
                <a:gd name="connsiteX89" fmla="*/ 5741222 w 6689158"/>
                <a:gd name="connsiteY89" fmla="*/ 1728614 h 6689159"/>
                <a:gd name="connsiteX90" fmla="*/ 1958215 w 6689158"/>
                <a:gd name="connsiteY90" fmla="*/ 808450 h 6689159"/>
                <a:gd name="connsiteX91" fmla="*/ 1728612 w 6689158"/>
                <a:gd name="connsiteY91" fmla="*/ 947938 h 6689159"/>
                <a:gd name="connsiteX92" fmla="*/ 1300863 w 6689158"/>
                <a:gd name="connsiteY92" fmla="*/ 1300863 h 6689159"/>
                <a:gd name="connsiteX93" fmla="*/ 1258822 w 6689158"/>
                <a:gd name="connsiteY93" fmla="*/ 1347119 h 6689159"/>
                <a:gd name="connsiteX94" fmla="*/ 1258823 w 6689158"/>
                <a:gd name="connsiteY94" fmla="*/ 1347121 h 6689159"/>
                <a:gd name="connsiteX95" fmla="*/ 1263190 w 6689158"/>
                <a:gd name="connsiteY95" fmla="*/ 1402742 h 6689159"/>
                <a:gd name="connsiteX96" fmla="*/ 1504198 w 6689158"/>
                <a:gd name="connsiteY96" fmla="*/ 2390321 h 6689159"/>
                <a:gd name="connsiteX97" fmla="*/ 1570031 w 6689158"/>
                <a:gd name="connsiteY97" fmla="*/ 2538525 h 6689159"/>
                <a:gd name="connsiteX98" fmla="*/ 1593172 w 6689158"/>
                <a:gd name="connsiteY98" fmla="*/ 2532572 h 6689159"/>
                <a:gd name="connsiteX99" fmla="*/ 1772170 w 6689158"/>
                <a:gd name="connsiteY99" fmla="*/ 2514528 h 6689159"/>
                <a:gd name="connsiteX100" fmla="*/ 1951170 w 6689158"/>
                <a:gd name="connsiteY100" fmla="*/ 2532573 h 6689159"/>
                <a:gd name="connsiteX101" fmla="*/ 1953707 w 6689158"/>
                <a:gd name="connsiteY101" fmla="*/ 2533225 h 6689159"/>
                <a:gd name="connsiteX102" fmla="*/ 2046764 w 6689158"/>
                <a:gd name="connsiteY102" fmla="*/ 2419427 h 6689159"/>
                <a:gd name="connsiteX103" fmla="*/ 2304042 w 6689158"/>
                <a:gd name="connsiteY103" fmla="*/ 2155240 h 6689159"/>
                <a:gd name="connsiteX104" fmla="*/ 2679904 w 6689158"/>
                <a:gd name="connsiteY104" fmla="*/ 1840257 h 6689159"/>
                <a:gd name="connsiteX105" fmla="*/ 2839402 w 6689158"/>
                <a:gd name="connsiteY105" fmla="*/ 1728600 h 6689159"/>
                <a:gd name="connsiteX106" fmla="*/ 2839403 w 6689158"/>
                <a:gd name="connsiteY106" fmla="*/ 1728599 h 6689159"/>
                <a:gd name="connsiteX107" fmla="*/ 2180258 w 6689158"/>
                <a:gd name="connsiteY107" fmla="*/ 1049601 h 6689159"/>
                <a:gd name="connsiteX108" fmla="*/ 1958217 w 6689158"/>
                <a:gd name="connsiteY108" fmla="*/ 808450 h 6689159"/>
                <a:gd name="connsiteX109" fmla="*/ 1958215 w 6689158"/>
                <a:gd name="connsiteY109" fmla="*/ 808451 h 6689159"/>
                <a:gd name="connsiteX110" fmla="*/ 1958215 w 6689158"/>
                <a:gd name="connsiteY110" fmla="*/ 808450 h 6689159"/>
                <a:gd name="connsiteX111" fmla="*/ 3344580 w 6689158"/>
                <a:gd name="connsiteY111" fmla="*/ 454327 h 6689159"/>
                <a:gd name="connsiteX112" fmla="*/ 2485108 w 6689158"/>
                <a:gd name="connsiteY112" fmla="*/ 584267 h 6689159"/>
                <a:gd name="connsiteX113" fmla="*/ 2426658 w 6689158"/>
                <a:gd name="connsiteY113" fmla="*/ 605660 h 6689159"/>
                <a:gd name="connsiteX114" fmla="*/ 2608239 w 6689158"/>
                <a:gd name="connsiteY114" fmla="*/ 793623 h 6689159"/>
                <a:gd name="connsiteX115" fmla="*/ 3061380 w 6689158"/>
                <a:gd name="connsiteY115" fmla="*/ 1249579 h 6689159"/>
                <a:gd name="connsiteX116" fmla="*/ 3282982 w 6689158"/>
                <a:gd name="connsiteY116" fmla="*/ 1466429 h 6689159"/>
                <a:gd name="connsiteX117" fmla="*/ 3282982 w 6689158"/>
                <a:gd name="connsiteY117" fmla="*/ 1466430 h 6689159"/>
                <a:gd name="connsiteX118" fmla="*/ 3293669 w 6689158"/>
                <a:gd name="connsiteY118" fmla="*/ 1460635 h 6689159"/>
                <a:gd name="connsiteX119" fmla="*/ 4895242 w 6689158"/>
                <a:gd name="connsiteY119" fmla="*/ 1001928 h 6689159"/>
                <a:gd name="connsiteX120" fmla="*/ 5020677 w 6689158"/>
                <a:gd name="connsiteY120" fmla="*/ 992902 h 6689159"/>
                <a:gd name="connsiteX121" fmla="*/ 4960548 w 6689158"/>
                <a:gd name="connsiteY121" fmla="*/ 947937 h 6689159"/>
                <a:gd name="connsiteX122" fmla="*/ 3344580 w 6689158"/>
                <a:gd name="connsiteY122" fmla="*/ 454327 h 6689159"/>
                <a:gd name="connsiteX123" fmla="*/ 3344579 w 6689158"/>
                <a:gd name="connsiteY123" fmla="*/ 0 h 6689159"/>
                <a:gd name="connsiteX124" fmla="*/ 5709555 w 6689158"/>
                <a:gd name="connsiteY124" fmla="*/ 979605 h 6689159"/>
                <a:gd name="connsiteX125" fmla="*/ 5925421 w 6689158"/>
                <a:gd name="connsiteY125" fmla="*/ 1217117 h 6689159"/>
                <a:gd name="connsiteX126" fmla="*/ 6117959 w 6689158"/>
                <a:gd name="connsiteY126" fmla="*/ 1474595 h 6689159"/>
                <a:gd name="connsiteX127" fmla="*/ 6162894 w 6689158"/>
                <a:gd name="connsiteY127" fmla="*/ 1548561 h 6689159"/>
                <a:gd name="connsiteX128" fmla="*/ 6162893 w 6689158"/>
                <a:gd name="connsiteY128" fmla="*/ 1548563 h 6689159"/>
                <a:gd name="connsiteX129" fmla="*/ 6285487 w 6689158"/>
                <a:gd name="connsiteY129" fmla="*/ 1750355 h 6689159"/>
                <a:gd name="connsiteX130" fmla="*/ 6689158 w 6689158"/>
                <a:gd name="connsiteY130" fmla="*/ 3344580 h 6689159"/>
                <a:gd name="connsiteX131" fmla="*/ 6538793 w 6689158"/>
                <a:gd name="connsiteY131" fmla="*/ 4339156 h 6689159"/>
                <a:gd name="connsiteX132" fmla="*/ 6534721 w 6689158"/>
                <a:gd name="connsiteY132" fmla="*/ 4350281 h 6689159"/>
                <a:gd name="connsiteX133" fmla="*/ 6426326 w 6689158"/>
                <a:gd name="connsiteY133" fmla="*/ 4646440 h 6689159"/>
                <a:gd name="connsiteX134" fmla="*/ 6421122 w 6689158"/>
                <a:gd name="connsiteY134" fmla="*/ 4657245 h 6689159"/>
                <a:gd name="connsiteX135" fmla="*/ 6372396 w 6689158"/>
                <a:gd name="connsiteY135" fmla="*/ 4758392 h 6689159"/>
                <a:gd name="connsiteX136" fmla="*/ 6285487 w 6689158"/>
                <a:gd name="connsiteY136" fmla="*/ 4938805 h 6689159"/>
                <a:gd name="connsiteX137" fmla="*/ 6117958 w 6689158"/>
                <a:gd name="connsiteY137" fmla="*/ 5214566 h 6689159"/>
                <a:gd name="connsiteX138" fmla="*/ 6035322 w 6689158"/>
                <a:gd name="connsiteY138" fmla="*/ 5325072 h 6689159"/>
                <a:gd name="connsiteX139" fmla="*/ 5925420 w 6689158"/>
                <a:gd name="connsiteY139" fmla="*/ 5472042 h 6689159"/>
                <a:gd name="connsiteX140" fmla="*/ 3344580 w 6689158"/>
                <a:gd name="connsiteY140" fmla="*/ 6689159 h 6689159"/>
                <a:gd name="connsiteX141" fmla="*/ 1474594 w 6689158"/>
                <a:gd name="connsiteY141" fmla="*/ 6117958 h 6689159"/>
                <a:gd name="connsiteX142" fmla="*/ 1464440 w 6689158"/>
                <a:gd name="connsiteY142" fmla="*/ 6110366 h 6689159"/>
                <a:gd name="connsiteX143" fmla="*/ 1217117 w 6689158"/>
                <a:gd name="connsiteY143" fmla="*/ 5925420 h 6689159"/>
                <a:gd name="connsiteX144" fmla="*/ 979606 w 6689158"/>
                <a:gd name="connsiteY144" fmla="*/ 5709555 h 6689159"/>
                <a:gd name="connsiteX145" fmla="*/ 941121 w 6689158"/>
                <a:gd name="connsiteY145" fmla="*/ 5667211 h 6689159"/>
                <a:gd name="connsiteX146" fmla="*/ 763739 w 6689158"/>
                <a:gd name="connsiteY146" fmla="*/ 5472043 h 6689159"/>
                <a:gd name="connsiteX147" fmla="*/ 0 w 6689158"/>
                <a:gd name="connsiteY147" fmla="*/ 3344580 h 6689159"/>
                <a:gd name="connsiteX148" fmla="*/ 763739 w 6689158"/>
                <a:gd name="connsiteY148" fmla="*/ 1217118 h 6689159"/>
                <a:gd name="connsiteX149" fmla="*/ 979605 w 6689158"/>
                <a:gd name="connsiteY149" fmla="*/ 979604 h 6689159"/>
                <a:gd name="connsiteX150" fmla="*/ 1217117 w 6689158"/>
                <a:gd name="connsiteY150" fmla="*/ 763739 h 6689159"/>
                <a:gd name="connsiteX151" fmla="*/ 1252792 w 6689158"/>
                <a:gd name="connsiteY151" fmla="*/ 737062 h 6689159"/>
                <a:gd name="connsiteX152" fmla="*/ 1474594 w 6689158"/>
                <a:gd name="connsiteY152" fmla="*/ 571201 h 6689159"/>
                <a:gd name="connsiteX153" fmla="*/ 1650297 w 6689158"/>
                <a:gd name="connsiteY153" fmla="*/ 464459 h 6689159"/>
                <a:gd name="connsiteX154" fmla="*/ 1750354 w 6689158"/>
                <a:gd name="connsiteY154" fmla="*/ 403673 h 6689159"/>
                <a:gd name="connsiteX155" fmla="*/ 2042719 w 6689158"/>
                <a:gd name="connsiteY155" fmla="*/ 262835 h 6689159"/>
                <a:gd name="connsiteX156" fmla="*/ 2083584 w 6689158"/>
                <a:gd name="connsiteY156" fmla="*/ 247876 h 6689159"/>
                <a:gd name="connsiteX157" fmla="*/ 2350003 w 6689158"/>
                <a:gd name="connsiteY157" fmla="*/ 150366 h 6689159"/>
                <a:gd name="connsiteX158" fmla="*/ 3344579 w 6689158"/>
                <a:gd name="connsiteY158" fmla="*/ 0 h 66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689158" h="6689159">
                  <a:moveTo>
                    <a:pt x="2177650" y="4188652"/>
                  </a:moveTo>
                  <a:lnTo>
                    <a:pt x="2117889" y="4221089"/>
                  </a:lnTo>
                  <a:cubicBezTo>
                    <a:pt x="2038196" y="4254797"/>
                    <a:pt x="1952555" y="4277204"/>
                    <a:pt x="1862982" y="4286300"/>
                  </a:cubicBezTo>
                  <a:lnTo>
                    <a:pt x="1796860" y="4289641"/>
                  </a:lnTo>
                  <a:lnTo>
                    <a:pt x="1788544" y="4308481"/>
                  </a:lnTo>
                  <a:cubicBezTo>
                    <a:pt x="1649933" y="4662588"/>
                    <a:pt x="1555530" y="5035690"/>
                    <a:pt x="1505667" y="5419718"/>
                  </a:cubicBezTo>
                  <a:lnTo>
                    <a:pt x="1490555" y="5560700"/>
                  </a:lnTo>
                  <a:lnTo>
                    <a:pt x="1506111" y="5574838"/>
                  </a:lnTo>
                  <a:cubicBezTo>
                    <a:pt x="2005718" y="5987150"/>
                    <a:pt x="2646224" y="6234831"/>
                    <a:pt x="3344580" y="6234832"/>
                  </a:cubicBezTo>
                  <a:cubicBezTo>
                    <a:pt x="4142701" y="6234832"/>
                    <a:pt x="4865264" y="5911329"/>
                    <a:pt x="5388297" y="5388296"/>
                  </a:cubicBezTo>
                  <a:lnTo>
                    <a:pt x="5390660" y="5385697"/>
                  </a:lnTo>
                  <a:lnTo>
                    <a:pt x="5273213" y="5388582"/>
                  </a:lnTo>
                  <a:cubicBezTo>
                    <a:pt x="5000604" y="5388582"/>
                    <a:pt x="4733644" y="5365097"/>
                    <a:pt x="4474354" y="5320095"/>
                  </a:cubicBezTo>
                  <a:lnTo>
                    <a:pt x="4280135" y="5277799"/>
                  </a:lnTo>
                  <a:lnTo>
                    <a:pt x="4254882" y="5324324"/>
                  </a:lnTo>
                  <a:cubicBezTo>
                    <a:pt x="4147754" y="5482893"/>
                    <a:pt x="3966336" y="5587147"/>
                    <a:pt x="3760568" y="5587147"/>
                  </a:cubicBezTo>
                  <a:cubicBezTo>
                    <a:pt x="3431341" y="5587148"/>
                    <a:pt x="3164448" y="5320255"/>
                    <a:pt x="3164448" y="4991027"/>
                  </a:cubicBezTo>
                  <a:lnTo>
                    <a:pt x="3175376" y="4882633"/>
                  </a:lnTo>
                  <a:lnTo>
                    <a:pt x="3026882" y="4807637"/>
                  </a:lnTo>
                  <a:cubicBezTo>
                    <a:pt x="2806384" y="4684443"/>
                    <a:pt x="2597608" y="4543671"/>
                    <a:pt x="2402585" y="4387289"/>
                  </a:cubicBezTo>
                  <a:lnTo>
                    <a:pt x="2177650" y="4188652"/>
                  </a:lnTo>
                  <a:close/>
                  <a:moveTo>
                    <a:pt x="3414840" y="2285703"/>
                  </a:moveTo>
                  <a:lnTo>
                    <a:pt x="3364850" y="2318041"/>
                  </a:lnTo>
                  <a:cubicBezTo>
                    <a:pt x="3184029" y="2441699"/>
                    <a:pt x="3011417" y="2580194"/>
                    <a:pt x="2848518" y="2733562"/>
                  </a:cubicBezTo>
                  <a:cubicBezTo>
                    <a:pt x="2794219" y="2784685"/>
                    <a:pt x="2741504" y="2836983"/>
                    <a:pt x="2690374" y="2890404"/>
                  </a:cubicBezTo>
                  <a:lnTo>
                    <a:pt x="2571277" y="3021477"/>
                  </a:lnTo>
                  <a:lnTo>
                    <a:pt x="2590552" y="3056989"/>
                  </a:lnTo>
                  <a:cubicBezTo>
                    <a:pt x="2635496" y="3163249"/>
                    <a:pt x="2660350" y="3280075"/>
                    <a:pt x="2660349" y="3402707"/>
                  </a:cubicBezTo>
                  <a:cubicBezTo>
                    <a:pt x="2660349" y="3525339"/>
                    <a:pt x="2635496" y="3642166"/>
                    <a:pt x="2590552" y="3748426"/>
                  </a:cubicBezTo>
                  <a:lnTo>
                    <a:pt x="2530886" y="3858356"/>
                  </a:lnTo>
                  <a:lnTo>
                    <a:pt x="2709229" y="4015297"/>
                  </a:lnTo>
                  <a:cubicBezTo>
                    <a:pt x="2883421" y="4154485"/>
                    <a:pt x="3069894" y="4279782"/>
                    <a:pt x="3266837" y="4389432"/>
                  </a:cubicBezTo>
                  <a:lnTo>
                    <a:pt x="3452642" y="4482945"/>
                  </a:lnTo>
                  <a:lnTo>
                    <a:pt x="3528532" y="4441753"/>
                  </a:lnTo>
                  <a:cubicBezTo>
                    <a:pt x="3599851" y="4411587"/>
                    <a:pt x="3678262" y="4394906"/>
                    <a:pt x="3760569" y="4394906"/>
                  </a:cubicBezTo>
                  <a:cubicBezTo>
                    <a:pt x="4007489" y="4394906"/>
                    <a:pt x="4219347" y="4545034"/>
                    <a:pt x="4309843" y="4758990"/>
                  </a:cubicBezTo>
                  <a:lnTo>
                    <a:pt x="4320607" y="4793664"/>
                  </a:lnTo>
                  <a:lnTo>
                    <a:pt x="4559688" y="4845550"/>
                  </a:lnTo>
                  <a:cubicBezTo>
                    <a:pt x="4791281" y="4885605"/>
                    <a:pt x="5029726" y="4906507"/>
                    <a:pt x="5273213" y="4906508"/>
                  </a:cubicBezTo>
                  <a:cubicBezTo>
                    <a:pt x="5412349" y="4906509"/>
                    <a:pt x="5549838" y="4899682"/>
                    <a:pt x="5685342" y="4886359"/>
                  </a:cubicBezTo>
                  <a:lnTo>
                    <a:pt x="5794448" y="4872934"/>
                  </a:lnTo>
                  <a:lnTo>
                    <a:pt x="5885995" y="4722245"/>
                  </a:lnTo>
                  <a:cubicBezTo>
                    <a:pt x="5930488" y="4640341"/>
                    <a:pt x="5971138" y="4556042"/>
                    <a:pt x="6007702" y="4469596"/>
                  </a:cubicBezTo>
                  <a:lnTo>
                    <a:pt x="6025566" y="4420788"/>
                  </a:lnTo>
                  <a:lnTo>
                    <a:pt x="5774209" y="4251797"/>
                  </a:lnTo>
                  <a:cubicBezTo>
                    <a:pt x="5695392" y="4196988"/>
                    <a:pt x="5614173" y="4138974"/>
                    <a:pt x="5530775" y="4077911"/>
                  </a:cubicBezTo>
                  <a:lnTo>
                    <a:pt x="5435413" y="4006461"/>
                  </a:lnTo>
                  <a:lnTo>
                    <a:pt x="5428090" y="4012503"/>
                  </a:lnTo>
                  <a:cubicBezTo>
                    <a:pt x="5324966" y="4082173"/>
                    <a:pt x="5200649" y="4122851"/>
                    <a:pt x="5066831" y="4122852"/>
                  </a:cubicBezTo>
                  <a:cubicBezTo>
                    <a:pt x="4709982" y="4122851"/>
                    <a:pt x="4420700" y="3833569"/>
                    <a:pt x="4420700" y="3476722"/>
                  </a:cubicBezTo>
                  <a:cubicBezTo>
                    <a:pt x="4420700" y="3432115"/>
                    <a:pt x="4425221" y="3388566"/>
                    <a:pt x="4433828" y="3346504"/>
                  </a:cubicBezTo>
                  <a:lnTo>
                    <a:pt x="4468981" y="3233259"/>
                  </a:lnTo>
                  <a:lnTo>
                    <a:pt x="4439706" y="3208684"/>
                  </a:lnTo>
                  <a:cubicBezTo>
                    <a:pt x="4147944" y="2959751"/>
                    <a:pt x="3844619" y="2688962"/>
                    <a:pt x="3535763" y="2400517"/>
                  </a:cubicBezTo>
                  <a:lnTo>
                    <a:pt x="3414840" y="2285703"/>
                  </a:lnTo>
                  <a:close/>
                  <a:moveTo>
                    <a:pt x="851869" y="1886744"/>
                  </a:moveTo>
                  <a:lnTo>
                    <a:pt x="803165" y="1966913"/>
                  </a:lnTo>
                  <a:cubicBezTo>
                    <a:pt x="580695" y="2376442"/>
                    <a:pt x="454327" y="2845754"/>
                    <a:pt x="454328" y="3344581"/>
                  </a:cubicBezTo>
                  <a:cubicBezTo>
                    <a:pt x="454328" y="3943171"/>
                    <a:pt x="636299" y="4499261"/>
                    <a:pt x="947938" y="4960549"/>
                  </a:cubicBezTo>
                  <a:lnTo>
                    <a:pt x="959588" y="4976126"/>
                  </a:lnTo>
                  <a:lnTo>
                    <a:pt x="959588" y="4976125"/>
                  </a:lnTo>
                  <a:lnTo>
                    <a:pt x="964880" y="4912286"/>
                  </a:lnTo>
                  <a:cubicBezTo>
                    <a:pt x="990878" y="4670949"/>
                    <a:pt x="1034536" y="4433392"/>
                    <a:pt x="1095934" y="4201672"/>
                  </a:cubicBezTo>
                  <a:lnTo>
                    <a:pt x="1147594" y="4033598"/>
                  </a:lnTo>
                  <a:lnTo>
                    <a:pt x="1144134" y="4030744"/>
                  </a:lnTo>
                  <a:cubicBezTo>
                    <a:pt x="983406" y="3870015"/>
                    <a:pt x="883992" y="3647972"/>
                    <a:pt x="883992" y="3402708"/>
                  </a:cubicBezTo>
                  <a:cubicBezTo>
                    <a:pt x="883992" y="3157445"/>
                    <a:pt x="983406" y="2935399"/>
                    <a:pt x="1144135" y="2774670"/>
                  </a:cubicBezTo>
                  <a:lnTo>
                    <a:pt x="1146941" y="2772355"/>
                  </a:lnTo>
                  <a:lnTo>
                    <a:pt x="1073336" y="2611529"/>
                  </a:lnTo>
                  <a:cubicBezTo>
                    <a:pt x="979051" y="2379203"/>
                    <a:pt x="904593" y="2137173"/>
                    <a:pt x="851993" y="1887409"/>
                  </a:cubicBezTo>
                  <a:cubicBezTo>
                    <a:pt x="851952" y="1887187"/>
                    <a:pt x="851910" y="1886966"/>
                    <a:pt x="851869" y="1886744"/>
                  </a:cubicBezTo>
                  <a:close/>
                  <a:moveTo>
                    <a:pt x="5741222" y="1728614"/>
                  </a:moveTo>
                  <a:lnTo>
                    <a:pt x="5611312" y="1554887"/>
                  </a:lnTo>
                  <a:lnTo>
                    <a:pt x="5610671" y="1554917"/>
                  </a:lnTo>
                  <a:cubicBezTo>
                    <a:pt x="5021968" y="1595521"/>
                    <a:pt x="4452369" y="1740883"/>
                    <a:pt x="3930424" y="1991564"/>
                  </a:cubicBezTo>
                  <a:lnTo>
                    <a:pt x="3863712" y="2025688"/>
                  </a:lnTo>
                  <a:lnTo>
                    <a:pt x="3998266" y="2153752"/>
                  </a:lnTo>
                  <a:cubicBezTo>
                    <a:pt x="4155631" y="2301454"/>
                    <a:pt x="4313025" y="2447127"/>
                    <a:pt x="4470031" y="2590407"/>
                  </a:cubicBezTo>
                  <a:lnTo>
                    <a:pt x="4801691" y="2888769"/>
                  </a:lnTo>
                  <a:lnTo>
                    <a:pt x="4815328" y="2881367"/>
                  </a:lnTo>
                  <a:cubicBezTo>
                    <a:pt x="4892631" y="2848671"/>
                    <a:pt x="4977620" y="2830591"/>
                    <a:pt x="5066831" y="2830591"/>
                  </a:cubicBezTo>
                  <a:cubicBezTo>
                    <a:pt x="5423680" y="2830591"/>
                    <a:pt x="5712962" y="3119873"/>
                    <a:pt x="5712962" y="3476722"/>
                  </a:cubicBezTo>
                  <a:cubicBezTo>
                    <a:pt x="5712962" y="3521327"/>
                    <a:pt x="5708442" y="3564877"/>
                    <a:pt x="5699834" y="3606939"/>
                  </a:cubicBezTo>
                  <a:lnTo>
                    <a:pt x="5684600" y="3656022"/>
                  </a:lnTo>
                  <a:lnTo>
                    <a:pt x="5861148" y="3805497"/>
                  </a:lnTo>
                  <a:lnTo>
                    <a:pt x="6147161" y="4039666"/>
                  </a:lnTo>
                  <a:lnTo>
                    <a:pt x="6147160" y="4039665"/>
                  </a:lnTo>
                  <a:lnTo>
                    <a:pt x="6176112" y="3927066"/>
                  </a:lnTo>
                  <a:cubicBezTo>
                    <a:pt x="6214612" y="3738918"/>
                    <a:pt x="6234831" y="3544110"/>
                    <a:pt x="6234832" y="3344579"/>
                  </a:cubicBezTo>
                  <a:cubicBezTo>
                    <a:pt x="6234832" y="2745990"/>
                    <a:pt x="6052862" y="2189901"/>
                    <a:pt x="5741222" y="1728614"/>
                  </a:cubicBezTo>
                  <a:close/>
                  <a:moveTo>
                    <a:pt x="1958215" y="808450"/>
                  </a:moveTo>
                  <a:lnTo>
                    <a:pt x="1728612" y="947938"/>
                  </a:lnTo>
                  <a:cubicBezTo>
                    <a:pt x="1574851" y="1051818"/>
                    <a:pt x="1431621" y="1170105"/>
                    <a:pt x="1300863" y="1300863"/>
                  </a:cubicBezTo>
                  <a:lnTo>
                    <a:pt x="1258822" y="1347119"/>
                  </a:lnTo>
                  <a:cubicBezTo>
                    <a:pt x="1258822" y="1347120"/>
                    <a:pt x="1258823" y="1347120"/>
                    <a:pt x="1258823" y="1347121"/>
                  </a:cubicBezTo>
                  <a:lnTo>
                    <a:pt x="1263190" y="1402742"/>
                  </a:lnTo>
                  <a:cubicBezTo>
                    <a:pt x="1299315" y="1747145"/>
                    <a:pt x="1381685" y="2078308"/>
                    <a:pt x="1504198" y="2390321"/>
                  </a:cubicBezTo>
                  <a:lnTo>
                    <a:pt x="1570031" y="2538525"/>
                  </a:lnTo>
                  <a:lnTo>
                    <a:pt x="1593172" y="2532572"/>
                  </a:lnTo>
                  <a:cubicBezTo>
                    <a:pt x="1650990" y="2520742"/>
                    <a:pt x="1710855" y="2514529"/>
                    <a:pt x="1772170" y="2514528"/>
                  </a:cubicBezTo>
                  <a:cubicBezTo>
                    <a:pt x="1833487" y="2514528"/>
                    <a:pt x="1893351" y="2520742"/>
                    <a:pt x="1951170" y="2532573"/>
                  </a:cubicBezTo>
                  <a:lnTo>
                    <a:pt x="1953707" y="2533225"/>
                  </a:lnTo>
                  <a:lnTo>
                    <a:pt x="2046764" y="2419427"/>
                  </a:lnTo>
                  <a:cubicBezTo>
                    <a:pt x="2128031" y="2328363"/>
                    <a:pt x="2213787" y="2240216"/>
                    <a:pt x="2304042" y="2155240"/>
                  </a:cubicBezTo>
                  <a:cubicBezTo>
                    <a:pt x="2424382" y="2041945"/>
                    <a:pt x="2549872" y="1936968"/>
                    <a:pt x="2679904" y="1840257"/>
                  </a:cubicBezTo>
                  <a:lnTo>
                    <a:pt x="2839402" y="1728600"/>
                  </a:lnTo>
                  <a:lnTo>
                    <a:pt x="2839403" y="1728599"/>
                  </a:lnTo>
                  <a:lnTo>
                    <a:pt x="2180258" y="1049601"/>
                  </a:lnTo>
                  <a:lnTo>
                    <a:pt x="1958217" y="808450"/>
                  </a:lnTo>
                  <a:cubicBezTo>
                    <a:pt x="1958215" y="808450"/>
                    <a:pt x="1958216" y="808451"/>
                    <a:pt x="1958215" y="808451"/>
                  </a:cubicBezTo>
                  <a:lnTo>
                    <a:pt x="1958215" y="808450"/>
                  </a:lnTo>
                  <a:close/>
                  <a:moveTo>
                    <a:pt x="3344580" y="454327"/>
                  </a:moveTo>
                  <a:cubicBezTo>
                    <a:pt x="3045285" y="454327"/>
                    <a:pt x="2756615" y="499820"/>
                    <a:pt x="2485108" y="584267"/>
                  </a:cubicBezTo>
                  <a:lnTo>
                    <a:pt x="2426658" y="605660"/>
                  </a:lnTo>
                  <a:lnTo>
                    <a:pt x="2608239" y="793623"/>
                  </a:lnTo>
                  <a:cubicBezTo>
                    <a:pt x="2757007" y="945441"/>
                    <a:pt x="2908179" y="1097562"/>
                    <a:pt x="3061380" y="1249579"/>
                  </a:cubicBezTo>
                  <a:lnTo>
                    <a:pt x="3282982" y="1466429"/>
                  </a:lnTo>
                  <a:lnTo>
                    <a:pt x="3282982" y="1466430"/>
                  </a:lnTo>
                  <a:lnTo>
                    <a:pt x="3293669" y="1460635"/>
                  </a:lnTo>
                  <a:cubicBezTo>
                    <a:pt x="3791705" y="1208444"/>
                    <a:pt x="4334237" y="1056393"/>
                    <a:pt x="4895242" y="1001928"/>
                  </a:cubicBezTo>
                  <a:lnTo>
                    <a:pt x="5020677" y="992902"/>
                  </a:lnTo>
                  <a:lnTo>
                    <a:pt x="4960548" y="947937"/>
                  </a:lnTo>
                  <a:cubicBezTo>
                    <a:pt x="4499260" y="636298"/>
                    <a:pt x="3943171" y="454328"/>
                    <a:pt x="3344580" y="454327"/>
                  </a:cubicBezTo>
                  <a:close/>
                  <a:moveTo>
                    <a:pt x="3344579" y="0"/>
                  </a:moveTo>
                  <a:cubicBezTo>
                    <a:pt x="4268160" y="-1"/>
                    <a:pt x="5104305" y="374355"/>
                    <a:pt x="5709555" y="979605"/>
                  </a:cubicBezTo>
                  <a:lnTo>
                    <a:pt x="5925421" y="1217117"/>
                  </a:lnTo>
                  <a:cubicBezTo>
                    <a:pt x="5993582" y="1299709"/>
                    <a:pt x="6057852" y="1385627"/>
                    <a:pt x="6117959" y="1474595"/>
                  </a:cubicBezTo>
                  <a:lnTo>
                    <a:pt x="6162894" y="1548561"/>
                  </a:lnTo>
                  <a:cubicBezTo>
                    <a:pt x="6162893" y="1548562"/>
                    <a:pt x="6162894" y="1548563"/>
                    <a:pt x="6162893" y="1548563"/>
                  </a:cubicBezTo>
                  <a:lnTo>
                    <a:pt x="6285487" y="1750355"/>
                  </a:lnTo>
                  <a:cubicBezTo>
                    <a:pt x="6542927" y="2224259"/>
                    <a:pt x="6689159" y="2767342"/>
                    <a:pt x="6689158" y="3344580"/>
                  </a:cubicBezTo>
                  <a:cubicBezTo>
                    <a:pt x="6689160" y="3690923"/>
                    <a:pt x="6636516" y="4024970"/>
                    <a:pt x="6538793" y="4339156"/>
                  </a:cubicBezTo>
                  <a:lnTo>
                    <a:pt x="6534721" y="4350281"/>
                  </a:lnTo>
                  <a:lnTo>
                    <a:pt x="6426326" y="4646440"/>
                  </a:lnTo>
                  <a:lnTo>
                    <a:pt x="6421122" y="4657245"/>
                  </a:lnTo>
                  <a:lnTo>
                    <a:pt x="6372396" y="4758392"/>
                  </a:lnTo>
                  <a:lnTo>
                    <a:pt x="6285487" y="4938805"/>
                  </a:lnTo>
                  <a:cubicBezTo>
                    <a:pt x="6233999" y="5033584"/>
                    <a:pt x="6178063" y="5125599"/>
                    <a:pt x="6117958" y="5214566"/>
                  </a:cubicBezTo>
                  <a:lnTo>
                    <a:pt x="6035322" y="5325072"/>
                  </a:lnTo>
                  <a:lnTo>
                    <a:pt x="5925420" y="5472042"/>
                  </a:lnTo>
                  <a:cubicBezTo>
                    <a:pt x="5311975" y="6215366"/>
                    <a:pt x="4383609" y="6689158"/>
                    <a:pt x="3344580" y="6689159"/>
                  </a:cubicBezTo>
                  <a:cubicBezTo>
                    <a:pt x="2651895" y="6689159"/>
                    <a:pt x="2008392" y="6478585"/>
                    <a:pt x="1474594" y="6117958"/>
                  </a:cubicBezTo>
                  <a:lnTo>
                    <a:pt x="1464440" y="6110366"/>
                  </a:lnTo>
                  <a:lnTo>
                    <a:pt x="1217117" y="5925420"/>
                  </a:lnTo>
                  <a:cubicBezTo>
                    <a:pt x="1134526" y="5857259"/>
                    <a:pt x="1055262" y="5785212"/>
                    <a:pt x="979606" y="5709555"/>
                  </a:cubicBezTo>
                  <a:lnTo>
                    <a:pt x="941121" y="5667211"/>
                  </a:lnTo>
                  <a:lnTo>
                    <a:pt x="763739" y="5472043"/>
                  </a:lnTo>
                  <a:cubicBezTo>
                    <a:pt x="286616" y="4893903"/>
                    <a:pt x="1" y="4152713"/>
                    <a:pt x="0" y="3344580"/>
                  </a:cubicBezTo>
                  <a:cubicBezTo>
                    <a:pt x="0" y="2536448"/>
                    <a:pt x="286616" y="1795258"/>
                    <a:pt x="763739" y="1217118"/>
                  </a:cubicBezTo>
                  <a:lnTo>
                    <a:pt x="979605" y="979604"/>
                  </a:lnTo>
                  <a:cubicBezTo>
                    <a:pt x="1055262" y="903949"/>
                    <a:pt x="1134525" y="831900"/>
                    <a:pt x="1217117" y="763739"/>
                  </a:cubicBezTo>
                  <a:lnTo>
                    <a:pt x="1252792" y="737062"/>
                  </a:lnTo>
                  <a:lnTo>
                    <a:pt x="1474594" y="571201"/>
                  </a:lnTo>
                  <a:lnTo>
                    <a:pt x="1650297" y="464459"/>
                  </a:lnTo>
                  <a:lnTo>
                    <a:pt x="1750354" y="403673"/>
                  </a:lnTo>
                  <a:cubicBezTo>
                    <a:pt x="1845135" y="352185"/>
                    <a:pt x="1942683" y="305145"/>
                    <a:pt x="2042719" y="262835"/>
                  </a:cubicBezTo>
                  <a:lnTo>
                    <a:pt x="2083584" y="247876"/>
                  </a:lnTo>
                  <a:lnTo>
                    <a:pt x="2350003" y="150366"/>
                  </a:lnTo>
                  <a:cubicBezTo>
                    <a:pt x="2664191" y="52644"/>
                    <a:pt x="2998237" y="0"/>
                    <a:pt x="3344579"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 name="Straight Arrow Connector 23">
              <a:extLst>
                <a:ext uri="{FF2B5EF4-FFF2-40B4-BE49-F238E27FC236}">
                  <a16:creationId xmlns:a16="http://schemas.microsoft.com/office/drawing/2014/main" id="{C5DED01C-E93D-E62D-6AD2-3A0BB3BBF82A}"/>
                </a:ext>
              </a:extLst>
            </p:cNvPr>
            <p:cNvCxnSpPr>
              <a:cxnSpLocks/>
            </p:cNvCxnSpPr>
            <p:nvPr/>
          </p:nvCxnSpPr>
          <p:spPr>
            <a:xfrm flipV="1">
              <a:off x="760423" y="2806083"/>
              <a:ext cx="0" cy="307882"/>
            </a:xfrm>
            <a:prstGeom prst="straightConnector1">
              <a:avLst/>
            </a:prstGeom>
            <a:noFill/>
            <a:ln w="12700" cap="flat" cmpd="sng" algn="ctr">
              <a:solidFill>
                <a:srgbClr val="0078D4"/>
              </a:solidFill>
              <a:prstDash val="solid"/>
              <a:headEnd type="none"/>
              <a:tailEnd type="triangle"/>
            </a:ln>
            <a:effectLst/>
          </p:spPr>
        </p:cxnSp>
        <p:sp>
          <p:nvSpPr>
            <p:cNvPr id="25" name="TextBox 24">
              <a:extLst>
                <a:ext uri="{FF2B5EF4-FFF2-40B4-BE49-F238E27FC236}">
                  <a16:creationId xmlns:a16="http://schemas.microsoft.com/office/drawing/2014/main" id="{CDC21B33-10F2-F471-75A1-EDDEA1E0ACE7}"/>
                </a:ext>
              </a:extLst>
            </p:cNvPr>
            <p:cNvSpPr txBox="1"/>
            <p:nvPr/>
          </p:nvSpPr>
          <p:spPr>
            <a:xfrm>
              <a:off x="1939644" y="1824167"/>
              <a:ext cx="2012805" cy="67710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78D4"/>
                  </a:solidFill>
                  <a:effectLst/>
                  <a:uLnTx/>
                  <a:uFillTx/>
                  <a:latin typeface="Segoe UI Semibold"/>
                </a:rPr>
                <a:t>If data is structured, customer may not require enrichment and can head straight to indexing</a:t>
              </a:r>
            </a:p>
          </p:txBody>
        </p:sp>
        <p:sp>
          <p:nvSpPr>
            <p:cNvPr id="26" name="TextBox 25">
              <a:extLst>
                <a:ext uri="{FF2B5EF4-FFF2-40B4-BE49-F238E27FC236}">
                  <a16:creationId xmlns:a16="http://schemas.microsoft.com/office/drawing/2014/main" id="{1E2D74DA-365B-EC79-A5B5-7FE7D277297E}"/>
                </a:ext>
              </a:extLst>
            </p:cNvPr>
            <p:cNvSpPr txBox="1"/>
            <p:nvPr/>
          </p:nvSpPr>
          <p:spPr>
            <a:xfrm>
              <a:off x="1975619" y="2796577"/>
              <a:ext cx="1976829" cy="5078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4"/>
                  </a:solidFill>
                  <a:effectLst/>
                  <a:uLnTx/>
                  <a:uFillTx/>
                  <a:latin typeface="Segoe UI Semibold"/>
                </a:rPr>
                <a:t>If data is unstructured, data requires enrichment via built in or custom skills enrichment</a:t>
              </a:r>
            </a:p>
          </p:txBody>
        </p:sp>
        <p:cxnSp>
          <p:nvCxnSpPr>
            <p:cNvPr id="27" name="Straight Arrow Connector 26">
              <a:extLst>
                <a:ext uri="{FF2B5EF4-FFF2-40B4-BE49-F238E27FC236}">
                  <a16:creationId xmlns:a16="http://schemas.microsoft.com/office/drawing/2014/main" id="{BD37FB6C-BE3E-B86F-AC19-06F57709E66F}"/>
                </a:ext>
              </a:extLst>
            </p:cNvPr>
            <p:cNvCxnSpPr>
              <a:cxnSpLocks/>
            </p:cNvCxnSpPr>
            <p:nvPr/>
          </p:nvCxnSpPr>
          <p:spPr>
            <a:xfrm>
              <a:off x="4094174" y="3285375"/>
              <a:ext cx="530607" cy="0"/>
            </a:xfrm>
            <a:prstGeom prst="straightConnector1">
              <a:avLst/>
            </a:prstGeom>
            <a:noFill/>
            <a:ln w="12700" cap="flat" cmpd="sng" algn="ctr">
              <a:solidFill>
                <a:srgbClr val="0078D4"/>
              </a:solidFill>
              <a:prstDash val="solid"/>
              <a:headEnd type="none"/>
              <a:tailEnd type="triangle"/>
            </a:ln>
            <a:effectLst/>
          </p:spPr>
        </p:cxnSp>
        <p:sp>
          <p:nvSpPr>
            <p:cNvPr id="28" name="TextBox 27">
              <a:extLst>
                <a:ext uri="{FF2B5EF4-FFF2-40B4-BE49-F238E27FC236}">
                  <a16:creationId xmlns:a16="http://schemas.microsoft.com/office/drawing/2014/main" id="{B9820383-45D9-33E7-9481-30AEEF4BC384}"/>
                </a:ext>
              </a:extLst>
            </p:cNvPr>
            <p:cNvSpPr txBox="1"/>
            <p:nvPr/>
          </p:nvSpPr>
          <p:spPr>
            <a:xfrm>
              <a:off x="4536955" y="2928246"/>
              <a:ext cx="1705097" cy="507831"/>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4"/>
                  </a:solidFill>
                  <a:effectLst/>
                  <a:uLnTx/>
                  <a:uFillTx/>
                  <a:latin typeface="Segoe UI Semibold"/>
                </a:rPr>
                <a:t>Built-in skill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4"/>
                  </a:solidFill>
                  <a:effectLst/>
                  <a:uLnTx/>
                  <a:uFillTx/>
                  <a:latin typeface="Segoe UI Semibold"/>
                </a:rPr>
                <a:t>(Azure AI Text Analytics, Azure AI Vision)</a:t>
              </a:r>
              <a:endParaRPr kumimoji="0" lang="en-US" sz="1100" b="0" i="0" u="none" strike="noStrike" kern="0" cap="none" spc="0" normalizeH="0" baseline="0" noProof="0" dirty="0">
                <a:ln>
                  <a:noFill/>
                </a:ln>
                <a:solidFill>
                  <a:srgbClr val="0078D4"/>
                </a:solidFill>
                <a:effectLst/>
                <a:uLnTx/>
                <a:uFillTx/>
                <a:latin typeface="Segoe UI Semibold"/>
                <a:cs typeface="Segoe UI Semibold"/>
              </a:endParaRPr>
            </a:p>
          </p:txBody>
        </p:sp>
        <p:cxnSp>
          <p:nvCxnSpPr>
            <p:cNvPr id="29" name="Straight Arrow Connector 28">
              <a:extLst>
                <a:ext uri="{FF2B5EF4-FFF2-40B4-BE49-F238E27FC236}">
                  <a16:creationId xmlns:a16="http://schemas.microsoft.com/office/drawing/2014/main" id="{E2917B34-462B-66A0-2E51-E1A23B3E12C1}"/>
                </a:ext>
              </a:extLst>
            </p:cNvPr>
            <p:cNvCxnSpPr>
              <a:cxnSpLocks/>
            </p:cNvCxnSpPr>
            <p:nvPr/>
          </p:nvCxnSpPr>
          <p:spPr>
            <a:xfrm flipV="1">
              <a:off x="4094174" y="2340326"/>
              <a:ext cx="3207132" cy="17072"/>
            </a:xfrm>
            <a:prstGeom prst="straightConnector1">
              <a:avLst/>
            </a:prstGeom>
            <a:noFill/>
            <a:ln w="12700" cap="flat" cmpd="sng" algn="ctr">
              <a:solidFill>
                <a:srgbClr val="0078D4"/>
              </a:solidFill>
              <a:prstDash val="solid"/>
              <a:headEnd type="none"/>
              <a:tailEnd type="triangle"/>
            </a:ln>
            <a:effectLst/>
          </p:spPr>
        </p:cxnSp>
        <p:grpSp>
          <p:nvGrpSpPr>
            <p:cNvPr id="30" name="Group 29">
              <a:extLst>
                <a:ext uri="{FF2B5EF4-FFF2-40B4-BE49-F238E27FC236}">
                  <a16:creationId xmlns:a16="http://schemas.microsoft.com/office/drawing/2014/main" id="{5D09A738-0896-222F-ECB9-296470119CA0}"/>
                </a:ext>
              </a:extLst>
            </p:cNvPr>
            <p:cNvGrpSpPr/>
            <p:nvPr/>
          </p:nvGrpSpPr>
          <p:grpSpPr>
            <a:xfrm>
              <a:off x="4584211" y="3665156"/>
              <a:ext cx="813738" cy="623769"/>
              <a:chOff x="3835463" y="2177947"/>
              <a:chExt cx="813738" cy="623769"/>
            </a:xfrm>
          </p:grpSpPr>
          <p:sp>
            <p:nvSpPr>
              <p:cNvPr id="50" name="TextBox 49">
                <a:extLst>
                  <a:ext uri="{FF2B5EF4-FFF2-40B4-BE49-F238E27FC236}">
                    <a16:creationId xmlns:a16="http://schemas.microsoft.com/office/drawing/2014/main" id="{35273D0B-9FDC-54FB-3C26-9AC853F82133}"/>
                  </a:ext>
                </a:extLst>
              </p:cNvPr>
              <p:cNvSpPr txBox="1"/>
              <p:nvPr/>
            </p:nvSpPr>
            <p:spPr>
              <a:xfrm>
                <a:off x="3835463" y="2463162"/>
                <a:ext cx="813738" cy="338554"/>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Azure AI Text Analytics </a:t>
                </a:r>
              </a:p>
            </p:txBody>
          </p:sp>
          <p:grpSp>
            <p:nvGrpSpPr>
              <p:cNvPr id="51" name="Group 50">
                <a:extLst>
                  <a:ext uri="{FF2B5EF4-FFF2-40B4-BE49-F238E27FC236}">
                    <a16:creationId xmlns:a16="http://schemas.microsoft.com/office/drawing/2014/main" id="{0DA77C0D-B13F-393D-13A8-C9263EF734EE}"/>
                  </a:ext>
                </a:extLst>
              </p:cNvPr>
              <p:cNvGrpSpPr/>
              <p:nvPr/>
            </p:nvGrpSpPr>
            <p:grpSpPr>
              <a:xfrm>
                <a:off x="4028111" y="2177947"/>
                <a:ext cx="460524" cy="311780"/>
                <a:chOff x="5060283" y="3583077"/>
                <a:chExt cx="370417" cy="217531"/>
              </a:xfrm>
            </p:grpSpPr>
            <p:sp>
              <p:nvSpPr>
                <p:cNvPr id="52" name="Graphic 569">
                  <a:extLst>
                    <a:ext uri="{FF2B5EF4-FFF2-40B4-BE49-F238E27FC236}">
                      <a16:creationId xmlns:a16="http://schemas.microsoft.com/office/drawing/2014/main" id="{718C9322-BE3A-CEF5-0979-14E0426D34EB}"/>
                    </a:ext>
                  </a:extLst>
                </p:cNvPr>
                <p:cNvSpPr/>
                <p:nvPr/>
              </p:nvSpPr>
              <p:spPr>
                <a:xfrm>
                  <a:off x="5256593" y="3583077"/>
                  <a:ext cx="174107" cy="217531"/>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26029 w 361890"/>
                    <a:gd name="connsiteY2" fmla="*/ 137119 h 320718"/>
                    <a:gd name="connsiteX3" fmla="*/ 128287 w 361890"/>
                    <a:gd name="connsiteY3" fmla="*/ 137119 h 320718"/>
                    <a:gd name="connsiteX4" fmla="*/ 286787 w 361890"/>
                    <a:gd name="connsiteY4" fmla="*/ 320718 h 320718"/>
                    <a:gd name="connsiteX5" fmla="*/ 361622 w 361890"/>
                    <a:gd name="connsiteY5" fmla="*/ 251462 h 320718"/>
                    <a:gd name="connsiteX6" fmla="*/ 225432 w 361890"/>
                    <a:gd name="connsiteY6" fmla="*/ 224968 h 320718"/>
                    <a:gd name="connsiteX7" fmla="*/ 237053 w 361890"/>
                    <a:gd name="connsiteY7" fmla="*/ 299337 h 320718"/>
                    <a:gd name="connsiteX8" fmla="*/ 315605 w 361890"/>
                    <a:gd name="connsiteY8" fmla="*/ 187318 h 320718"/>
                    <a:gd name="connsiteX9" fmla="*/ 253321 w 361890"/>
                    <a:gd name="connsiteY9" fmla="*/ 103188 h 320718"/>
                    <a:gd name="connsiteX10" fmla="*/ 264012 w 361890"/>
                    <a:gd name="connsiteY10" fmla="*/ 289111 h 320718"/>
                    <a:gd name="connsiteX11" fmla="*/ 187783 w 361890"/>
                    <a:gd name="connsiteY11" fmla="*/ 149204 h 320718"/>
                    <a:gd name="connsiteX12" fmla="*/ 350466 w 361890"/>
                    <a:gd name="connsiteY12" fmla="*/ 141767 h 320718"/>
                    <a:gd name="connsiteX0" fmla="*/ 0 w 361890"/>
                    <a:gd name="connsiteY0" fmla="*/ 203586 h 320718"/>
                    <a:gd name="connsiteX1" fmla="*/ 79947 w 361890"/>
                    <a:gd name="connsiteY1" fmla="*/ 0 h 320718"/>
                    <a:gd name="connsiteX2" fmla="*/ 286787 w 361890"/>
                    <a:gd name="connsiteY2" fmla="*/ 320718 h 320718"/>
                    <a:gd name="connsiteX3" fmla="*/ 361622 w 361890"/>
                    <a:gd name="connsiteY3" fmla="*/ 251462 h 320718"/>
                    <a:gd name="connsiteX4" fmla="*/ 225432 w 361890"/>
                    <a:gd name="connsiteY4" fmla="*/ 224968 h 320718"/>
                    <a:gd name="connsiteX5" fmla="*/ 237053 w 361890"/>
                    <a:gd name="connsiteY5" fmla="*/ 299337 h 320718"/>
                    <a:gd name="connsiteX6" fmla="*/ 315605 w 361890"/>
                    <a:gd name="connsiteY6" fmla="*/ 187318 h 320718"/>
                    <a:gd name="connsiteX7" fmla="*/ 253321 w 361890"/>
                    <a:gd name="connsiteY7" fmla="*/ 103188 h 320718"/>
                    <a:gd name="connsiteX8" fmla="*/ 264012 w 361890"/>
                    <a:gd name="connsiteY8" fmla="*/ 289111 h 320718"/>
                    <a:gd name="connsiteX9" fmla="*/ 187783 w 361890"/>
                    <a:gd name="connsiteY9" fmla="*/ 149204 h 320718"/>
                    <a:gd name="connsiteX10" fmla="*/ 350466 w 361890"/>
                    <a:gd name="connsiteY10" fmla="*/ 141767 h 320718"/>
                    <a:gd name="connsiteX0" fmla="*/ 99004 w 174107"/>
                    <a:gd name="connsiteY0" fmla="*/ 217530 h 217530"/>
                    <a:gd name="connsiteX1" fmla="*/ 173839 w 174107"/>
                    <a:gd name="connsiteY1" fmla="*/ 148274 h 217530"/>
                    <a:gd name="connsiteX2" fmla="*/ 37649 w 174107"/>
                    <a:gd name="connsiteY2" fmla="*/ 121780 h 217530"/>
                    <a:gd name="connsiteX3" fmla="*/ 49270 w 174107"/>
                    <a:gd name="connsiteY3" fmla="*/ 196149 h 217530"/>
                    <a:gd name="connsiteX4" fmla="*/ 127822 w 174107"/>
                    <a:gd name="connsiteY4" fmla="*/ 84130 h 217530"/>
                    <a:gd name="connsiteX5" fmla="*/ 65538 w 174107"/>
                    <a:gd name="connsiteY5" fmla="*/ 0 h 217530"/>
                    <a:gd name="connsiteX6" fmla="*/ 76229 w 174107"/>
                    <a:gd name="connsiteY6" fmla="*/ 185923 h 217530"/>
                    <a:gd name="connsiteX7" fmla="*/ 0 w 174107"/>
                    <a:gd name="connsiteY7" fmla="*/ 46016 h 217530"/>
                    <a:gd name="connsiteX8" fmla="*/ 162683 w 174107"/>
                    <a:gd name="connsiteY8" fmla="*/ 38579 h 21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07" h="217530">
                      <a:moveTo>
                        <a:pt x="99004" y="217530"/>
                      </a:moveTo>
                      <a:cubicBezTo>
                        <a:pt x="132471" y="215671"/>
                        <a:pt x="178022" y="195684"/>
                        <a:pt x="173839" y="148274"/>
                      </a:cubicBezTo>
                      <a:cubicBezTo>
                        <a:pt x="170585" y="109230"/>
                        <a:pt x="87849" y="99004"/>
                        <a:pt x="37649" y="121780"/>
                      </a:cubicBezTo>
                      <a:cubicBezTo>
                        <a:pt x="-9761" y="143161"/>
                        <a:pt x="-13480" y="209628"/>
                        <a:pt x="49270" y="196149"/>
                      </a:cubicBezTo>
                      <a:cubicBezTo>
                        <a:pt x="127358" y="179416"/>
                        <a:pt x="127822" y="84130"/>
                        <a:pt x="127822" y="84130"/>
                      </a:cubicBezTo>
                      <a:moveTo>
                        <a:pt x="65538" y="0"/>
                      </a:moveTo>
                      <a:cubicBezTo>
                        <a:pt x="65538" y="0"/>
                        <a:pt x="51594" y="145950"/>
                        <a:pt x="76229" y="185923"/>
                      </a:cubicBezTo>
                      <a:moveTo>
                        <a:pt x="0" y="46016"/>
                      </a:moveTo>
                      <a:cubicBezTo>
                        <a:pt x="0" y="46016"/>
                        <a:pt x="86454" y="56706"/>
                        <a:pt x="162683" y="38579"/>
                      </a:cubicBezTo>
                    </a:path>
                  </a:pathLst>
                </a:custGeom>
                <a:noFill/>
                <a:ln w="18761" cap="flat">
                  <a:solidFill>
                    <a:sysClr val="windowText" lastClr="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endParaRPr>
                </a:p>
              </p:txBody>
            </p:sp>
            <p:sp>
              <p:nvSpPr>
                <p:cNvPr id="53" name="Graphic 569">
                  <a:extLst>
                    <a:ext uri="{FF2B5EF4-FFF2-40B4-BE49-F238E27FC236}">
                      <a16:creationId xmlns:a16="http://schemas.microsoft.com/office/drawing/2014/main" id="{1B08DA6D-E3AA-A2D4-D306-73341CF63563}"/>
                    </a:ext>
                  </a:extLst>
                </p:cNvPr>
                <p:cNvSpPr/>
                <p:nvPr/>
              </p:nvSpPr>
              <p:spPr>
                <a:xfrm>
                  <a:off x="5060283" y="3595983"/>
                  <a:ext cx="151992" cy="203587"/>
                </a:xfrm>
                <a:custGeom>
                  <a:avLst/>
                  <a:gdLst>
                    <a:gd name="connsiteX0" fmla="*/ 6867 w 371847"/>
                    <a:gd name="connsiteY0" fmla="*/ 210452 h 330013"/>
                    <a:gd name="connsiteX1" fmla="*/ 86814 w 371847"/>
                    <a:gd name="connsiteY1" fmla="*/ 6866 h 330013"/>
                    <a:gd name="connsiteX2" fmla="*/ 158859 w 371847"/>
                    <a:gd name="connsiteY2" fmla="*/ 210452 h 330013"/>
                    <a:gd name="connsiteX3" fmla="*/ 32896 w 371847"/>
                    <a:gd name="connsiteY3" fmla="*/ 143985 h 330013"/>
                    <a:gd name="connsiteX4" fmla="*/ 135154 w 371847"/>
                    <a:gd name="connsiteY4" fmla="*/ 143985 h 330013"/>
                    <a:gd name="connsiteX5" fmla="*/ 293654 w 371847"/>
                    <a:gd name="connsiteY5" fmla="*/ 327584 h 330013"/>
                    <a:gd name="connsiteX6" fmla="*/ 368489 w 371847"/>
                    <a:gd name="connsiteY6" fmla="*/ 258328 h 330013"/>
                    <a:gd name="connsiteX7" fmla="*/ 232299 w 371847"/>
                    <a:gd name="connsiteY7" fmla="*/ 231834 h 330013"/>
                    <a:gd name="connsiteX8" fmla="*/ 243920 w 371847"/>
                    <a:gd name="connsiteY8" fmla="*/ 306203 h 330013"/>
                    <a:gd name="connsiteX9" fmla="*/ 322472 w 371847"/>
                    <a:gd name="connsiteY9" fmla="*/ 194184 h 330013"/>
                    <a:gd name="connsiteX10" fmla="*/ 260188 w 371847"/>
                    <a:gd name="connsiteY10" fmla="*/ 110054 h 330013"/>
                    <a:gd name="connsiteX11" fmla="*/ 270879 w 371847"/>
                    <a:gd name="connsiteY11" fmla="*/ 295977 h 330013"/>
                    <a:gd name="connsiteX12" fmla="*/ 194650 w 371847"/>
                    <a:gd name="connsiteY12" fmla="*/ 156070 h 330013"/>
                    <a:gd name="connsiteX13" fmla="*/ 357333 w 371847"/>
                    <a:gd name="connsiteY13" fmla="*/ 148633 h 330013"/>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10" fmla="*/ 187783 w 361890"/>
                    <a:gd name="connsiteY10" fmla="*/ 149204 h 320718"/>
                    <a:gd name="connsiteX11" fmla="*/ 350466 w 361890"/>
                    <a:gd name="connsiteY11" fmla="*/ 141767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25432 w 361890"/>
                    <a:gd name="connsiteY7" fmla="*/ 224968 h 320718"/>
                    <a:gd name="connsiteX8" fmla="*/ 237053 w 361890"/>
                    <a:gd name="connsiteY8" fmla="*/ 299337 h 320718"/>
                    <a:gd name="connsiteX9" fmla="*/ 315605 w 361890"/>
                    <a:gd name="connsiteY9"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7" fmla="*/ 237053 w 361890"/>
                    <a:gd name="connsiteY7" fmla="*/ 299337 h 320718"/>
                    <a:gd name="connsiteX8" fmla="*/ 315605 w 361890"/>
                    <a:gd name="connsiteY8" fmla="*/ 187318 h 320718"/>
                    <a:gd name="connsiteX0" fmla="*/ 0 w 362009"/>
                    <a:gd name="connsiteY0" fmla="*/ 203586 h 320718"/>
                    <a:gd name="connsiteX1" fmla="*/ 79947 w 362009"/>
                    <a:gd name="connsiteY1" fmla="*/ 0 h 320718"/>
                    <a:gd name="connsiteX2" fmla="*/ 151992 w 362009"/>
                    <a:gd name="connsiteY2" fmla="*/ 203586 h 320718"/>
                    <a:gd name="connsiteX3" fmla="*/ 26029 w 362009"/>
                    <a:gd name="connsiteY3" fmla="*/ 137119 h 320718"/>
                    <a:gd name="connsiteX4" fmla="*/ 128287 w 362009"/>
                    <a:gd name="connsiteY4" fmla="*/ 137119 h 320718"/>
                    <a:gd name="connsiteX5" fmla="*/ 286787 w 362009"/>
                    <a:gd name="connsiteY5" fmla="*/ 320718 h 320718"/>
                    <a:gd name="connsiteX6" fmla="*/ 361622 w 362009"/>
                    <a:gd name="connsiteY6" fmla="*/ 251462 h 320718"/>
                    <a:gd name="connsiteX7" fmla="*/ 315605 w 362009"/>
                    <a:gd name="connsiteY7" fmla="*/ 187318 h 320718"/>
                    <a:gd name="connsiteX0" fmla="*/ 0 w 361890"/>
                    <a:gd name="connsiteY0" fmla="*/ 203586 h 320718"/>
                    <a:gd name="connsiteX1" fmla="*/ 79947 w 361890"/>
                    <a:gd name="connsiteY1" fmla="*/ 0 h 320718"/>
                    <a:gd name="connsiteX2" fmla="*/ 151992 w 361890"/>
                    <a:gd name="connsiteY2" fmla="*/ 203586 h 320718"/>
                    <a:gd name="connsiteX3" fmla="*/ 26029 w 361890"/>
                    <a:gd name="connsiteY3" fmla="*/ 137119 h 320718"/>
                    <a:gd name="connsiteX4" fmla="*/ 128287 w 361890"/>
                    <a:gd name="connsiteY4" fmla="*/ 137119 h 320718"/>
                    <a:gd name="connsiteX5" fmla="*/ 286787 w 361890"/>
                    <a:gd name="connsiteY5" fmla="*/ 320718 h 320718"/>
                    <a:gd name="connsiteX6" fmla="*/ 361622 w 361890"/>
                    <a:gd name="connsiteY6" fmla="*/ 251462 h 320718"/>
                    <a:gd name="connsiteX0" fmla="*/ 0 w 151992"/>
                    <a:gd name="connsiteY0" fmla="*/ 203586 h 203586"/>
                    <a:gd name="connsiteX1" fmla="*/ 79947 w 151992"/>
                    <a:gd name="connsiteY1" fmla="*/ 0 h 203586"/>
                    <a:gd name="connsiteX2" fmla="*/ 151992 w 151992"/>
                    <a:gd name="connsiteY2" fmla="*/ 203586 h 203586"/>
                    <a:gd name="connsiteX3" fmla="*/ 26029 w 151992"/>
                    <a:gd name="connsiteY3" fmla="*/ 137119 h 203586"/>
                    <a:gd name="connsiteX4" fmla="*/ 128287 w 151992"/>
                    <a:gd name="connsiteY4" fmla="*/ 137119 h 20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92" h="203586">
                      <a:moveTo>
                        <a:pt x="0" y="203586"/>
                      </a:moveTo>
                      <a:lnTo>
                        <a:pt x="79947" y="0"/>
                      </a:lnTo>
                      <a:lnTo>
                        <a:pt x="151992" y="203586"/>
                      </a:lnTo>
                      <a:moveTo>
                        <a:pt x="26029" y="137119"/>
                      </a:moveTo>
                      <a:lnTo>
                        <a:pt x="128287" y="137119"/>
                      </a:lnTo>
                    </a:path>
                  </a:pathLst>
                </a:custGeom>
                <a:noFill/>
                <a:ln w="18761" cap="flat">
                  <a:solidFill>
                    <a:srgbClr val="0078D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uLnTx/>
                    <a:uFillTx/>
                  </a:endParaRPr>
                </a:p>
              </p:txBody>
            </p:sp>
          </p:grpSp>
        </p:grpSp>
        <p:grpSp>
          <p:nvGrpSpPr>
            <p:cNvPr id="31" name="Group 30">
              <a:extLst>
                <a:ext uri="{FF2B5EF4-FFF2-40B4-BE49-F238E27FC236}">
                  <a16:creationId xmlns:a16="http://schemas.microsoft.com/office/drawing/2014/main" id="{6682F464-4EC8-2019-234F-854D7FDD33A1}"/>
                </a:ext>
              </a:extLst>
            </p:cNvPr>
            <p:cNvGrpSpPr/>
            <p:nvPr/>
          </p:nvGrpSpPr>
          <p:grpSpPr>
            <a:xfrm>
              <a:off x="5355848" y="3566929"/>
              <a:ext cx="922515" cy="630712"/>
              <a:chOff x="8851144" y="3799617"/>
              <a:chExt cx="922515" cy="630712"/>
            </a:xfrm>
          </p:grpSpPr>
          <p:pic>
            <p:nvPicPr>
              <p:cNvPr id="48" name="Picture 47">
                <a:extLst>
                  <a:ext uri="{FF2B5EF4-FFF2-40B4-BE49-F238E27FC236}">
                    <a16:creationId xmlns:a16="http://schemas.microsoft.com/office/drawing/2014/main" id="{3C1F6C79-B136-105E-F9E6-03AE29B58EE9}"/>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foregroundMark x1="76389" y1="14516" x2="76389" y2="14516"/>
                            <a14:foregroundMark x1="22917" y1="12097" x2="22917" y2="12097"/>
                            <a14:foregroundMark x1="48611" y1="43548" x2="48611" y2="43548"/>
                            <a14:foregroundMark x1="25000" y1="74194" x2="25000" y2="74194"/>
                            <a14:foregroundMark x1="81944" y1="85484" x2="81944" y2="85484"/>
                          </a14:backgroundRemoval>
                        </a14:imgEffect>
                      </a14:imgLayer>
                    </a14:imgProps>
                  </a:ext>
                </a:extLst>
              </a:blip>
              <a:stretch>
                <a:fillRect/>
              </a:stretch>
            </p:blipFill>
            <p:spPr>
              <a:xfrm>
                <a:off x="8990440" y="3799617"/>
                <a:ext cx="588375" cy="506657"/>
              </a:xfrm>
              <a:prstGeom prst="rect">
                <a:avLst/>
              </a:prstGeom>
            </p:spPr>
          </p:pic>
          <p:sp>
            <p:nvSpPr>
              <p:cNvPr id="49" name="TextBox 48">
                <a:extLst>
                  <a:ext uri="{FF2B5EF4-FFF2-40B4-BE49-F238E27FC236}">
                    <a16:creationId xmlns:a16="http://schemas.microsoft.com/office/drawing/2014/main" id="{06AE7D9E-4576-E9B8-5AA5-3494E02048DD}"/>
                  </a:ext>
                </a:extLst>
              </p:cNvPr>
              <p:cNvSpPr txBox="1"/>
              <p:nvPr/>
            </p:nvSpPr>
            <p:spPr>
              <a:xfrm>
                <a:off x="8851144" y="4214885"/>
                <a:ext cx="922515" cy="215444"/>
              </a:xfrm>
              <a:prstGeom prst="rect">
                <a:avLst/>
              </a:prstGeom>
              <a:noFill/>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Segoe UI Semibold"/>
                  <a:cs typeface="Segoe UI Semibold"/>
                </a:endParaRPr>
              </a:p>
            </p:txBody>
          </p:sp>
        </p:grpSp>
        <p:sp>
          <p:nvSpPr>
            <p:cNvPr id="32" name="TextBox 31">
              <a:extLst>
                <a:ext uri="{FF2B5EF4-FFF2-40B4-BE49-F238E27FC236}">
                  <a16:creationId xmlns:a16="http://schemas.microsoft.com/office/drawing/2014/main" id="{6448424D-9B0B-2B49-3116-3B003AB48556}"/>
                </a:ext>
              </a:extLst>
            </p:cNvPr>
            <p:cNvSpPr txBox="1"/>
            <p:nvPr/>
          </p:nvSpPr>
          <p:spPr>
            <a:xfrm>
              <a:off x="8001323" y="4213588"/>
              <a:ext cx="1251167" cy="33855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4"/>
                  </a:solidFill>
                  <a:effectLst/>
                  <a:uLnTx/>
                  <a:uFillTx/>
                  <a:latin typeface="Segoe UI Semibold"/>
                </a:rPr>
                <a:t>Enriched document in knowledge store</a:t>
              </a:r>
            </a:p>
          </p:txBody>
        </p:sp>
        <p:sp>
          <p:nvSpPr>
            <p:cNvPr id="33" name="Rectangle 32">
              <a:extLst>
                <a:ext uri="{FF2B5EF4-FFF2-40B4-BE49-F238E27FC236}">
                  <a16:creationId xmlns:a16="http://schemas.microsoft.com/office/drawing/2014/main" id="{F1843673-2C45-9E98-D422-84DA531562C9}"/>
                </a:ext>
              </a:extLst>
            </p:cNvPr>
            <p:cNvSpPr/>
            <p:nvPr/>
          </p:nvSpPr>
          <p:spPr bwMode="auto">
            <a:xfrm>
              <a:off x="7926230" y="4667135"/>
              <a:ext cx="1465950" cy="662240"/>
            </a:xfrm>
            <a:prstGeom prst="rect">
              <a:avLst/>
            </a:prstGeom>
            <a:solidFill>
              <a:srgbClr val="75757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34" name="Shape 236">
              <a:extLst>
                <a:ext uri="{FF2B5EF4-FFF2-40B4-BE49-F238E27FC236}">
                  <a16:creationId xmlns:a16="http://schemas.microsoft.com/office/drawing/2014/main" id="{A406896F-C98C-1D76-3C93-E4FE2E474795}"/>
                </a:ext>
              </a:extLst>
            </p:cNvPr>
            <p:cNvSpPr txBox="1"/>
            <p:nvPr/>
          </p:nvSpPr>
          <p:spPr>
            <a:xfrm>
              <a:off x="7605893" y="5296618"/>
              <a:ext cx="2042029" cy="577081"/>
            </a:xfrm>
            <a:prstGeom prst="rect">
              <a:avLst/>
            </a:prstGeom>
            <a:noFill/>
            <a:ln>
              <a:noFill/>
            </a:ln>
          </p:spPr>
          <p:txBody>
            <a:bodyPr lIns="91440" tIns="45720" rIns="91440" bIns="45720" anchor="t" anchorCtr="0">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Semibold"/>
                  <a:ea typeface="MS PGothic" panose="020B0600070205080204" pitchFamily="34" charset="-128"/>
                  <a:cs typeface="Segoe UI Semibold" panose="020B0702040204020203" pitchFamily="34" charset="0"/>
                  <a:sym typeface="Arial"/>
                </a:rPr>
                <a:t>Knowledge Store </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Semibold"/>
                  <a:ea typeface="MS PGothic" panose="020B0600070205080204" pitchFamily="34" charset="-128"/>
                  <a:cs typeface="Segoe UI Semibold" panose="020B0702040204020203" pitchFamily="34" charset="0"/>
                  <a:sym typeface="Arial"/>
                </a:rPr>
                <a:t>(Azure Table or Blob)</a:t>
              </a:r>
              <a:br>
                <a:rPr kumimoji="0" lang="en-US" sz="1050" b="0" i="0" u="none" strike="noStrike" kern="0" cap="none" spc="0" normalizeH="0" baseline="0" noProof="0" dirty="0">
                  <a:ln>
                    <a:noFill/>
                  </a:ln>
                  <a:solidFill>
                    <a:prstClr val="black"/>
                  </a:solidFill>
                  <a:effectLst/>
                  <a:uLnTx/>
                  <a:uFillTx/>
                  <a:latin typeface="Segoe UI Semibold"/>
                  <a:ea typeface="MS PGothic" panose="020B0600070205080204" pitchFamily="34" charset="-128"/>
                  <a:cs typeface="Segoe UI Semibold" panose="020B0702040204020203" pitchFamily="34" charset="0"/>
                  <a:sym typeface="Arial"/>
                </a:rPr>
              </a:br>
              <a:endParaRPr kumimoji="0" lang="en" sz="1050" b="0" i="0" u="none" strike="noStrike" kern="0" cap="none" spc="0" normalizeH="0" baseline="0" noProof="0" dirty="0">
                <a:ln>
                  <a:noFill/>
                </a:ln>
                <a:solidFill>
                  <a:prstClr val="black"/>
                </a:solidFill>
                <a:effectLst/>
                <a:uLnTx/>
                <a:uFillTx/>
                <a:latin typeface="Segoe UI Semibold"/>
                <a:ea typeface="MS PGothic" panose="020B0600070205080204" pitchFamily="34" charset="-128"/>
                <a:cs typeface="Segoe UI Semibold" panose="020B0702040204020203" pitchFamily="34" charset="0"/>
                <a:sym typeface="Arial"/>
              </a:endParaRPr>
            </a:p>
          </p:txBody>
        </p:sp>
        <p:grpSp>
          <p:nvGrpSpPr>
            <p:cNvPr id="35" name="Group 34">
              <a:extLst>
                <a:ext uri="{FF2B5EF4-FFF2-40B4-BE49-F238E27FC236}">
                  <a16:creationId xmlns:a16="http://schemas.microsoft.com/office/drawing/2014/main" id="{9ADD9D96-4693-9ED1-242A-D8BEC1A568AC}"/>
                </a:ext>
              </a:extLst>
            </p:cNvPr>
            <p:cNvGrpSpPr/>
            <p:nvPr/>
          </p:nvGrpSpPr>
          <p:grpSpPr>
            <a:xfrm>
              <a:off x="8130874" y="4804223"/>
              <a:ext cx="331241" cy="352843"/>
              <a:chOff x="7866583" y="4607837"/>
              <a:chExt cx="331241" cy="352843"/>
            </a:xfrm>
          </p:grpSpPr>
          <p:sp>
            <p:nvSpPr>
              <p:cNvPr id="46" name="document">
                <a:extLst>
                  <a:ext uri="{FF2B5EF4-FFF2-40B4-BE49-F238E27FC236}">
                    <a16:creationId xmlns:a16="http://schemas.microsoft.com/office/drawing/2014/main" id="{FF39B2EA-FD4C-088E-0673-45F01D5B1775}"/>
                  </a:ext>
                </a:extLst>
              </p:cNvPr>
              <p:cNvSpPr>
                <a:spLocks noChangeAspect="1" noEditPoints="1"/>
              </p:cNvSpPr>
              <p:nvPr/>
            </p:nvSpPr>
            <p:spPr bwMode="auto">
              <a:xfrm>
                <a:off x="7866583" y="4668020"/>
                <a:ext cx="220825" cy="292660"/>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lumMod val="85000"/>
                </a:srgbClr>
              </a:solidFill>
              <a:ln w="1270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Segoe UI Semilight"/>
                </a:endParaRPr>
              </a:p>
            </p:txBody>
          </p:sp>
          <p:sp>
            <p:nvSpPr>
              <p:cNvPr id="47" name="document">
                <a:extLst>
                  <a:ext uri="{FF2B5EF4-FFF2-40B4-BE49-F238E27FC236}">
                    <a16:creationId xmlns:a16="http://schemas.microsoft.com/office/drawing/2014/main" id="{BE8381C9-6CF4-09E6-9B89-0A7259A99B0B}"/>
                  </a:ext>
                </a:extLst>
              </p:cNvPr>
              <p:cNvSpPr>
                <a:spLocks noChangeAspect="1" noEditPoints="1"/>
              </p:cNvSpPr>
              <p:nvPr/>
            </p:nvSpPr>
            <p:spPr bwMode="auto">
              <a:xfrm>
                <a:off x="7976999" y="4607837"/>
                <a:ext cx="220825" cy="292660"/>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lumMod val="85000"/>
                </a:srgbClr>
              </a:solidFill>
              <a:ln w="1270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Segoe UI Semilight"/>
                </a:endParaRPr>
              </a:p>
            </p:txBody>
          </p:sp>
        </p:grpSp>
        <p:pic>
          <p:nvPicPr>
            <p:cNvPr id="36" name="Picture 35">
              <a:extLst>
                <a:ext uri="{FF2B5EF4-FFF2-40B4-BE49-F238E27FC236}">
                  <a16:creationId xmlns:a16="http://schemas.microsoft.com/office/drawing/2014/main" id="{E92CD414-F119-8DAD-4CEC-0A791F0E3C5A}"/>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27631" b="41183" l="2898" r="9158">
                          <a14:foregroundMark x1="5749" y1="29784" x2="5749" y2="29784"/>
                          <a14:foregroundMark x1="5295" y1="29321" x2="5295" y2="29321"/>
                          <a14:foregroundMark x1="5522" y1="29012" x2="5522" y2="29012"/>
                        </a14:backgroundRemoval>
                      </a14:imgEffect>
                    </a14:imgLayer>
                  </a14:imgProps>
                </a:ext>
              </a:extLst>
            </a:blip>
            <a:srcRect l="2116" t="25937" r="90059" b="57123"/>
            <a:stretch/>
          </p:blipFill>
          <p:spPr>
            <a:xfrm>
              <a:off x="8507852" y="4781494"/>
              <a:ext cx="538642" cy="571536"/>
            </a:xfrm>
            <a:prstGeom prst="rect">
              <a:avLst/>
            </a:prstGeom>
          </p:spPr>
        </p:pic>
        <p:sp>
          <p:nvSpPr>
            <p:cNvPr id="37" name="TextBox 36">
              <a:extLst>
                <a:ext uri="{FF2B5EF4-FFF2-40B4-BE49-F238E27FC236}">
                  <a16:creationId xmlns:a16="http://schemas.microsoft.com/office/drawing/2014/main" id="{2FE83B5B-1175-0E80-0632-94FFDF72F5B4}"/>
                </a:ext>
              </a:extLst>
            </p:cNvPr>
            <p:cNvSpPr txBox="1"/>
            <p:nvPr/>
          </p:nvSpPr>
          <p:spPr>
            <a:xfrm>
              <a:off x="4784301" y="5024095"/>
              <a:ext cx="1390972" cy="84638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4"/>
                  </a:solidFill>
                  <a:effectLst/>
                  <a:uLnTx/>
                  <a:uFillTx/>
                  <a:latin typeface="Segoe UI Semibold"/>
                </a:rPr>
                <a:t>Custom Skills/ OpenAI LLM, other Azure AI services/ Machine Learning model </a:t>
              </a:r>
            </a:p>
          </p:txBody>
        </p:sp>
        <p:cxnSp>
          <p:nvCxnSpPr>
            <p:cNvPr id="38" name="Connector: Elbow 37">
              <a:extLst>
                <a:ext uri="{FF2B5EF4-FFF2-40B4-BE49-F238E27FC236}">
                  <a16:creationId xmlns:a16="http://schemas.microsoft.com/office/drawing/2014/main" id="{45556F76-3334-A7E2-3C0E-8D89AA91F25E}"/>
                </a:ext>
              </a:extLst>
            </p:cNvPr>
            <p:cNvCxnSpPr>
              <a:cxnSpLocks/>
            </p:cNvCxnSpPr>
            <p:nvPr/>
          </p:nvCxnSpPr>
          <p:spPr>
            <a:xfrm rot="16200000" flipH="1">
              <a:off x="3410568" y="3987270"/>
              <a:ext cx="1938129" cy="572407"/>
            </a:xfrm>
            <a:prstGeom prst="bentConnector3">
              <a:avLst>
                <a:gd name="adj1" fmla="val 99515"/>
              </a:avLst>
            </a:prstGeom>
            <a:noFill/>
            <a:ln w="9525" cap="flat" cmpd="sng" algn="ctr">
              <a:solidFill>
                <a:srgbClr val="0078D4"/>
              </a:solidFill>
              <a:prstDash val="solid"/>
              <a:headEnd type="none" w="lg" len="med"/>
              <a:tailEnd type="triangle"/>
            </a:ln>
            <a:effectLst/>
          </p:spPr>
        </p:cxnSp>
        <p:pic>
          <p:nvPicPr>
            <p:cNvPr id="39" name="Picture 38">
              <a:extLst>
                <a:ext uri="{FF2B5EF4-FFF2-40B4-BE49-F238E27FC236}">
                  <a16:creationId xmlns:a16="http://schemas.microsoft.com/office/drawing/2014/main" id="{0A8D0B05-06C6-566A-3A10-11460088D4D5}"/>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848" b="89394" l="9402" r="93162">
                          <a14:foregroundMark x1="93162" y1="71212" x2="93162" y2="71212"/>
                        </a14:backgroundRemoval>
                      </a14:imgEffect>
                    </a14:imgLayer>
                  </a14:imgProps>
                </a:ext>
              </a:extLst>
            </a:blip>
            <a:stretch>
              <a:fillRect/>
            </a:stretch>
          </p:blipFill>
          <p:spPr>
            <a:xfrm>
              <a:off x="5055671" y="5759295"/>
              <a:ext cx="419926" cy="473762"/>
            </a:xfrm>
            <a:prstGeom prst="rect">
              <a:avLst/>
            </a:prstGeom>
          </p:spPr>
        </p:pic>
        <p:pic>
          <p:nvPicPr>
            <p:cNvPr id="40" name="Graphic 39">
              <a:extLst>
                <a:ext uri="{FF2B5EF4-FFF2-40B4-BE49-F238E27FC236}">
                  <a16:creationId xmlns:a16="http://schemas.microsoft.com/office/drawing/2014/main" id="{5F711C90-4811-2F83-C42A-B68C5BB217F1}"/>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3961" y="5855586"/>
              <a:ext cx="343044" cy="343044"/>
            </a:xfrm>
            <a:prstGeom prst="rect">
              <a:avLst/>
            </a:prstGeom>
          </p:spPr>
        </p:pic>
        <p:cxnSp>
          <p:nvCxnSpPr>
            <p:cNvPr id="41" name="Straight Arrow Connector 40">
              <a:extLst>
                <a:ext uri="{FF2B5EF4-FFF2-40B4-BE49-F238E27FC236}">
                  <a16:creationId xmlns:a16="http://schemas.microsoft.com/office/drawing/2014/main" id="{BEE8204D-B562-93E2-9B20-67621DC866D1}"/>
                </a:ext>
              </a:extLst>
            </p:cNvPr>
            <p:cNvCxnSpPr>
              <a:cxnSpLocks/>
            </p:cNvCxnSpPr>
            <p:nvPr/>
          </p:nvCxnSpPr>
          <p:spPr>
            <a:xfrm flipV="1">
              <a:off x="9274278" y="4370435"/>
              <a:ext cx="508323" cy="9906"/>
            </a:xfrm>
            <a:prstGeom prst="straightConnector1">
              <a:avLst/>
            </a:prstGeom>
            <a:noFill/>
            <a:ln w="12700" cap="flat" cmpd="sng" algn="ctr">
              <a:solidFill>
                <a:srgbClr val="0078D4"/>
              </a:solidFill>
              <a:prstDash val="solid"/>
              <a:headEnd type="none"/>
              <a:tailEnd type="triangle"/>
            </a:ln>
            <a:effectLst/>
          </p:spPr>
        </p:cxnSp>
        <p:sp>
          <p:nvSpPr>
            <p:cNvPr id="42" name="Rectangle 41">
              <a:extLst>
                <a:ext uri="{FF2B5EF4-FFF2-40B4-BE49-F238E27FC236}">
                  <a16:creationId xmlns:a16="http://schemas.microsoft.com/office/drawing/2014/main" id="{FA50B7CE-8583-277C-E927-17A39F5F38D1}"/>
                </a:ext>
              </a:extLst>
            </p:cNvPr>
            <p:cNvSpPr/>
            <p:nvPr/>
          </p:nvSpPr>
          <p:spPr>
            <a:xfrm>
              <a:off x="9703114" y="4231936"/>
              <a:ext cx="2421734" cy="276999"/>
            </a:xfrm>
            <a:prstGeom prst="rect">
              <a:avLst/>
            </a:prstGeom>
            <a:noFill/>
          </p:spPr>
          <p:txBody>
            <a:bodyPr wrap="square" lIns="91440" tIns="45720" rIns="91440" bIns="4572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4"/>
                  </a:solidFill>
                  <a:effectLst/>
                  <a:uLnTx/>
                  <a:uFillTx/>
                  <a:latin typeface="Segoe UI Semibold"/>
                </a:rPr>
                <a:t>Exploration/ Ongoing Analytics</a:t>
              </a:r>
            </a:p>
          </p:txBody>
        </p:sp>
        <p:pic>
          <p:nvPicPr>
            <p:cNvPr id="43" name="Picture 42">
              <a:extLst>
                <a:ext uri="{FF2B5EF4-FFF2-40B4-BE49-F238E27FC236}">
                  <a16:creationId xmlns:a16="http://schemas.microsoft.com/office/drawing/2014/main" id="{73735AD1-6784-DD03-B8DF-E0B18BE4C6F8}"/>
                </a:ext>
              </a:extLst>
            </p:cNvPr>
            <p:cNvPicPr>
              <a:picLocks noChangeAspect="1"/>
            </p:cNvPicPr>
            <p:nvPr/>
          </p:nvPicPr>
          <p:blipFill rotWithShape="1">
            <a:blip r:embed="rId10">
              <a:extLst>
                <a:ext uri="{BEBA8EAE-BF5A-486C-A8C5-ECC9F3942E4B}">
                  <a14:imgProps xmlns:a14="http://schemas.microsoft.com/office/drawing/2010/main">
                    <a14:imgLayer r:embed="rId5">
                      <a14:imgEffect>
                        <a14:backgroundRemoval t="83990" b="96479" l="90361" r="96283">
                          <a14:foregroundMark x1="93343" y1="86265" x2="93343" y2="86265"/>
                          <a14:foregroundMark x1="91225" y1="88889" x2="91225" y2="88889"/>
                          <a14:foregroundMark x1="93192" y1="95988" x2="93192" y2="95988"/>
                        </a14:backgroundRemoval>
                      </a14:imgEffect>
                    </a14:imgLayer>
                  </a14:imgProps>
                </a:ext>
              </a:extLst>
            </a:blip>
            <a:srcRect l="89621" t="82429" r="2977" b="1960"/>
            <a:stretch/>
          </p:blipFill>
          <p:spPr>
            <a:xfrm>
              <a:off x="10965796" y="4409388"/>
              <a:ext cx="623185" cy="644169"/>
            </a:xfrm>
            <a:prstGeom prst="rect">
              <a:avLst/>
            </a:prstGeom>
          </p:spPr>
        </p:pic>
        <p:pic>
          <p:nvPicPr>
            <p:cNvPr id="44" name="Picture 43">
              <a:extLst>
                <a:ext uri="{FF2B5EF4-FFF2-40B4-BE49-F238E27FC236}">
                  <a16:creationId xmlns:a16="http://schemas.microsoft.com/office/drawing/2014/main" id="{57B7196A-84A2-32CE-51CF-63D6D121ADAB}"/>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foregroundMark x1="87395" y1="53030" x2="87395" y2="53030"/>
                        </a14:backgroundRemoval>
                      </a14:imgEffect>
                    </a14:imgLayer>
                  </a14:imgProps>
                </a:ext>
              </a:extLst>
            </a:blip>
            <a:stretch>
              <a:fillRect/>
            </a:stretch>
          </p:blipFill>
          <p:spPr>
            <a:xfrm>
              <a:off x="10457178" y="4517389"/>
              <a:ext cx="456803" cy="506706"/>
            </a:xfrm>
            <a:prstGeom prst="rect">
              <a:avLst/>
            </a:prstGeom>
          </p:spPr>
        </p:pic>
        <p:pic>
          <p:nvPicPr>
            <p:cNvPr id="45" name="Picture 44">
              <a:extLst>
                <a:ext uri="{FF2B5EF4-FFF2-40B4-BE49-F238E27FC236}">
                  <a16:creationId xmlns:a16="http://schemas.microsoft.com/office/drawing/2014/main" id="{E25F0AC0-F28D-7A7E-E5DB-A80212CAC4B5}"/>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848" b="89394" l="9402" r="93162">
                          <a14:foregroundMark x1="93162" y1="71212" x2="93162" y2="71212"/>
                        </a14:backgroundRemoval>
                      </a14:imgEffect>
                    </a14:imgLayer>
                  </a14:imgProps>
                </a:ext>
              </a:extLst>
            </a:blip>
            <a:stretch>
              <a:fillRect/>
            </a:stretch>
          </p:blipFill>
          <p:spPr>
            <a:xfrm>
              <a:off x="10054375" y="4517457"/>
              <a:ext cx="419926" cy="473762"/>
            </a:xfrm>
            <a:prstGeom prst="rect">
              <a:avLst/>
            </a:prstGeom>
          </p:spPr>
        </p:pic>
      </p:grpSp>
      <p:sp>
        <p:nvSpPr>
          <p:cNvPr id="66" name="TextBox 65">
            <a:extLst>
              <a:ext uri="{FF2B5EF4-FFF2-40B4-BE49-F238E27FC236}">
                <a16:creationId xmlns:a16="http://schemas.microsoft.com/office/drawing/2014/main" id="{5194C3D2-CED6-B89E-F3DC-5D7574874F9B}"/>
              </a:ext>
            </a:extLst>
          </p:cNvPr>
          <p:cNvSpPr txBox="1"/>
          <p:nvPr/>
        </p:nvSpPr>
        <p:spPr>
          <a:xfrm>
            <a:off x="121119" y="5538545"/>
            <a:ext cx="4545949" cy="1142881"/>
          </a:xfrm>
          <a:prstGeom prst="rect">
            <a:avLst/>
          </a:prstGeom>
          <a:noFill/>
          <a:ln>
            <a:solidFill>
              <a:srgbClr val="000000"/>
            </a:solidFill>
          </a:ln>
        </p:spPr>
        <p:txBody>
          <a:bodyPr wrap="square">
            <a:noAutofit/>
          </a:bodyPr>
          <a:lstStyle/>
          <a:p>
            <a:pPr marL="0" marR="0" lvl="0" indent="0" defTabSz="914400" eaLnBrk="1" fontAlgn="t" latinLnBrk="0" hangingPunct="1">
              <a:lnSpc>
                <a:spcPct val="100000"/>
              </a:lnSpc>
              <a:spcBef>
                <a:spcPts val="100"/>
              </a:spcBef>
              <a:spcAft>
                <a:spcPts val="0"/>
              </a:spcAft>
              <a:buClrTx/>
              <a:buSzPts val="950"/>
              <a:buFontTx/>
              <a:buNone/>
              <a:tabLst/>
              <a:defRPr/>
            </a:pPr>
            <a:r>
              <a:rPr kumimoji="0" lang="en-US" sz="1000" b="1" i="0" u="none" strike="noStrike" kern="0" cap="none" spc="0" normalizeH="0" baseline="0" noProof="0" dirty="0">
                <a:ln>
                  <a:noFill/>
                </a:ln>
                <a:solidFill>
                  <a:srgbClr val="0078D4"/>
                </a:solidFill>
                <a:effectLst/>
                <a:uLnTx/>
                <a:uFillTx/>
                <a:latin typeface="Segoe UI Semibold"/>
              </a:rPr>
              <a:t>Integrations/Features</a:t>
            </a:r>
            <a:r>
              <a:rPr kumimoji="0" lang="en-US" sz="1000" b="1" i="0" u="none" strike="noStrike" kern="0" cap="none" spc="0" normalizeH="0" baseline="0" noProof="0" dirty="0">
                <a:ln>
                  <a:noFill/>
                </a:ln>
                <a:solidFill>
                  <a:prstClr val="black"/>
                </a:solidFill>
                <a:effectLst/>
                <a:uLnTx/>
                <a:uFillTx/>
                <a:latin typeface="Segoe UI Semibold"/>
              </a:rPr>
              <a:t>: </a:t>
            </a:r>
          </a:p>
          <a:p>
            <a:pPr marL="171450" marR="0" lvl="0" indent="-171450" defTabSz="914400" eaLnBrk="1" fontAlgn="t" latinLnBrk="0" hangingPunct="1">
              <a:lnSpc>
                <a:spcPct val="100000"/>
              </a:lnSpc>
              <a:spcBef>
                <a:spcPts val="100"/>
              </a:spcBef>
              <a:spcAft>
                <a:spcPts val="0"/>
              </a:spcAft>
              <a:buClrTx/>
              <a:buSzPts val="950"/>
              <a:buFont typeface="Arial" panose="020B0604020202020204" pitchFamily="34" charset="0"/>
              <a:buChar char="•"/>
              <a:tabLst/>
              <a:defRPr/>
            </a:pPr>
            <a:r>
              <a:rPr kumimoji="0" lang="en-US" sz="1000" b="1" i="0" u="none" strike="noStrike" kern="0" cap="none" spc="0" normalizeH="0" baseline="0" noProof="0" dirty="0">
                <a:ln>
                  <a:noFill/>
                </a:ln>
                <a:solidFill>
                  <a:prstClr val="black"/>
                </a:solidFill>
                <a:effectLst/>
                <a:uLnTx/>
                <a:uFillTx/>
                <a:latin typeface="Segoe UI Semibold"/>
              </a:rPr>
              <a:t>Azure storage for loading documents (see data source gallery)</a:t>
            </a:r>
          </a:p>
          <a:p>
            <a:pPr marL="171450" marR="0" lvl="0" indent="-171450" defTabSz="914400" eaLnBrk="1" fontAlgn="t" latinLnBrk="0" hangingPunct="1">
              <a:lnSpc>
                <a:spcPct val="100000"/>
              </a:lnSpc>
              <a:spcBef>
                <a:spcPts val="100"/>
              </a:spcBef>
              <a:spcAft>
                <a:spcPts val="0"/>
              </a:spcAft>
              <a:buClrTx/>
              <a:buSzPts val="950"/>
              <a:buFont typeface="Arial" panose="020B0604020202020204" pitchFamily="34" charset="0"/>
              <a:buChar char="•"/>
              <a:tabLst/>
              <a:defRPr/>
            </a:pPr>
            <a:r>
              <a:rPr kumimoji="0" lang="en-US" sz="1000" b="1" i="0" u="none" strike="noStrike" kern="0" cap="none" spc="0" normalizeH="0" baseline="0" noProof="0" dirty="0">
                <a:ln>
                  <a:noFill/>
                </a:ln>
                <a:solidFill>
                  <a:prstClr val="black"/>
                </a:solidFill>
                <a:effectLst/>
                <a:uLnTx/>
                <a:uFillTx/>
                <a:latin typeface="Segoe UI Semibold"/>
              </a:rPr>
              <a:t>Enrichment with OpenAI LLM/Azure AI services/ML if custom skills needed</a:t>
            </a:r>
          </a:p>
          <a:p>
            <a:pPr marL="171450" marR="0" lvl="0" indent="-171450" defTabSz="914400" eaLnBrk="1" fontAlgn="t" latinLnBrk="0" hangingPunct="1">
              <a:lnSpc>
                <a:spcPct val="100000"/>
              </a:lnSpc>
              <a:spcBef>
                <a:spcPts val="100"/>
              </a:spcBef>
              <a:spcAft>
                <a:spcPts val="0"/>
              </a:spcAft>
              <a:buClrTx/>
              <a:buSzPts val="950"/>
              <a:buFont typeface="Arial" panose="020B0604020202020204" pitchFamily="34" charset="0"/>
              <a:buChar char="•"/>
              <a:tabLst/>
              <a:defRPr/>
            </a:pPr>
            <a:r>
              <a:rPr kumimoji="0" lang="en-US" sz="1000" b="1" i="0" u="none" strike="noStrike" kern="0" cap="none" spc="0" normalizeH="0" baseline="0" noProof="0" dirty="0">
                <a:ln>
                  <a:noFill/>
                </a:ln>
                <a:solidFill>
                  <a:prstClr val="black"/>
                </a:solidFill>
                <a:effectLst/>
                <a:uLnTx/>
                <a:uFillTx/>
                <a:latin typeface="Segoe UI Semibold"/>
              </a:rPr>
              <a:t>Custom skill for vector embedding creation. </a:t>
            </a:r>
            <a:r>
              <a:rPr kumimoji="0" lang="en-US" sz="1000" b="1" i="0" u="none" strike="noStrike" kern="0" cap="none" spc="0" normalizeH="0" baseline="0" noProof="0" dirty="0">
                <a:ln>
                  <a:noFill/>
                </a:ln>
                <a:solidFill>
                  <a:prstClr val="black"/>
                </a:solidFill>
                <a:effectLst/>
                <a:uLnTx/>
                <a:uFillTx/>
                <a:latin typeface="Segoe UI Semibold"/>
                <a:hlinkClick r:id="rId13"/>
              </a:rPr>
              <a:t>Power Skill for chunking + vector embedding generation</a:t>
            </a:r>
            <a:endParaRPr kumimoji="0" lang="en-US" sz="1000" b="1" i="0" u="none" strike="noStrike" kern="0" cap="none" spc="0" normalizeH="0" baseline="0" noProof="0" dirty="0">
              <a:ln>
                <a:noFill/>
              </a:ln>
              <a:solidFill>
                <a:prstClr val="black"/>
              </a:solidFill>
              <a:effectLst/>
              <a:uLnTx/>
              <a:uFillTx/>
              <a:latin typeface="Segoe UI Semibold"/>
            </a:endParaRPr>
          </a:p>
          <a:p>
            <a:pPr marL="171450" marR="0" lvl="0" indent="-171450" defTabSz="914400" eaLnBrk="1" fontAlgn="t" latinLnBrk="0" hangingPunct="1">
              <a:lnSpc>
                <a:spcPct val="100000"/>
              </a:lnSpc>
              <a:spcBef>
                <a:spcPts val="100"/>
              </a:spcBef>
              <a:spcAft>
                <a:spcPts val="0"/>
              </a:spcAft>
              <a:buClrTx/>
              <a:buSzPts val="950"/>
              <a:buFont typeface="Arial" panose="020B0604020202020204" pitchFamily="34" charset="0"/>
              <a:buChar char="•"/>
              <a:tabLst/>
              <a:defRPr/>
            </a:pPr>
            <a:r>
              <a:rPr kumimoji="0" lang="en-US" sz="1000" b="1" i="0" u="none" strike="noStrike" kern="0" cap="none" spc="0" normalizeH="0" baseline="0" noProof="0" dirty="0">
                <a:ln>
                  <a:noFill/>
                </a:ln>
                <a:solidFill>
                  <a:prstClr val="black"/>
                </a:solidFill>
                <a:effectLst/>
                <a:uLnTx/>
                <a:uFillTx/>
                <a:latin typeface="Segoe UI Semibold"/>
              </a:rPr>
              <a:t>Frontend/Backend integrations to web apps/LOB app</a:t>
            </a:r>
            <a:endParaRPr kumimoji="0" lang="en-US" sz="1000" b="0" i="0" u="none" strike="noStrike" kern="0" cap="none" spc="0" normalizeH="0" baseline="0" noProof="0" dirty="0">
              <a:ln>
                <a:noFill/>
              </a:ln>
              <a:solidFill>
                <a:srgbClr val="0078D4"/>
              </a:solidFill>
              <a:effectLst/>
              <a:uLnTx/>
              <a:uFillTx/>
              <a:latin typeface="Segoe UI Semibold"/>
              <a:cs typeface="Segoe UI Semilight" panose="020B0402040204020203" pitchFamily="34" charset="0"/>
            </a:endParaRPr>
          </a:p>
        </p:txBody>
      </p:sp>
      <p:sp>
        <p:nvSpPr>
          <p:cNvPr id="67" name="TextBox 66">
            <a:extLst>
              <a:ext uri="{FF2B5EF4-FFF2-40B4-BE49-F238E27FC236}">
                <a16:creationId xmlns:a16="http://schemas.microsoft.com/office/drawing/2014/main" id="{31E2543F-3D98-7779-9A33-5B3BC4069A9B}"/>
              </a:ext>
            </a:extLst>
          </p:cNvPr>
          <p:cNvSpPr txBox="1"/>
          <p:nvPr/>
        </p:nvSpPr>
        <p:spPr>
          <a:xfrm>
            <a:off x="6358792" y="5786744"/>
            <a:ext cx="4545949" cy="885310"/>
          </a:xfrm>
          <a:prstGeom prst="rect">
            <a:avLst/>
          </a:prstGeom>
          <a:noFill/>
          <a:ln>
            <a:solidFill>
              <a:srgbClr val="000000"/>
            </a:solidFill>
          </a:ln>
        </p:spPr>
        <p:txBody>
          <a:bodyPr wrap="square">
            <a:noAutofit/>
          </a:bodyPr>
          <a:lstStyle/>
          <a:p>
            <a:pPr marL="0" marR="0" lvl="0" indent="0" defTabSz="914400" eaLnBrk="1" fontAlgn="t" latinLnBrk="0" hangingPunct="1">
              <a:lnSpc>
                <a:spcPct val="100000"/>
              </a:lnSpc>
              <a:spcBef>
                <a:spcPts val="100"/>
              </a:spcBef>
              <a:spcAft>
                <a:spcPts val="0"/>
              </a:spcAft>
              <a:buClrTx/>
              <a:buSzPts val="950"/>
              <a:buFontTx/>
              <a:buNone/>
              <a:tabLst/>
              <a:defRPr/>
            </a:pPr>
            <a:r>
              <a:rPr kumimoji="0" lang="en-US" sz="1000" b="1" i="0" u="none" strike="noStrike" kern="0" cap="none" spc="0" normalizeH="0" baseline="0" noProof="0">
                <a:ln>
                  <a:noFill/>
                </a:ln>
                <a:solidFill>
                  <a:srgbClr val="0078D4"/>
                </a:solidFill>
                <a:effectLst/>
                <a:uLnTx/>
                <a:uFillTx/>
                <a:latin typeface="Segoe UI Semibold"/>
              </a:rPr>
              <a:t>Azure Architecture Center:</a:t>
            </a:r>
          </a:p>
          <a:p>
            <a:pPr marL="0" marR="0" lvl="0" indent="0" defTabSz="914400" eaLnBrk="1" fontAlgn="t" latinLnBrk="0" hangingPunct="1">
              <a:lnSpc>
                <a:spcPct val="100000"/>
              </a:lnSpc>
              <a:spcBef>
                <a:spcPts val="100"/>
              </a:spcBef>
              <a:spcAft>
                <a:spcPts val="0"/>
              </a:spcAft>
              <a:buClrTx/>
              <a:buSzPts val="950"/>
              <a:buFontTx/>
              <a:buNone/>
              <a:tabLst/>
              <a:defRPr/>
            </a:pPr>
            <a:r>
              <a:rPr kumimoji="0" lang="en-US" sz="1000" b="0" i="0" u="none" strike="noStrike" kern="0" cap="none" spc="0" normalizeH="0" baseline="0" noProof="0">
                <a:ln>
                  <a:noFill/>
                </a:ln>
                <a:solidFill>
                  <a:prstClr val="black"/>
                </a:solidFill>
                <a:effectLst/>
                <a:uLnTx/>
                <a:uFillTx/>
                <a:hlinkClick r:id="rId14"/>
              </a:rPr>
              <a:t>Knowledge mining for content research - Azure Solution Ideas | Microsoft Docs</a:t>
            </a:r>
            <a:endParaRPr kumimoji="0" lang="en-US" sz="1000" b="0" i="0" u="none" strike="noStrike" kern="0" cap="none" spc="0" normalizeH="0" baseline="0" noProof="0">
              <a:ln>
                <a:noFill/>
              </a:ln>
              <a:solidFill>
                <a:prstClr val="black"/>
              </a:solidFill>
              <a:effectLst/>
              <a:uLnTx/>
              <a:uFillTx/>
            </a:endParaRPr>
          </a:p>
          <a:p>
            <a:pPr marL="0" marR="0" lvl="0" indent="0" defTabSz="914400" eaLnBrk="1" fontAlgn="t" latinLnBrk="0" hangingPunct="1">
              <a:lnSpc>
                <a:spcPct val="100000"/>
              </a:lnSpc>
              <a:spcBef>
                <a:spcPts val="100"/>
              </a:spcBef>
              <a:spcAft>
                <a:spcPts val="0"/>
              </a:spcAft>
              <a:buClrTx/>
              <a:buSzPts val="950"/>
              <a:buFontTx/>
              <a:buNone/>
              <a:tabLst/>
              <a:defRPr/>
            </a:pPr>
            <a:r>
              <a:rPr kumimoji="0" lang="en-US" sz="1000" b="0" i="0" u="none" strike="noStrike" kern="0" cap="none" spc="0" normalizeH="0" baseline="0" noProof="0">
                <a:ln>
                  <a:noFill/>
                </a:ln>
                <a:solidFill>
                  <a:prstClr val="black"/>
                </a:solidFill>
                <a:effectLst/>
                <a:uLnTx/>
                <a:uFillTx/>
                <a:hlinkClick r:id="rId15"/>
              </a:rPr>
              <a:t>Knowledge mining in digital asset management - Azure Solution Ideas | Microsoft Docs</a:t>
            </a:r>
            <a:r>
              <a:rPr kumimoji="0" lang="en-US" sz="1000" b="1" i="0" u="none" strike="noStrike" kern="0" cap="none" spc="0" normalizeH="0" baseline="0" noProof="0">
                <a:ln>
                  <a:noFill/>
                </a:ln>
                <a:solidFill>
                  <a:srgbClr val="0078D4"/>
                </a:solidFill>
                <a:effectLst/>
                <a:uLnTx/>
                <a:uFillTx/>
                <a:latin typeface="Segoe UI Semibold"/>
              </a:rPr>
              <a:t> </a:t>
            </a:r>
            <a:endParaRPr kumimoji="0" lang="en-US" sz="1000" b="1" i="0" u="none" strike="noStrike" kern="0" cap="none" spc="0" normalizeH="0" baseline="0" noProof="0">
              <a:ln>
                <a:noFill/>
              </a:ln>
              <a:solidFill>
                <a:prstClr val="black"/>
              </a:solidFill>
              <a:effectLst/>
              <a:uLnTx/>
              <a:uFillTx/>
              <a:latin typeface="Segoe UI Semibold"/>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Segoe UI Semibold"/>
            </a:endParaRPr>
          </a:p>
        </p:txBody>
      </p:sp>
      <p:sp>
        <p:nvSpPr>
          <p:cNvPr id="68" name="TextBox 67">
            <a:extLst>
              <a:ext uri="{FF2B5EF4-FFF2-40B4-BE49-F238E27FC236}">
                <a16:creationId xmlns:a16="http://schemas.microsoft.com/office/drawing/2014/main" id="{A439F1AA-2F46-B785-AA55-0E338B96B2CD}"/>
              </a:ext>
            </a:extLst>
          </p:cNvPr>
          <p:cNvSpPr txBox="1"/>
          <p:nvPr/>
        </p:nvSpPr>
        <p:spPr>
          <a:xfrm>
            <a:off x="1937879" y="3656710"/>
            <a:ext cx="1976829" cy="507831"/>
          </a:xfrm>
          <a:prstGeom prst="rect">
            <a:avLst/>
          </a:prstGeom>
          <a:noFill/>
        </p:spPr>
        <p:txBody>
          <a:bodyPr wrap="square" lIns="0" tIns="0" rIns="0" bIns="0" rtlCol="0">
            <a:spAutoFit/>
          </a:bodyPr>
          <a:lstStyle/>
          <a:p>
            <a:pPr>
              <a:defRPr/>
            </a:pPr>
            <a:r>
              <a:rPr lang="en-US" sz="1100" dirty="0">
                <a:solidFill>
                  <a:srgbClr val="0078D4"/>
                </a:solidFill>
                <a:latin typeface="Segoe UI Semibold"/>
              </a:rPr>
              <a:t>If data is too large for AI prompts or vectors requires data chunking</a:t>
            </a:r>
          </a:p>
        </p:txBody>
      </p:sp>
      <p:cxnSp>
        <p:nvCxnSpPr>
          <p:cNvPr id="69" name="Straight Arrow Connector 68">
            <a:extLst>
              <a:ext uri="{FF2B5EF4-FFF2-40B4-BE49-F238E27FC236}">
                <a16:creationId xmlns:a16="http://schemas.microsoft.com/office/drawing/2014/main" id="{E96BD742-17B7-BD02-C5F7-3816F8ECC4F9}"/>
              </a:ext>
              <a:ext uri="{C183D7F6-B498-43B3-948B-1728B52AA6E4}">
                <adec:decorative xmlns:adec="http://schemas.microsoft.com/office/drawing/2017/decorative" val="1"/>
              </a:ext>
            </a:extLst>
          </p:cNvPr>
          <p:cNvCxnSpPr>
            <a:cxnSpLocks/>
          </p:cNvCxnSpPr>
          <p:nvPr/>
        </p:nvCxnSpPr>
        <p:spPr>
          <a:xfrm flipV="1">
            <a:off x="6278363" y="5242538"/>
            <a:ext cx="1632541" cy="9031"/>
          </a:xfrm>
          <a:prstGeom prst="straightConnector1">
            <a:avLst/>
          </a:prstGeom>
          <a:noFill/>
          <a:ln w="12700" cap="flat" cmpd="sng" algn="ctr">
            <a:solidFill>
              <a:srgbClr val="0078D4"/>
            </a:solidFill>
            <a:prstDash val="dash"/>
            <a:headEnd type="none"/>
            <a:tailEnd type="triangle"/>
          </a:ln>
          <a:effectLst/>
        </p:spPr>
      </p:cxnSp>
      <p:pic>
        <p:nvPicPr>
          <p:cNvPr id="70" name="Picture 2" descr="OpenAI launches new company for funding safe artificial general ...">
            <a:extLst>
              <a:ext uri="{FF2B5EF4-FFF2-40B4-BE49-F238E27FC236}">
                <a16:creationId xmlns:a16="http://schemas.microsoft.com/office/drawing/2014/main" id="{71C10513-1DE4-4996-2C2B-D32934FD460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030266" y="4271195"/>
            <a:ext cx="796902" cy="398451"/>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E32D800D-C712-6F20-EE38-B9A7666766D1}"/>
              </a:ext>
            </a:extLst>
          </p:cNvPr>
          <p:cNvSpPr txBox="1"/>
          <p:nvPr/>
        </p:nvSpPr>
        <p:spPr>
          <a:xfrm>
            <a:off x="5061286" y="4536169"/>
            <a:ext cx="813738" cy="338554"/>
          </a:xfrm>
          <a:prstGeom prst="rect">
            <a:avLst/>
          </a:prstGeom>
          <a:noFill/>
        </p:spPr>
        <p:txBody>
          <a:bodyPr wrap="square" lIns="91440" tIns="45720" rIns="91440" bIns="45720" rtlCol="0">
            <a:spAutoFit/>
          </a:bodyPr>
          <a:lstStyle>
            <a:defPPr>
              <a:defRPr lang="en-US"/>
            </a:defPPr>
            <a:lvl1pPr algn="ctr" defTabSz="932597">
              <a:defRPr sz="1050" kern="0">
                <a:latin typeface="Segoe UI Semibold" panose="020B0702040204020203" pitchFamily="34" charset="0"/>
                <a:cs typeface="Segoe UI Semibold" panose="020B0702040204020203" pitchFamily="34" charset="0"/>
              </a:defRPr>
            </a:lvl1p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Vector Embeddings</a:t>
            </a:r>
          </a:p>
        </p:txBody>
      </p:sp>
      <p:cxnSp>
        <p:nvCxnSpPr>
          <p:cNvPr id="72" name="Connector: Elbow 71">
            <a:extLst>
              <a:ext uri="{FF2B5EF4-FFF2-40B4-BE49-F238E27FC236}">
                <a16:creationId xmlns:a16="http://schemas.microsoft.com/office/drawing/2014/main" id="{5B848E7D-23AF-C57C-4897-31F9FC4F6C23}"/>
              </a:ext>
              <a:ext uri="{C183D7F6-B498-43B3-948B-1728B52AA6E4}">
                <adec:decorative xmlns:adec="http://schemas.microsoft.com/office/drawing/2017/decorative" val="1"/>
              </a:ext>
            </a:extLst>
          </p:cNvPr>
          <p:cNvCxnSpPr>
            <a:cxnSpLocks/>
          </p:cNvCxnSpPr>
          <p:nvPr/>
        </p:nvCxnSpPr>
        <p:spPr>
          <a:xfrm flipV="1">
            <a:off x="6357378" y="2806083"/>
            <a:ext cx="1584231" cy="495516"/>
          </a:xfrm>
          <a:prstGeom prst="bentConnector3">
            <a:avLst>
              <a:gd name="adj1" fmla="val 100062"/>
            </a:avLst>
          </a:prstGeom>
          <a:noFill/>
          <a:ln w="9525" cap="flat" cmpd="sng" algn="ctr">
            <a:solidFill>
              <a:srgbClr val="0070C0"/>
            </a:solidFill>
            <a:prstDash val="solid"/>
            <a:headEnd type="none" w="lg" len="med"/>
            <a:tailEnd type="triangle"/>
          </a:ln>
          <a:effectLst/>
        </p:spPr>
      </p:cxnSp>
      <p:cxnSp>
        <p:nvCxnSpPr>
          <p:cNvPr id="73" name="Straight Arrow Connector 72">
            <a:extLst>
              <a:ext uri="{FF2B5EF4-FFF2-40B4-BE49-F238E27FC236}">
                <a16:creationId xmlns:a16="http://schemas.microsoft.com/office/drawing/2014/main" id="{8721CFF0-0751-514A-4D8E-CCFE6912F92D}"/>
              </a:ext>
              <a:ext uri="{C183D7F6-B498-43B3-948B-1728B52AA6E4}">
                <adec:decorative xmlns:adec="http://schemas.microsoft.com/office/drawing/2017/decorative" val="1"/>
              </a:ext>
            </a:extLst>
          </p:cNvPr>
          <p:cNvCxnSpPr>
            <a:cxnSpLocks/>
          </p:cNvCxnSpPr>
          <p:nvPr/>
        </p:nvCxnSpPr>
        <p:spPr>
          <a:xfrm flipV="1">
            <a:off x="7120909" y="3301599"/>
            <a:ext cx="0" cy="1940939"/>
          </a:xfrm>
          <a:prstGeom prst="straightConnector1">
            <a:avLst/>
          </a:prstGeom>
          <a:noFill/>
          <a:ln w="12700" cap="flat" cmpd="sng" algn="ctr">
            <a:solidFill>
              <a:srgbClr val="0078D4"/>
            </a:solidFill>
            <a:prstDash val="solid"/>
            <a:headEnd type="none"/>
            <a:tailEnd type="triangle"/>
          </a:ln>
          <a:effectLst/>
        </p:spPr>
      </p:cxnSp>
      <p:cxnSp>
        <p:nvCxnSpPr>
          <p:cNvPr id="74" name="Straight Arrow Connector 73">
            <a:extLst>
              <a:ext uri="{FF2B5EF4-FFF2-40B4-BE49-F238E27FC236}">
                <a16:creationId xmlns:a16="http://schemas.microsoft.com/office/drawing/2014/main" id="{A46952A5-C91C-AEF5-412F-003625DFDFBB}"/>
              </a:ext>
              <a:ext uri="{C183D7F6-B498-43B3-948B-1728B52AA6E4}">
                <adec:decorative xmlns:adec="http://schemas.microsoft.com/office/drawing/2017/decorative" val="1"/>
              </a:ext>
            </a:extLst>
          </p:cNvPr>
          <p:cNvCxnSpPr>
            <a:cxnSpLocks/>
          </p:cNvCxnSpPr>
          <p:nvPr/>
        </p:nvCxnSpPr>
        <p:spPr>
          <a:xfrm>
            <a:off x="7931729" y="3243959"/>
            <a:ext cx="19760" cy="895084"/>
          </a:xfrm>
          <a:prstGeom prst="straightConnector1">
            <a:avLst/>
          </a:prstGeom>
          <a:noFill/>
          <a:ln w="12700" cap="flat" cmpd="sng" algn="ctr">
            <a:solidFill>
              <a:srgbClr val="0078D4"/>
            </a:solidFill>
            <a:prstDash val="dash"/>
            <a:headEnd type="none"/>
            <a:tailEnd type="triangle"/>
          </a:ln>
          <a:effectLst/>
        </p:spPr>
      </p:cxnSp>
    </p:spTree>
    <p:extLst>
      <p:ext uri="{BB962C8B-B14F-4D97-AF65-F5344CB8AC3E}">
        <p14:creationId xmlns:p14="http://schemas.microsoft.com/office/powerpoint/2010/main" val="222923137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F839BA-F650-0BFB-DAD4-4D8CE3BB5E7C}"/>
              </a:ext>
            </a:extLst>
          </p:cNvPr>
          <p:cNvSpPr txBox="1"/>
          <p:nvPr/>
        </p:nvSpPr>
        <p:spPr>
          <a:xfrm>
            <a:off x="5410716" y="3121223"/>
            <a:ext cx="1370568" cy="615553"/>
          </a:xfrm>
          <a:prstGeom prst="rect">
            <a:avLst/>
          </a:prstGeom>
          <a:noFill/>
        </p:spPr>
        <p:txBody>
          <a:bodyPr wrap="none" lIns="0" tIns="0" rIns="0" bIns="0" rtlCol="0">
            <a:spAutoFit/>
          </a:bodyPr>
          <a:lstStyle/>
          <a:p>
            <a:pPr algn="l"/>
            <a:r>
              <a:rPr lang="en-US" sz="4000" dirty="0">
                <a:gradFill>
                  <a:gsLst>
                    <a:gs pos="2917">
                      <a:schemeClr val="tx1"/>
                    </a:gs>
                    <a:gs pos="30000">
                      <a:schemeClr val="tx1"/>
                    </a:gs>
                  </a:gsLst>
                  <a:lin ang="5400000" scaled="0"/>
                </a:gradFill>
              </a:rPr>
              <a:t>Demo</a:t>
            </a:r>
          </a:p>
        </p:txBody>
      </p:sp>
    </p:spTree>
    <p:extLst>
      <p:ext uri="{BB962C8B-B14F-4D97-AF65-F5344CB8AC3E}">
        <p14:creationId xmlns:p14="http://schemas.microsoft.com/office/powerpoint/2010/main" val="5510784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3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2.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6D5E2130-D8E0-4BE1-8D17-21B44E25CD20}" vid="{B8045A66-F64A-4AB7-BD59-57B01EC35D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8567</Words>
  <Application>Microsoft Office PowerPoint</Application>
  <PresentationFormat>Widescreen</PresentationFormat>
  <Paragraphs>1414</Paragraphs>
  <Slides>105</Slides>
  <Notes>4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05</vt:i4>
      </vt:variant>
    </vt:vector>
  </HeadingPairs>
  <TitlesOfParts>
    <vt:vector size="120" baseType="lpstr">
      <vt:lpstr>Arial Unicode MS</vt:lpstr>
      <vt:lpstr>SegoeUI</vt:lpstr>
      <vt:lpstr>Aptos</vt:lpstr>
      <vt:lpstr>Arial</vt:lpstr>
      <vt:lpstr>Calibri</vt:lpstr>
      <vt:lpstr>Consolas</vt:lpstr>
      <vt:lpstr>Segoe UI</vt:lpstr>
      <vt:lpstr>Segoe UI Emoji</vt:lpstr>
      <vt:lpstr>Segoe UI Semibold</vt:lpstr>
      <vt:lpstr>Segoe UI Semilight</vt:lpstr>
      <vt:lpstr>Segoe UI Variable Display Semibold</vt:lpstr>
      <vt:lpstr>Wingdings</vt:lpstr>
      <vt:lpstr>3_White Template</vt:lpstr>
      <vt:lpstr>Black Template</vt:lpstr>
      <vt:lpstr>think-cell Slide</vt:lpstr>
      <vt:lpstr>Demystifying Azure Cognitive Search</vt:lpstr>
      <vt:lpstr>Agenda</vt:lpstr>
      <vt:lpstr>PowerPoint Presentation</vt:lpstr>
      <vt:lpstr>PowerPoint Presentation</vt:lpstr>
      <vt:lpstr>Azure AI Search</vt:lpstr>
      <vt:lpstr>PowerPoint Presentation</vt:lpstr>
      <vt:lpstr>Common applications of Azure AI Search</vt:lpstr>
      <vt:lpstr>Key Terminology</vt:lpstr>
      <vt:lpstr>PowerPoint Presentation</vt:lpstr>
      <vt:lpstr>Azure AI Search architecture</vt:lpstr>
      <vt:lpstr>Index</vt:lpstr>
      <vt:lpstr>Index Schema</vt:lpstr>
      <vt:lpstr>Index Field Attributes</vt:lpstr>
      <vt:lpstr>PowerPoint Presentation</vt:lpstr>
      <vt:lpstr>PowerPoint Presentation</vt:lpstr>
      <vt:lpstr>Data Import</vt:lpstr>
      <vt:lpstr>Indexer Scenarios</vt:lpstr>
      <vt:lpstr>Indexer Scenarios</vt:lpstr>
      <vt:lpstr>Azure AI Search architecture</vt:lpstr>
      <vt:lpstr>AI Enrichment</vt:lpstr>
      <vt:lpstr>Adding built-in skills</vt:lpstr>
      <vt:lpstr>Skillset Definition</vt:lpstr>
      <vt:lpstr>Skillset: Basic Example</vt:lpstr>
      <vt:lpstr>Skillset</vt:lpstr>
      <vt:lpstr>Skillset</vt:lpstr>
      <vt:lpstr>Skillset</vt:lpstr>
      <vt:lpstr>Skillset</vt:lpstr>
      <vt:lpstr>Skillset</vt:lpstr>
      <vt:lpstr>Skillset</vt:lpstr>
      <vt:lpstr>Azure AI Search architecture</vt:lpstr>
      <vt:lpstr>Document Annotation</vt:lpstr>
      <vt:lpstr>Field Mappings</vt:lpstr>
      <vt:lpstr>Indexer Definition</vt:lpstr>
      <vt:lpstr>Knowledge Store</vt:lpstr>
      <vt:lpstr>Knowledge Store Projection Types</vt:lpstr>
      <vt:lpstr>Cognitive Search A new capability of Azure Search</vt:lpstr>
      <vt:lpstr>Power Skills Repo</vt:lpstr>
      <vt:lpstr>Azure AI / OpenAI Studio Add your data</vt:lpstr>
      <vt:lpstr>PowerPoint Presentation</vt:lpstr>
      <vt:lpstr>PowerPoint Presentation</vt:lpstr>
      <vt:lpstr>PowerPoint Presentation</vt:lpstr>
      <vt:lpstr>PowerPoint Presentation</vt:lpstr>
      <vt:lpstr>“Chat with your data” solution accelerator</vt:lpstr>
      <vt:lpstr>PowerPoint Presentation</vt:lpstr>
      <vt:lpstr>PowerPoint Presentation</vt:lpstr>
      <vt:lpstr>Azure AI Search architecture</vt:lpstr>
      <vt:lpstr>Querying Modes</vt:lpstr>
      <vt:lpstr>PowerPoint Presentation</vt:lpstr>
      <vt:lpstr>PowerPoint Presentation</vt:lpstr>
      <vt:lpstr>PowerPoint Presentation</vt:lpstr>
      <vt:lpstr>PowerPoint Presentation</vt:lpstr>
      <vt:lpstr>PowerPoint Presentation</vt:lpstr>
      <vt:lpstr>PowerPoint Presentation</vt:lpstr>
      <vt:lpstr>Enhancing RAG with Advanced Retrieval Features Investing in cutting-edge retrieval technology for improved results</vt:lpstr>
      <vt:lpstr>Vector Search at a High Level </vt:lpstr>
      <vt:lpstr>Vector Search: Deeper Dive </vt:lpstr>
      <vt:lpstr>Embeddings: Convert Data into Vector Representation Simplifying complex data structures for efficient analysis and processing in various applications.</vt:lpstr>
      <vt:lpstr>Why do I need embeddings? Vectors are a universal representation of data</vt:lpstr>
      <vt:lpstr>Find relevant objects with embeddings Convert data vectors (embeddings) and find the most similar objects according to metric</vt:lpstr>
      <vt:lpstr>Choosing an Embedding Model Key Factors for Selecting the Optimal Model for Your Use Case</vt:lpstr>
      <vt:lpstr>Similarity Metrics</vt:lpstr>
      <vt:lpstr>The Dream Scenario for Vector Search Effortless Data Management and Relevant Search Results</vt:lpstr>
      <vt:lpstr>Introducing vector search in Azure AI Search Revolutionize indexing and retrieval augmented generation for LLM Apps</vt:lpstr>
      <vt:lpstr>Retrieval modes</vt:lpstr>
      <vt:lpstr>Reciprocal Rank Fusion in Azure AI Search Hybrid Queries with BM25 and ANN Search Integration</vt:lpstr>
      <vt:lpstr>Cost and Pricing Harness the Power of Vector Search at No Additional Cost</vt:lpstr>
      <vt:lpstr>Scale: OpenAI Text-Embedding-Ada-002 Example Choose the Right Tier to Meet Your Vector Index Size Needs</vt:lpstr>
      <vt:lpstr>How do I get started with vector search?</vt:lpstr>
      <vt:lpstr>Introducing semantic ranker Outperform vector search with hybrid search + Semantic re-ranking </vt:lpstr>
      <vt:lpstr>Vector Configuration w/Azure OpenAI service Vectorizer</vt:lpstr>
      <vt:lpstr>Vector Configuration</vt:lpstr>
      <vt:lpstr>Integrated vectorization</vt:lpstr>
      <vt:lpstr>Configure Vector fields in your Index Definition</vt:lpstr>
      <vt:lpstr>Vector Query</vt:lpstr>
      <vt:lpstr>Pure vector search (Exhaustive) </vt:lpstr>
      <vt:lpstr>Vectors search with Filters</vt:lpstr>
      <vt:lpstr>Pure Vector search w/Vectorizer  or Raw Vector</vt:lpstr>
      <vt:lpstr>Cross-Field Vector Query</vt:lpstr>
      <vt:lpstr>Hybrid Search</vt:lpstr>
      <vt:lpstr>Multi-Vector Query</vt:lpstr>
      <vt:lpstr>Hybrid Search with Semantic reranking</vt:lpstr>
      <vt:lpstr>Generate document embeddings</vt:lpstr>
      <vt:lpstr>Generate query embedding</vt:lpstr>
      <vt:lpstr>Introducing Integrated Vectorization End-to-end data ingestion, chunking, vectorization, and advanced retrieval </vt:lpstr>
      <vt:lpstr>PowerPoint Presentation</vt:lpstr>
      <vt:lpstr>Chunking Skill</vt:lpstr>
      <vt:lpstr>Azure OpenAI service Embedding Skill</vt:lpstr>
      <vt:lpstr>Custom Web API Skill</vt:lpstr>
      <vt:lpstr>Search filter and RBAC</vt:lpstr>
      <vt:lpstr>What does it mean to end users?</vt:lpstr>
      <vt:lpstr>Security Feature</vt:lpstr>
      <vt:lpstr>Integrated with Entra ID (AAD)</vt:lpstr>
      <vt:lpstr>Sample Flow</vt:lpstr>
      <vt:lpstr>Private Endpoint</vt:lpstr>
      <vt:lpstr>Sample Architecture with private access</vt:lpstr>
      <vt:lpstr>Data residency</vt:lpstr>
      <vt:lpstr>Data Protection</vt:lpstr>
      <vt:lpstr>PowerPoint Presentation</vt:lpstr>
      <vt:lpstr>PowerPoint Presentation</vt:lpstr>
      <vt:lpstr>Pricing</vt:lpstr>
      <vt:lpstr>Supported Region</vt:lpstr>
      <vt:lpstr>Availability zone</vt:lpstr>
      <vt:lpstr>Additional Resources</vt:lpstr>
      <vt:lpstr>Upcoming Partner Enablement Sess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23T08:56:53Z</dcterms:created>
  <dcterms:modified xsi:type="dcterms:W3CDTF">2023-11-28T08:26:21Z</dcterms:modified>
</cp:coreProperties>
</file>